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6.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7.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media/image40.JPG" ContentType="image/jpeg"/>
  <Override PartName="/ppt/media/image41.JPG" ContentType="image/jpe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04" r:id="rId1"/>
    <p:sldMasterId id="2147483816" r:id="rId2"/>
    <p:sldMasterId id="2147483848" r:id="rId3"/>
    <p:sldMasterId id="2147483882" r:id="rId4"/>
  </p:sldMasterIdLst>
  <p:notesMasterIdLst>
    <p:notesMasterId r:id="rId66"/>
  </p:notesMasterIdLst>
  <p:handoutMasterIdLst>
    <p:handoutMasterId r:id="rId67"/>
  </p:handoutMasterIdLst>
  <p:sldIdLst>
    <p:sldId id="256" r:id="rId5"/>
    <p:sldId id="426" r:id="rId6"/>
    <p:sldId id="364" r:id="rId7"/>
    <p:sldId id="438" r:id="rId8"/>
    <p:sldId id="440" r:id="rId9"/>
    <p:sldId id="492" r:id="rId10"/>
    <p:sldId id="493" r:id="rId11"/>
    <p:sldId id="494" r:id="rId12"/>
    <p:sldId id="495" r:id="rId13"/>
    <p:sldId id="496" r:id="rId14"/>
    <p:sldId id="497" r:id="rId15"/>
    <p:sldId id="366" r:id="rId16"/>
    <p:sldId id="487" r:id="rId17"/>
    <p:sldId id="488" r:id="rId18"/>
    <p:sldId id="489" r:id="rId19"/>
    <p:sldId id="490" r:id="rId20"/>
    <p:sldId id="367" r:id="rId21"/>
    <p:sldId id="480" r:id="rId22"/>
    <p:sldId id="368" r:id="rId23"/>
    <p:sldId id="457" r:id="rId24"/>
    <p:sldId id="458" r:id="rId25"/>
    <p:sldId id="459" r:id="rId26"/>
    <p:sldId id="460" r:id="rId27"/>
    <p:sldId id="461" r:id="rId28"/>
    <p:sldId id="462" r:id="rId29"/>
    <p:sldId id="463" r:id="rId30"/>
    <p:sldId id="464" r:id="rId31"/>
    <p:sldId id="465" r:id="rId32"/>
    <p:sldId id="466" r:id="rId33"/>
    <p:sldId id="467" r:id="rId34"/>
    <p:sldId id="468" r:id="rId35"/>
    <p:sldId id="469" r:id="rId36"/>
    <p:sldId id="453" r:id="rId37"/>
    <p:sldId id="455" r:id="rId38"/>
    <p:sldId id="456" r:id="rId39"/>
    <p:sldId id="454" r:id="rId40"/>
    <p:sldId id="470" r:id="rId41"/>
    <p:sldId id="471" r:id="rId42"/>
    <p:sldId id="472" r:id="rId43"/>
    <p:sldId id="473" r:id="rId44"/>
    <p:sldId id="474" r:id="rId45"/>
    <p:sldId id="475" r:id="rId46"/>
    <p:sldId id="476" r:id="rId47"/>
    <p:sldId id="477" r:id="rId48"/>
    <p:sldId id="478" r:id="rId49"/>
    <p:sldId id="479" r:id="rId50"/>
    <p:sldId id="452" r:id="rId51"/>
    <p:sldId id="369" r:id="rId52"/>
    <p:sldId id="481" r:id="rId53"/>
    <p:sldId id="482" r:id="rId54"/>
    <p:sldId id="483" r:id="rId55"/>
    <p:sldId id="484" r:id="rId56"/>
    <p:sldId id="485" r:id="rId57"/>
    <p:sldId id="486" r:id="rId58"/>
    <p:sldId id="370" r:id="rId59"/>
    <p:sldId id="371" r:id="rId60"/>
    <p:sldId id="444" r:id="rId61"/>
    <p:sldId id="446" r:id="rId62"/>
    <p:sldId id="447" r:id="rId63"/>
    <p:sldId id="491" r:id="rId64"/>
    <p:sldId id="411" r:id="rId6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y Ludlam" initials="J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587C"/>
    <a:srgbClr val="33CC33"/>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662" autoAdjust="0"/>
    <p:restoredTop sz="86475" autoAdjust="0"/>
  </p:normalViewPr>
  <p:slideViewPr>
    <p:cSldViewPr>
      <p:cViewPr varScale="1">
        <p:scale>
          <a:sx n="57" d="100"/>
          <a:sy n="57" d="100"/>
        </p:scale>
        <p:origin x="293" y="48"/>
      </p:cViewPr>
      <p:guideLst>
        <p:guide orient="horz" pos="2160"/>
        <p:guide pos="3840"/>
      </p:guideLst>
    </p:cSldViewPr>
  </p:slideViewPr>
  <p:outlineViewPr>
    <p:cViewPr>
      <p:scale>
        <a:sx n="33" d="100"/>
        <a:sy n="33" d="100"/>
      </p:scale>
      <p:origin x="0" y="1104"/>
    </p:cViewPr>
  </p:outlin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14.bin"/><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15.bin"/><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oleObject" Target="file:///\\SSRVU49\users\MOORO5U\Documents\PA%20Committee\2020.12\Copy%20of%201%20q%202021%20Meeting.xlsx" TargetMode="External"/><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48366013071895"/>
          <c:y val="1.8175463124781546E-2"/>
          <c:w val="0.57058823529411762"/>
          <c:h val="0.96364907375043696"/>
        </c:manualLayout>
      </c:layout>
      <c:barChart>
        <c:barDir val="bar"/>
        <c:grouping val="stacked"/>
        <c:varyColors val="0"/>
        <c:ser>
          <c:idx val="0"/>
          <c:order val="0"/>
          <c:spPr>
            <a:solidFill>
              <a:srgbClr val="E35656"/>
            </a:solidFill>
            <a:ln>
              <a:noFill/>
            </a:ln>
          </c:spPr>
          <c:invertIfNegative val="0"/>
          <c:dLbls>
            <c:dLbl>
              <c:idx val="0"/>
              <c:layout>
                <c:manualLayout>
                  <c:x val="0.37516339869281046"/>
                  <c:y val="1.0485844110450892E-3"/>
                </c:manualLayout>
              </c:layout>
              <c:tx>
                <c:rich>
                  <a:bodyPr wrap="none"/>
                  <a:lstStyle/>
                  <a:p>
                    <a:pPr>
                      <a:defRPr sz="1400">
                        <a:solidFill>
                          <a:srgbClr val="808080"/>
                        </a:solidFill>
                        <a:latin typeface="+mn-lt"/>
                        <a:ea typeface="Verdana"/>
                        <a:cs typeface="Verdana"/>
                        <a:sym typeface="+mn-lt"/>
                      </a:defRPr>
                    </a:pPr>
                    <a:r>
                      <a:rPr lang="en-US" dirty="0" smtClean="0"/>
                      <a:t>493</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24-4107-ADE7-F59BDE0A771D}"/>
                </c:ext>
              </c:extLst>
            </c:dLbl>
            <c:dLbl>
              <c:idx val="1"/>
              <c:layout>
                <c:manualLayout>
                  <c:x val="0.34901960784313724"/>
                  <c:y val="1.0485844110450892E-3"/>
                </c:manualLayout>
              </c:layout>
              <c:tx>
                <c:rich>
                  <a:bodyPr wrap="none"/>
                  <a:lstStyle/>
                  <a:p>
                    <a:pPr>
                      <a:defRPr sz="1400">
                        <a:solidFill>
                          <a:srgbClr val="808080"/>
                        </a:solidFill>
                        <a:latin typeface="+mn-lt"/>
                        <a:ea typeface="Verdana"/>
                        <a:cs typeface="Verdana"/>
                        <a:sym typeface="+mn-lt"/>
                      </a:defRPr>
                    </a:pPr>
                    <a:r>
                      <a:rPr lang="en-US" dirty="0" smtClean="0"/>
                      <a:t>471</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24-4107-ADE7-F59BDE0A771D}"/>
                </c:ext>
              </c:extLst>
            </c:dLbl>
            <c:dLbl>
              <c:idx val="2"/>
              <c:layout>
                <c:manualLayout>
                  <c:x val="0.30784313725490198"/>
                  <c:y val="1.0485844110450892E-3"/>
                </c:manualLayout>
              </c:layout>
              <c:tx>
                <c:rich>
                  <a:bodyPr wrap="none"/>
                  <a:lstStyle/>
                  <a:p>
                    <a:pPr>
                      <a:defRPr sz="1400">
                        <a:solidFill>
                          <a:srgbClr val="808080"/>
                        </a:solidFill>
                        <a:latin typeface="+mn-lt"/>
                        <a:ea typeface="Verdana"/>
                        <a:cs typeface="Verdana"/>
                        <a:sym typeface="+mn-lt"/>
                      </a:defRPr>
                    </a:pPr>
                    <a:r>
                      <a:rPr lang="en-US" dirty="0" smtClean="0"/>
                      <a:t>465</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524-4107-ADE7-F59BDE0A771D}"/>
                </c:ext>
              </c:extLst>
            </c:dLbl>
            <c:dLbl>
              <c:idx val="3"/>
              <c:layout>
                <c:manualLayout>
                  <c:x val="0.29477124183006537"/>
                  <c:y val="1.0485844110450892E-3"/>
                </c:manualLayout>
              </c:layout>
              <c:tx>
                <c:rich>
                  <a:bodyPr wrap="none"/>
                  <a:lstStyle/>
                  <a:p>
                    <a:pPr>
                      <a:defRPr sz="1400">
                        <a:solidFill>
                          <a:srgbClr val="808080"/>
                        </a:solidFill>
                        <a:latin typeface="+mn-lt"/>
                        <a:ea typeface="Verdana"/>
                        <a:cs typeface="Verdana"/>
                        <a:sym typeface="+mn-lt"/>
                      </a:defRPr>
                    </a:pPr>
                    <a:r>
                      <a:rPr lang="en-US" dirty="0" smtClean="0"/>
                      <a:t>446</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524-4107-ADE7-F59BDE0A771D}"/>
                </c:ext>
              </c:extLst>
            </c:dLbl>
            <c:dLbl>
              <c:idx val="4"/>
              <c:layout>
                <c:manualLayout>
                  <c:x val="0.28954248366013075"/>
                  <c:y val="1.0485844110450892E-3"/>
                </c:manualLayout>
              </c:layout>
              <c:tx>
                <c:rich>
                  <a:bodyPr wrap="none"/>
                  <a:lstStyle/>
                  <a:p>
                    <a:pPr>
                      <a:defRPr sz="1400">
                        <a:solidFill>
                          <a:srgbClr val="808080"/>
                        </a:solidFill>
                        <a:latin typeface="+mn-lt"/>
                        <a:ea typeface="Verdana"/>
                        <a:cs typeface="Verdana"/>
                        <a:sym typeface="+mn-lt"/>
                      </a:defRPr>
                    </a:pPr>
                    <a:r>
                      <a:rPr lang="en-US" dirty="0" smtClean="0"/>
                      <a:t>39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524-4107-ADE7-F59BDE0A771D}"/>
                </c:ext>
              </c:extLst>
            </c:dLbl>
            <c:dLbl>
              <c:idx val="5"/>
              <c:layout>
                <c:manualLayout>
                  <c:x val="0.28692810457516338"/>
                  <c:y val="1.0485844110450892E-3"/>
                </c:manualLayout>
              </c:layout>
              <c:tx>
                <c:rich>
                  <a:bodyPr wrap="none"/>
                  <a:lstStyle/>
                  <a:p>
                    <a:pPr>
                      <a:defRPr sz="1400">
                        <a:solidFill>
                          <a:srgbClr val="808080"/>
                        </a:solidFill>
                        <a:latin typeface="+mn-lt"/>
                        <a:ea typeface="Verdana"/>
                        <a:cs typeface="Verdana"/>
                        <a:sym typeface="+mn-lt"/>
                      </a:defRPr>
                    </a:pPr>
                    <a:r>
                      <a:rPr lang="en-US" dirty="0" smtClean="0"/>
                      <a:t>397</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524-4107-ADE7-F59BDE0A771D}"/>
                </c:ext>
              </c:extLst>
            </c:dLbl>
            <c:dLbl>
              <c:idx val="6"/>
              <c:layout>
                <c:manualLayout>
                  <c:x val="0.28627450980392155"/>
                  <c:y val="1.0485844110450892E-3"/>
                </c:manualLayout>
              </c:layout>
              <c:tx>
                <c:rich>
                  <a:bodyPr wrap="none"/>
                  <a:lstStyle/>
                  <a:p>
                    <a:pPr>
                      <a:defRPr sz="1400">
                        <a:solidFill>
                          <a:srgbClr val="808080"/>
                        </a:solidFill>
                        <a:latin typeface="+mn-lt"/>
                        <a:ea typeface="Verdana"/>
                        <a:cs typeface="Verdana"/>
                        <a:sym typeface="+mn-lt"/>
                      </a:defRPr>
                    </a:pPr>
                    <a:r>
                      <a:rPr lang="en-US" dirty="0" smtClean="0"/>
                      <a:t>36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524-4107-ADE7-F59BDE0A771D}"/>
                </c:ext>
              </c:extLst>
            </c:dLbl>
            <c:dLbl>
              <c:idx val="7"/>
              <c:layout>
                <c:manualLayout>
                  <c:x val="0.28366013071895424"/>
                  <c:y val="1.0485844110450892E-3"/>
                </c:manualLayout>
              </c:layout>
              <c:tx>
                <c:rich>
                  <a:bodyPr wrap="none"/>
                  <a:lstStyle/>
                  <a:p>
                    <a:pPr>
                      <a:defRPr sz="1400">
                        <a:solidFill>
                          <a:srgbClr val="808080"/>
                        </a:solidFill>
                        <a:latin typeface="+mn-lt"/>
                        <a:ea typeface="Verdana"/>
                        <a:cs typeface="Verdana"/>
                        <a:sym typeface="+mn-lt"/>
                      </a:defRPr>
                    </a:pPr>
                    <a:r>
                      <a:rPr lang="en-US" dirty="0" smtClean="0"/>
                      <a:t>35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524-4107-ADE7-F59BDE0A771D}"/>
                </c:ext>
              </c:extLst>
            </c:dLbl>
            <c:dLbl>
              <c:idx val="8"/>
              <c:layout>
                <c:manualLayout>
                  <c:x val="0.28104575163398693"/>
                  <c:y val="1.0485844110450892E-3"/>
                </c:manualLayout>
              </c:layout>
              <c:tx>
                <c:rich>
                  <a:bodyPr wrap="none"/>
                  <a:lstStyle/>
                  <a:p>
                    <a:pPr>
                      <a:defRPr sz="1400">
                        <a:solidFill>
                          <a:srgbClr val="808080"/>
                        </a:solidFill>
                        <a:latin typeface="+mn-lt"/>
                        <a:ea typeface="Verdana"/>
                        <a:cs typeface="Verdana"/>
                        <a:sym typeface="+mn-lt"/>
                      </a:defRPr>
                    </a:pPr>
                    <a:r>
                      <a:rPr lang="en-US" dirty="0" smtClean="0"/>
                      <a:t>35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524-4107-ADE7-F59BDE0A771D}"/>
                </c:ext>
              </c:extLst>
            </c:dLbl>
            <c:dLbl>
              <c:idx val="9"/>
              <c:layout>
                <c:manualLayout>
                  <c:x val="0.27908496732026145"/>
                  <c:y val="1.0485844110450892E-3"/>
                </c:manualLayout>
              </c:layout>
              <c:tx>
                <c:rich>
                  <a:bodyPr wrap="none"/>
                  <a:lstStyle/>
                  <a:p>
                    <a:pPr>
                      <a:defRPr sz="1400">
                        <a:solidFill>
                          <a:srgbClr val="808080"/>
                        </a:solidFill>
                        <a:latin typeface="+mn-lt"/>
                        <a:ea typeface="Verdana"/>
                        <a:cs typeface="Verdana"/>
                        <a:sym typeface="+mn-lt"/>
                      </a:defRPr>
                    </a:pPr>
                    <a:r>
                      <a:rPr lang="en-US" dirty="0" smtClean="0"/>
                      <a:t>351</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524-4107-ADE7-F59BDE0A77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579.81372266599999</c:v>
                </c:pt>
                <c:pt idx="1">
                  <c:v>526.32560285900001</c:v>
                </c:pt>
                <c:pt idx="2">
                  <c:v>442.53092194300001</c:v>
                </c:pt>
                <c:pt idx="3">
                  <c:v>416.45490957599998</c:v>
                </c:pt>
                <c:pt idx="4">
                  <c:v>405.96680474099998</c:v>
                </c:pt>
                <c:pt idx="5">
                  <c:v>400.54917280799998</c:v>
                </c:pt>
                <c:pt idx="6">
                  <c:v>398.45383480999999</c:v>
                </c:pt>
                <c:pt idx="7">
                  <c:v>394.08035078099999</c:v>
                </c:pt>
                <c:pt idx="8">
                  <c:v>387.85921241699998</c:v>
                </c:pt>
                <c:pt idx="9">
                  <c:v>383.08533323699999</c:v>
                </c:pt>
              </c:numCache>
            </c:numRef>
          </c:val>
          <c:extLst>
            <c:ext xmlns:c16="http://schemas.microsoft.com/office/drawing/2014/chart" uri="{C3380CC4-5D6E-409C-BE32-E72D297353CC}">
              <c16:uniqueId val="{0000000A-7524-4107-ADE7-F59BDE0A771D}"/>
            </c:ext>
          </c:extLst>
        </c:ser>
        <c:dLbls>
          <c:showLegendKey val="0"/>
          <c:showVal val="0"/>
          <c:showCatName val="0"/>
          <c:showSerName val="0"/>
          <c:showPercent val="0"/>
          <c:showBubbleSize val="0"/>
        </c:dLbls>
        <c:gapWidth val="80"/>
        <c:overlap val="100"/>
        <c:axId val="927949704"/>
        <c:axId val="1"/>
      </c:barChart>
      <c:catAx>
        <c:axId val="92794970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9.81372266599999"/>
          <c:min val="0"/>
        </c:scaling>
        <c:delete val="1"/>
        <c:axPos val="t"/>
        <c:numFmt formatCode="General" sourceLinked="1"/>
        <c:majorTickMark val="out"/>
        <c:minorTickMark val="none"/>
        <c:tickLblPos val="nextTo"/>
        <c:crossAx val="92794970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99346405228758"/>
          <c:y val="1.8175463124781546E-2"/>
          <c:w val="0.31568627450980391"/>
          <c:h val="0.96364907375043696"/>
        </c:manualLayout>
      </c:layout>
      <c:barChart>
        <c:barDir val="bar"/>
        <c:grouping val="stacked"/>
        <c:varyColors val="0"/>
        <c:ser>
          <c:idx val="0"/>
          <c:order val="0"/>
          <c:spPr>
            <a:solidFill>
              <a:srgbClr val="E35656"/>
            </a:solidFill>
            <a:ln>
              <a:noFill/>
            </a:ln>
          </c:spPr>
          <c:invertIfNegative val="0"/>
          <c:dPt>
            <c:idx val="8"/>
            <c:invertIfNegative val="0"/>
            <c:bubble3D val="0"/>
            <c:extLst>
              <c:ext xmlns:c16="http://schemas.microsoft.com/office/drawing/2014/chart" uri="{C3380CC4-5D6E-409C-BE32-E72D297353CC}">
                <c16:uniqueId val="{00000000-3501-4024-9EAC-70B4C454E451}"/>
              </c:ext>
            </c:extLst>
          </c:dPt>
          <c:dPt>
            <c:idx val="9"/>
            <c:invertIfNegative val="0"/>
            <c:bubble3D val="0"/>
            <c:spPr>
              <a:solidFill>
                <a:srgbClr val="FFAF35"/>
              </a:solidFill>
              <a:ln>
                <a:noFill/>
              </a:ln>
            </c:spPr>
            <c:extLst>
              <c:ext xmlns:c16="http://schemas.microsoft.com/office/drawing/2014/chart" uri="{C3380CC4-5D6E-409C-BE32-E72D297353CC}">
                <c16:uniqueId val="{00000001-3501-4024-9EAC-70B4C454E451}"/>
              </c:ext>
            </c:extLst>
          </c:dPt>
          <c:dLbls>
            <c:dLbl>
              <c:idx val="0"/>
              <c:layout>
                <c:manualLayout>
                  <c:x val="0.2477124183006536"/>
                  <c:y val="1.0485844110450892E-3"/>
                </c:manualLayout>
              </c:layout>
              <c:tx>
                <c:rich>
                  <a:bodyPr wrap="none"/>
                  <a:lstStyle/>
                  <a:p>
                    <a:pPr>
                      <a:defRPr sz="1400">
                        <a:solidFill>
                          <a:srgbClr val="696767"/>
                        </a:solidFill>
                        <a:latin typeface="+mn-lt"/>
                        <a:ea typeface="Verdana"/>
                        <a:cs typeface="Verdana"/>
                        <a:sym typeface="+mn-lt"/>
                      </a:defRPr>
                    </a:pPr>
                    <a:r>
                      <a:rPr lang="en-US" dirty="0" smtClean="0"/>
                      <a:t>163</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501-4024-9EAC-70B4C454E451}"/>
                </c:ext>
              </c:extLst>
            </c:dLbl>
            <c:dLbl>
              <c:idx val="1"/>
              <c:layout>
                <c:manualLayout>
                  <c:x val="0.24575163398692809"/>
                  <c:y val="1.0485844110450892E-3"/>
                </c:manualLayout>
              </c:layout>
              <c:tx>
                <c:rich>
                  <a:bodyPr wrap="none"/>
                  <a:lstStyle/>
                  <a:p>
                    <a:pPr>
                      <a:defRPr sz="1400">
                        <a:solidFill>
                          <a:srgbClr val="808080"/>
                        </a:solidFill>
                        <a:latin typeface="+mn-lt"/>
                        <a:ea typeface="Verdana"/>
                        <a:cs typeface="Verdana"/>
                        <a:sym typeface="+mn-lt"/>
                      </a:defRPr>
                    </a:pPr>
                    <a:r>
                      <a:rPr lang="en-US" dirty="0" smtClean="0"/>
                      <a:t>147</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501-4024-9EAC-70B4C454E451}"/>
                </c:ext>
              </c:extLst>
            </c:dLbl>
            <c:dLbl>
              <c:idx val="2"/>
              <c:layout>
                <c:manualLayout>
                  <c:x val="0.24509803921568626"/>
                  <c:y val="1.0485844110450892E-3"/>
                </c:manualLayout>
              </c:layout>
              <c:tx>
                <c:rich>
                  <a:bodyPr wrap="none"/>
                  <a:lstStyle/>
                  <a:p>
                    <a:pPr>
                      <a:defRPr sz="1400">
                        <a:solidFill>
                          <a:schemeClr val="tx1">
                            <a:lumMod val="50000"/>
                            <a:lumOff val="50000"/>
                          </a:schemeClr>
                        </a:solidFill>
                        <a:latin typeface="+mn-lt"/>
                        <a:ea typeface="Verdana"/>
                        <a:cs typeface="Verdana"/>
                      </a:defRPr>
                    </a:pPr>
                    <a:r>
                      <a:rPr lang="en-US" dirty="0" smtClean="0"/>
                      <a:t>146</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501-4024-9EAC-70B4C454E451}"/>
                </c:ext>
              </c:extLst>
            </c:dLbl>
            <c:dLbl>
              <c:idx val="3"/>
              <c:layout>
                <c:manualLayout>
                  <c:x val="0.22352941176470589"/>
                  <c:y val="1.0485844110450892E-3"/>
                </c:manualLayout>
              </c:layout>
              <c:tx>
                <c:rich>
                  <a:bodyPr wrap="none"/>
                  <a:lstStyle/>
                  <a:p>
                    <a:pPr>
                      <a:defRPr sz="1400">
                        <a:solidFill>
                          <a:srgbClr val="696767"/>
                        </a:solidFill>
                        <a:latin typeface="+mn-lt"/>
                        <a:ea typeface="Verdana"/>
                        <a:cs typeface="Verdana"/>
                        <a:sym typeface="+mn-lt"/>
                      </a:defRPr>
                    </a:pPr>
                    <a:r>
                      <a:rPr lang="en-US" dirty="0" smtClean="0"/>
                      <a:t>133</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501-4024-9EAC-70B4C454E451}"/>
                </c:ext>
              </c:extLst>
            </c:dLbl>
            <c:dLbl>
              <c:idx val="4"/>
              <c:layout>
                <c:manualLayout>
                  <c:x val="0.22156862745098038"/>
                  <c:y val="1.0485844110450892E-3"/>
                </c:manualLayout>
              </c:layout>
              <c:tx>
                <c:rich>
                  <a:bodyPr wrap="none"/>
                  <a:lstStyle/>
                  <a:p>
                    <a:pPr>
                      <a:defRPr sz="1400">
                        <a:solidFill>
                          <a:srgbClr val="808080"/>
                        </a:solidFill>
                        <a:latin typeface="+mn-lt"/>
                        <a:ea typeface="Verdana"/>
                        <a:cs typeface="Verdana"/>
                        <a:sym typeface="+mn-lt"/>
                      </a:defRPr>
                    </a:pPr>
                    <a:r>
                      <a:rPr lang="en-US" dirty="0" smtClean="0"/>
                      <a:t>120</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501-4024-9EAC-70B4C454E451}"/>
                </c:ext>
              </c:extLst>
            </c:dLbl>
            <c:dLbl>
              <c:idx val="5"/>
              <c:layout>
                <c:manualLayout>
                  <c:x val="0.2196078431372549"/>
                  <c:y val="1.0485844110450892E-3"/>
                </c:manualLayout>
              </c:layout>
              <c:tx>
                <c:rich>
                  <a:bodyPr wrap="none"/>
                  <a:lstStyle/>
                  <a:p>
                    <a:pPr>
                      <a:defRPr sz="1400">
                        <a:solidFill>
                          <a:srgbClr val="696767"/>
                        </a:solidFill>
                        <a:latin typeface="+mn-lt"/>
                        <a:ea typeface="Verdana"/>
                        <a:cs typeface="Verdana"/>
                        <a:sym typeface="+mn-lt"/>
                      </a:defRPr>
                    </a:pPr>
                    <a:r>
                      <a:rPr lang="en-US" dirty="0" smtClean="0"/>
                      <a:t>120</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501-4024-9EAC-70B4C454E451}"/>
                </c:ext>
              </c:extLst>
            </c:dLbl>
            <c:dLbl>
              <c:idx val="6"/>
              <c:layout>
                <c:manualLayout>
                  <c:x val="0.21111111111111111"/>
                  <c:y val="1.0485844110450892E-3"/>
                </c:manualLayout>
              </c:layout>
              <c:tx>
                <c:rich>
                  <a:bodyPr wrap="none"/>
                  <a:lstStyle/>
                  <a:p>
                    <a:pPr>
                      <a:defRPr sz="1400">
                        <a:solidFill>
                          <a:srgbClr val="696767"/>
                        </a:solidFill>
                        <a:latin typeface="+mn-lt"/>
                        <a:ea typeface="Verdana"/>
                        <a:cs typeface="Verdana"/>
                        <a:sym typeface="+mn-lt"/>
                      </a:defRPr>
                    </a:pPr>
                    <a:r>
                      <a:rPr lang="en-US" dirty="0" smtClean="0"/>
                      <a:t>11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501-4024-9EAC-70B4C454E451}"/>
                </c:ext>
              </c:extLst>
            </c:dLbl>
            <c:dLbl>
              <c:idx val="7"/>
              <c:layout>
                <c:manualLayout>
                  <c:x val="0.19477124183006536"/>
                  <c:y val="1.0485844110450892E-3"/>
                </c:manualLayout>
              </c:layout>
              <c:tx>
                <c:rich>
                  <a:bodyPr wrap="none"/>
                  <a:lstStyle/>
                  <a:p>
                    <a:pPr>
                      <a:defRPr sz="1400">
                        <a:solidFill>
                          <a:srgbClr val="808080"/>
                        </a:solidFill>
                        <a:latin typeface="+mn-lt"/>
                        <a:ea typeface="Verdana"/>
                        <a:cs typeface="Verdana"/>
                        <a:sym typeface="+mn-lt"/>
                      </a:defRPr>
                    </a:pPr>
                    <a:r>
                      <a:rPr lang="en-US" dirty="0" smtClean="0"/>
                      <a:t>110</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501-4024-9EAC-70B4C454E451}"/>
                </c:ext>
              </c:extLst>
            </c:dLbl>
            <c:dLbl>
              <c:idx val="8"/>
              <c:layout>
                <c:manualLayout>
                  <c:x val="0.17908496732026144"/>
                  <c:y val="1.0489145583794338E-3"/>
                </c:manualLayout>
              </c:layout>
              <c:tx>
                <c:rich>
                  <a:bodyPr wrap="none"/>
                  <a:lstStyle/>
                  <a:p>
                    <a:pPr>
                      <a:defRPr sz="1400">
                        <a:solidFill>
                          <a:srgbClr val="808080"/>
                        </a:solidFill>
                        <a:latin typeface="+mn-lt"/>
                        <a:ea typeface="Verdana"/>
                        <a:cs typeface="Verdana"/>
                        <a:sym typeface="+mn-lt"/>
                      </a:defRPr>
                    </a:pPr>
                    <a:r>
                      <a:rPr lang="en-US" dirty="0" smtClean="0"/>
                      <a:t>104</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501-4024-9EAC-70B4C454E451}"/>
                </c:ext>
              </c:extLst>
            </c:dLbl>
            <c:dLbl>
              <c:idx val="9"/>
              <c:layout>
                <c:manualLayout>
                  <c:x val="0.11830065359477124"/>
                  <c:y val="1.0485844110450892E-3"/>
                </c:manualLayout>
              </c:layout>
              <c:numFmt formatCode="#,##0;&quot;-&quot;#,##0" sourceLinked="0"/>
              <c:spPr>
                <a:noFill/>
                <a:ln>
                  <a:noFill/>
                </a:ln>
              </c:spPr>
              <c:txPr>
                <a:bodyPr wrap="none"/>
                <a:lstStyle/>
                <a:p>
                  <a:pPr>
                    <a:defRPr sz="1400">
                      <a:solidFill>
                        <a:srgbClr val="696767"/>
                      </a:solidFill>
                      <a:latin typeface="+mn-lt"/>
                      <a:ea typeface="Verdana"/>
                      <a:cs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501-4024-9EAC-70B4C454E4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60.24349787899999</c:v>
                </c:pt>
                <c:pt idx="1">
                  <c:v>157.57483957100001</c:v>
                </c:pt>
                <c:pt idx="2">
                  <c:v>156.79144823600001</c:v>
                </c:pt>
                <c:pt idx="3">
                  <c:v>135.258794626</c:v>
                </c:pt>
                <c:pt idx="4">
                  <c:v>133.253375398</c:v>
                </c:pt>
                <c:pt idx="5">
                  <c:v>130.927644026</c:v>
                </c:pt>
                <c:pt idx="6">
                  <c:v>122.611147832</c:v>
                </c:pt>
                <c:pt idx="7">
                  <c:v>105.76567260900001</c:v>
                </c:pt>
                <c:pt idx="8">
                  <c:v>97.659005291</c:v>
                </c:pt>
                <c:pt idx="9">
                  <c:v>51.275821542999999</c:v>
                </c:pt>
              </c:numCache>
            </c:numRef>
          </c:val>
          <c:extLst>
            <c:ext xmlns:c16="http://schemas.microsoft.com/office/drawing/2014/chart" uri="{C3380CC4-5D6E-409C-BE32-E72D297353CC}">
              <c16:uniqueId val="{0000000A-3501-4024-9EAC-70B4C454E451}"/>
            </c:ext>
          </c:extLst>
        </c:ser>
        <c:dLbls>
          <c:showLegendKey val="0"/>
          <c:showVal val="0"/>
          <c:showCatName val="0"/>
          <c:showSerName val="0"/>
          <c:showPercent val="0"/>
          <c:showBubbleSize val="0"/>
        </c:dLbls>
        <c:gapWidth val="80"/>
        <c:overlap val="100"/>
        <c:axId val="638575968"/>
        <c:axId val="1"/>
      </c:barChart>
      <c:catAx>
        <c:axId val="63857596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0.24349787899999"/>
          <c:min val="0"/>
        </c:scaling>
        <c:delete val="1"/>
        <c:axPos val="t"/>
        <c:numFmt formatCode="General" sourceLinked="1"/>
        <c:majorTickMark val="out"/>
        <c:minorTickMark val="none"/>
        <c:tickLblPos val="nextTo"/>
        <c:crossAx val="63857596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507507507507506"/>
          <c:y val="1.8175463124781546E-2"/>
          <c:w val="0.31591591591591589"/>
          <c:h val="0.96364907375043696"/>
        </c:manualLayout>
      </c:layout>
      <c:barChart>
        <c:barDir val="bar"/>
        <c:grouping val="stacked"/>
        <c:varyColors val="0"/>
        <c:ser>
          <c:idx val="0"/>
          <c:order val="0"/>
          <c:spPr>
            <a:solidFill>
              <a:srgbClr val="E35656"/>
            </a:solidFill>
            <a:ln>
              <a:noFill/>
            </a:ln>
          </c:spPr>
          <c:invertIfNegative val="0"/>
          <c:dLbls>
            <c:dLbl>
              <c:idx val="0"/>
              <c:layout>
                <c:manualLayout>
                  <c:x val="0.24084084084084084"/>
                  <c:y val="1.0485844110450892E-3"/>
                </c:manualLayout>
              </c:layout>
              <c:tx>
                <c:rich>
                  <a:bodyPr wrap="none"/>
                  <a:lstStyle/>
                  <a:p>
                    <a:pPr>
                      <a:defRPr sz="1400">
                        <a:solidFill>
                          <a:srgbClr val="808080"/>
                        </a:solidFill>
                        <a:latin typeface="+mn-lt"/>
                        <a:ea typeface="Verdana"/>
                        <a:cs typeface="Verdana"/>
                        <a:sym typeface="+mn-lt"/>
                      </a:defRPr>
                    </a:pPr>
                    <a:r>
                      <a:rPr lang="en-US" dirty="0" smtClean="0"/>
                      <a:t>204</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45-4A7E-8534-79669963D564}"/>
                </c:ext>
              </c:extLst>
            </c:dLbl>
            <c:dLbl>
              <c:idx val="1"/>
              <c:layout>
                <c:manualLayout>
                  <c:x val="0.23603603603603604"/>
                  <c:y val="1.0485844110450892E-3"/>
                </c:manualLayout>
              </c:layout>
              <c:tx>
                <c:rich>
                  <a:bodyPr wrap="none"/>
                  <a:lstStyle/>
                  <a:p>
                    <a:pPr>
                      <a:defRPr sz="1400">
                        <a:solidFill>
                          <a:srgbClr val="808080"/>
                        </a:solidFill>
                        <a:latin typeface="+mn-lt"/>
                        <a:ea typeface="Verdana"/>
                        <a:cs typeface="Verdana"/>
                        <a:sym typeface="+mn-lt"/>
                      </a:defRPr>
                    </a:pPr>
                    <a:r>
                      <a:rPr lang="en-US" dirty="0" smtClean="0"/>
                      <a:t>202</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45-4A7E-8534-79669963D564}"/>
                </c:ext>
              </c:extLst>
            </c:dLbl>
            <c:dLbl>
              <c:idx val="2"/>
              <c:layout>
                <c:manualLayout>
                  <c:x val="0.23243243243243245"/>
                  <c:y val="-1.7476403772454651E-3"/>
                </c:manualLayout>
              </c:layout>
              <c:tx>
                <c:rich>
                  <a:bodyPr wrap="none"/>
                  <a:lstStyle/>
                  <a:p>
                    <a:pPr>
                      <a:defRPr sz="1400">
                        <a:solidFill>
                          <a:srgbClr val="808080"/>
                        </a:solidFill>
                        <a:latin typeface="+mn-lt"/>
                        <a:ea typeface="Verdana"/>
                        <a:cs typeface="Verdana"/>
                        <a:sym typeface="+mn-lt"/>
                      </a:defRPr>
                    </a:pPr>
                    <a:r>
                      <a:rPr lang="en-US" dirty="0" smtClean="0"/>
                      <a:t>199</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5711714683826758"/>
                      <c:h val="5.0374099648644449E-2"/>
                    </c:manualLayout>
                  </c15:layout>
                </c:ext>
                <c:ext xmlns:c16="http://schemas.microsoft.com/office/drawing/2014/chart" uri="{C3380CC4-5D6E-409C-BE32-E72D297353CC}">
                  <c16:uniqueId val="{00000002-4645-4A7E-8534-79669963D564}"/>
                </c:ext>
              </c:extLst>
            </c:dLbl>
            <c:dLbl>
              <c:idx val="3"/>
              <c:layout>
                <c:manualLayout>
                  <c:x val="0.23063063063063063"/>
                  <c:y val="1.0485844110450892E-3"/>
                </c:manualLayout>
              </c:layout>
              <c:tx>
                <c:rich>
                  <a:bodyPr wrap="none" anchorCtr="0"/>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808080"/>
                        </a:solidFill>
                        <a:latin typeface="+mn-lt"/>
                        <a:ea typeface="Verdana"/>
                        <a:cs typeface="Verdana"/>
                        <a:sym typeface="+mn-lt"/>
                      </a:defRPr>
                    </a:pPr>
                    <a:r>
                      <a:rPr lang="en-US" sz="1400" b="0" i="0" u="none" strike="noStrike" kern="1200" baseline="0" dirty="0" smtClean="0">
                        <a:solidFill>
                          <a:srgbClr val="808080"/>
                        </a:solidFill>
                        <a:ea typeface="Verdana"/>
                        <a:cs typeface="Verdana"/>
                      </a:rPr>
                      <a:t>178</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45-4A7E-8534-79669963D564}"/>
                </c:ext>
              </c:extLst>
            </c:dLbl>
            <c:dLbl>
              <c:idx val="4"/>
              <c:layout>
                <c:manualLayout>
                  <c:x val="0.22762762671872394"/>
                  <c:y val="-4.5438651655360261E-3"/>
                </c:manualLayout>
              </c:layout>
              <c:tx>
                <c:rich>
                  <a:bodyPr wrap="none"/>
                  <a:lstStyle/>
                  <a:p>
                    <a:pPr>
                      <a:defRPr sz="1400" b="1">
                        <a:solidFill>
                          <a:srgbClr val="E35656"/>
                        </a:solidFill>
                        <a:latin typeface="+mn-lt"/>
                        <a:ea typeface="Verdana"/>
                        <a:cs typeface="Verdana"/>
                      </a:defRPr>
                    </a:pPr>
                    <a:r>
                      <a:rPr lang="en-US" sz="1400" b="1" i="0" u="none" strike="noStrike" kern="1200" baseline="0" dirty="0" smtClean="0">
                        <a:solidFill>
                          <a:srgbClr val="E35656"/>
                        </a:solidFill>
                        <a:latin typeface="+mn-lt"/>
                        <a:ea typeface="Verdana"/>
                        <a:cs typeface="Verdana"/>
                      </a:rPr>
                      <a:t>178</a:t>
                    </a:r>
                    <a:endParaRPr lang="en-US" sz="1400" b="1" i="0" u="none" strike="noStrike" kern="1200" baseline="0" dirty="0">
                      <a:solidFill>
                        <a:srgbClr val="E35656"/>
                      </a:solidFill>
                      <a:latin typeface="+mn-lt"/>
                      <a:ea typeface="Verdana"/>
                      <a:cs typeface="Verdana"/>
                    </a:endParaRP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6271493466031725"/>
                      <c:h val="4.4781650072063327E-2"/>
                    </c:manualLayout>
                  </c15:layout>
                </c:ext>
                <c:ext xmlns:c16="http://schemas.microsoft.com/office/drawing/2014/chart" uri="{C3380CC4-5D6E-409C-BE32-E72D297353CC}">
                  <c16:uniqueId val="{00000004-4645-4A7E-8534-79669963D564}"/>
                </c:ext>
              </c:extLst>
            </c:dLbl>
            <c:dLbl>
              <c:idx val="5"/>
              <c:layout>
                <c:manualLayout>
                  <c:x val="0.22342342342342342"/>
                  <c:y val="1.0485844110450892E-3"/>
                </c:manualLayout>
              </c:layout>
              <c:tx>
                <c:rich>
                  <a:bodyPr wrap="none"/>
                  <a:lstStyle/>
                  <a:p>
                    <a:pPr>
                      <a:defRPr sz="1400">
                        <a:solidFill>
                          <a:srgbClr val="808080"/>
                        </a:solidFill>
                        <a:latin typeface="+mn-lt"/>
                        <a:ea typeface="Verdana"/>
                        <a:cs typeface="Verdana"/>
                        <a:sym typeface="+mn-lt"/>
                      </a:defRPr>
                    </a:pPr>
                    <a:r>
                      <a:rPr lang="en-US" dirty="0" smtClean="0"/>
                      <a:t>178</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45-4A7E-8534-79669963D564}"/>
                </c:ext>
              </c:extLst>
            </c:dLbl>
            <c:dLbl>
              <c:idx val="6"/>
              <c:layout>
                <c:manualLayout>
                  <c:x val="0.22042042042042043"/>
                  <c:y val="1.0485844110450892E-3"/>
                </c:manualLayout>
              </c:layout>
              <c:tx>
                <c:rich>
                  <a:bodyPr wrap="none"/>
                  <a:lstStyle/>
                  <a:p>
                    <a:pPr>
                      <a:defRPr sz="1400">
                        <a:solidFill>
                          <a:srgbClr val="808080"/>
                        </a:solidFill>
                        <a:latin typeface="+mn-lt"/>
                        <a:ea typeface="Verdana"/>
                        <a:cs typeface="Verdana"/>
                        <a:sym typeface="+mn-lt"/>
                      </a:defRPr>
                    </a:pPr>
                    <a:r>
                      <a:rPr lang="en-US" dirty="0" smtClean="0"/>
                      <a:t>175</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645-4A7E-8534-79669963D564}"/>
                </c:ext>
              </c:extLst>
            </c:dLbl>
            <c:dLbl>
              <c:idx val="7"/>
              <c:layout>
                <c:manualLayout>
                  <c:x val="0.21321321321321321"/>
                  <c:y val="1.0485844110450892E-3"/>
                </c:manualLayout>
              </c:layout>
              <c:tx>
                <c:rich>
                  <a:bodyPr wrap="none"/>
                  <a:lstStyle/>
                  <a:p>
                    <a:pPr>
                      <a:defRPr sz="1400">
                        <a:solidFill>
                          <a:srgbClr val="808080"/>
                        </a:solidFill>
                        <a:latin typeface="+mn-lt"/>
                        <a:ea typeface="Verdana"/>
                        <a:cs typeface="Verdana"/>
                        <a:sym typeface="+mn-lt"/>
                      </a:defRPr>
                    </a:pPr>
                    <a:r>
                      <a:rPr lang="en-US" dirty="0" smtClean="0"/>
                      <a:t>171</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645-4A7E-8534-79669963D564}"/>
                </c:ext>
              </c:extLst>
            </c:dLbl>
            <c:dLbl>
              <c:idx val="8"/>
              <c:layout>
                <c:manualLayout>
                  <c:x val="0.20840840840840841"/>
                  <c:y val="1.0485844110450892E-3"/>
                </c:manualLayout>
              </c:layout>
              <c:tx>
                <c:rich>
                  <a:bodyPr wrap="none"/>
                  <a:lstStyle/>
                  <a:p>
                    <a:pPr>
                      <a:defRPr sz="1400">
                        <a:solidFill>
                          <a:srgbClr val="808080"/>
                        </a:solidFill>
                        <a:latin typeface="+mn-lt"/>
                        <a:ea typeface="Verdana"/>
                        <a:cs typeface="Verdana"/>
                        <a:sym typeface="+mn-lt"/>
                      </a:defRPr>
                    </a:pPr>
                    <a:r>
                      <a:rPr lang="en-US" dirty="0" smtClean="0"/>
                      <a:t>171</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645-4A7E-8534-79669963D564}"/>
                </c:ext>
              </c:extLst>
            </c:dLbl>
            <c:dLbl>
              <c:idx val="9"/>
              <c:layout>
                <c:manualLayout>
                  <c:x val="0.2066066066066066"/>
                  <c:y val="1.0485844110450892E-3"/>
                </c:manualLayout>
              </c:layout>
              <c:tx>
                <c:rich>
                  <a:bodyPr wrap="none"/>
                  <a:lstStyle/>
                  <a:p>
                    <a:pPr>
                      <a:defRPr sz="1400">
                        <a:solidFill>
                          <a:srgbClr val="808080"/>
                        </a:solidFill>
                        <a:latin typeface="+mn-lt"/>
                        <a:ea typeface="Verdana"/>
                        <a:cs typeface="Verdana"/>
                        <a:sym typeface="+mn-lt"/>
                      </a:defRPr>
                    </a:pPr>
                    <a:r>
                      <a:rPr lang="en-US" dirty="0" smtClean="0"/>
                      <a:t>169</a:t>
                    </a:r>
                    <a:endParaRPr lang="en-US" dirty="0"/>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645-4A7E-8534-79669963D5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21.601930772</c:v>
                </c:pt>
                <c:pt idx="1">
                  <c:v>214.417567585</c:v>
                </c:pt>
                <c:pt idx="2">
                  <c:v>209.345592966</c:v>
                </c:pt>
                <c:pt idx="3">
                  <c:v>207.11018797599999</c:v>
                </c:pt>
                <c:pt idx="4">
                  <c:v>198.17747760099999</c:v>
                </c:pt>
                <c:pt idx="5">
                  <c:v>196.973178819</c:v>
                </c:pt>
                <c:pt idx="6">
                  <c:v>192.51398985399999</c:v>
                </c:pt>
                <c:pt idx="7">
                  <c:v>182.73205473900001</c:v>
                </c:pt>
                <c:pt idx="8">
                  <c:v>176.550019908</c:v>
                </c:pt>
                <c:pt idx="9">
                  <c:v>174.19623796600001</c:v>
                </c:pt>
              </c:numCache>
            </c:numRef>
          </c:val>
          <c:extLst>
            <c:ext xmlns:c16="http://schemas.microsoft.com/office/drawing/2014/chart" uri="{C3380CC4-5D6E-409C-BE32-E72D297353CC}">
              <c16:uniqueId val="{0000000A-4645-4A7E-8534-79669963D564}"/>
            </c:ext>
          </c:extLst>
        </c:ser>
        <c:dLbls>
          <c:showLegendKey val="0"/>
          <c:showVal val="0"/>
          <c:showCatName val="0"/>
          <c:showSerName val="0"/>
          <c:showPercent val="0"/>
          <c:showBubbleSize val="0"/>
        </c:dLbls>
        <c:gapWidth val="80"/>
        <c:overlap val="100"/>
        <c:axId val="939577600"/>
        <c:axId val="1"/>
      </c:barChart>
      <c:catAx>
        <c:axId val="93957760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1.601930772"/>
          <c:min val="0"/>
        </c:scaling>
        <c:delete val="1"/>
        <c:axPos val="t"/>
        <c:numFmt formatCode="General" sourceLinked="1"/>
        <c:majorTickMark val="out"/>
        <c:minorTickMark val="none"/>
        <c:tickLblPos val="nextTo"/>
        <c:crossAx val="93957760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2800"/>
              <a:t>JULY 20-JAN 21 MO HEALTHNET </a:t>
            </a:r>
          </a:p>
          <a:p>
            <a:pPr>
              <a:defRPr sz="2800"/>
            </a:pPr>
            <a:r>
              <a:rPr lang="en-US" sz="2800"/>
              <a:t>RARE DISEASE EXPENDITURES</a:t>
            </a:r>
          </a:p>
        </c:rich>
      </c:tx>
      <c:layout>
        <c:manualLayout>
          <c:xMode val="edge"/>
          <c:yMode val="edge"/>
          <c:x val="0.23810734463276836"/>
          <c:y val="0"/>
        </c:manualLayout>
      </c:layout>
      <c:overlay val="0"/>
      <c:spPr>
        <a:noFill/>
        <a:ln>
          <a:noFill/>
        </a:ln>
        <a:effectLst/>
      </c:spPr>
      <c:txPr>
        <a:bodyPr rot="0" spcFirstLastPara="1" vertOverflow="ellipsis" vert="horz" wrap="square" anchor="ctr" anchorCtr="1"/>
        <a:lstStyle/>
        <a:p>
          <a:pPr>
            <a:defRPr sz="28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13899803149606299"/>
          <c:y val="0.19486111111111112"/>
          <c:w val="0.75332152230971128"/>
          <c:h val="0.72088764946048411"/>
        </c:manualLayout>
      </c:layout>
      <c:barChart>
        <c:barDir val="bar"/>
        <c:grouping val="clustered"/>
        <c:varyColors val="0"/>
        <c:ser>
          <c:idx val="0"/>
          <c:order val="0"/>
          <c:tx>
            <c:strRef>
              <c:f>'RareDisease Expend FY21'!$B$25</c:f>
              <c:strCache>
                <c:ptCount val="1"/>
                <c:pt idx="0">
                  <c:v>Spen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reDisease Expend FY21'!$A$26:$A$39</c:f>
              <c:strCache>
                <c:ptCount val="14"/>
                <c:pt idx="0">
                  <c:v>Diacomit</c:v>
                </c:pt>
                <c:pt idx="1">
                  <c:v>Mayzent</c:v>
                </c:pt>
                <c:pt idx="2">
                  <c:v>Oxbryta</c:v>
                </c:pt>
                <c:pt idx="3">
                  <c:v>Spinraza</c:v>
                </c:pt>
                <c:pt idx="4">
                  <c:v>Trikafta</c:v>
                </c:pt>
                <c:pt idx="5">
                  <c:v>Vyndaqel</c:v>
                </c:pt>
                <c:pt idx="6">
                  <c:v>Zolgensma</c:v>
                </c:pt>
                <c:pt idx="7">
                  <c:v>Adakveo</c:v>
                </c:pt>
                <c:pt idx="8">
                  <c:v>Koselugo</c:v>
                </c:pt>
                <c:pt idx="9">
                  <c:v>Evrysdi</c:v>
                </c:pt>
                <c:pt idx="10">
                  <c:v>Oxervate</c:v>
                </c:pt>
                <c:pt idx="11">
                  <c:v>Gamifant</c:v>
                </c:pt>
                <c:pt idx="12">
                  <c:v>Mavenclad</c:v>
                </c:pt>
                <c:pt idx="13">
                  <c:v>Fabrazyme</c:v>
                </c:pt>
              </c:strCache>
            </c:strRef>
          </c:cat>
          <c:val>
            <c:numRef>
              <c:f>'RareDisease Expend FY21'!$B$26:$B$39</c:f>
              <c:numCache>
                <c:formatCode>"$"#,##0</c:formatCode>
                <c:ptCount val="14"/>
                <c:pt idx="0">
                  <c:v>18057.3</c:v>
                </c:pt>
                <c:pt idx="1">
                  <c:v>136093.72</c:v>
                </c:pt>
                <c:pt idx="2">
                  <c:v>471707.79999999993</c:v>
                </c:pt>
                <c:pt idx="3">
                  <c:v>1923330.09</c:v>
                </c:pt>
                <c:pt idx="4">
                  <c:v>12950060.199999999</c:v>
                </c:pt>
                <c:pt idx="5">
                  <c:v>0</c:v>
                </c:pt>
                <c:pt idx="6">
                  <c:v>0</c:v>
                </c:pt>
                <c:pt idx="7">
                  <c:v>259359.49</c:v>
                </c:pt>
                <c:pt idx="8">
                  <c:v>210518.29</c:v>
                </c:pt>
                <c:pt idx="9">
                  <c:v>1266526.4000000001</c:v>
                </c:pt>
                <c:pt idx="10">
                  <c:v>169130.85</c:v>
                </c:pt>
                <c:pt idx="11">
                  <c:v>173147.34000000003</c:v>
                </c:pt>
                <c:pt idx="12">
                  <c:v>232214.23</c:v>
                </c:pt>
                <c:pt idx="13">
                  <c:v>926687.84</c:v>
                </c:pt>
              </c:numCache>
            </c:numRef>
          </c:val>
          <c:extLst>
            <c:ext xmlns:c16="http://schemas.microsoft.com/office/drawing/2014/chart" uri="{C3380CC4-5D6E-409C-BE32-E72D297353CC}">
              <c16:uniqueId val="{00000000-6B20-4D18-836F-742BCFDFFF19}"/>
            </c:ext>
          </c:extLst>
        </c:ser>
        <c:dLbls>
          <c:showLegendKey val="0"/>
          <c:showVal val="0"/>
          <c:showCatName val="0"/>
          <c:showSerName val="0"/>
          <c:showPercent val="0"/>
          <c:showBubbleSize val="0"/>
        </c:dLbls>
        <c:gapWidth val="182"/>
        <c:axId val="768467672"/>
        <c:axId val="768468000"/>
      </c:barChart>
      <c:catAx>
        <c:axId val="7684676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68468000"/>
        <c:crosses val="autoZero"/>
        <c:auto val="1"/>
        <c:lblAlgn val="ctr"/>
        <c:lblOffset val="100"/>
        <c:noMultiLvlLbl val="0"/>
      </c:catAx>
      <c:valAx>
        <c:axId val="768468000"/>
        <c:scaling>
          <c:orientation val="minMax"/>
        </c:scaling>
        <c:delete val="0"/>
        <c:axPos val="b"/>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68467672"/>
        <c:crosses val="autoZero"/>
        <c:crossBetween val="between"/>
      </c:valAx>
      <c:spPr>
        <a:noFill/>
        <a:ln>
          <a:noFill/>
        </a:ln>
        <a:effectLst/>
      </c:spPr>
    </c:plotArea>
    <c:plotVisOnly val="1"/>
    <c:dispBlanksAs val="gap"/>
    <c:showDLblsOverMax val="0"/>
  </c:chart>
  <c:spPr>
    <a:noFill/>
    <a:ln>
      <a:noFill/>
    </a:ln>
    <a:effectLst/>
  </c:spPr>
  <c:txPr>
    <a:bodyPr/>
    <a:lstStyle/>
    <a:p>
      <a:pPr>
        <a:defRPr sz="16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2800"/>
              <a:t>FY2019-FYTD2021 Rare Disease Expenditures</a:t>
            </a:r>
          </a:p>
        </c:rich>
      </c:tx>
      <c:layout>
        <c:manualLayout>
          <c:xMode val="edge"/>
          <c:yMode val="edge"/>
          <c:x val="9.6975986554312291E-2"/>
          <c:y val="1.3333333333333334E-2"/>
        </c:manualLayout>
      </c:layout>
      <c:overlay val="0"/>
      <c:spPr>
        <a:noFill/>
        <a:ln>
          <a:noFill/>
        </a:ln>
        <a:effectLst/>
      </c:spPr>
      <c:txPr>
        <a:bodyPr rot="0" spcFirstLastPara="1" vertOverflow="ellipsis" vert="horz" wrap="square" anchor="ctr" anchorCtr="1"/>
        <a:lstStyle/>
        <a:p>
          <a:pPr>
            <a:defRPr sz="28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lineChart>
        <c:grouping val="standard"/>
        <c:varyColors val="0"/>
        <c:ser>
          <c:idx val="0"/>
          <c:order val="0"/>
          <c:tx>
            <c:strRef>
              <c:f>'FY19-FY21 Rare Disease Chart'!$A$4</c:f>
              <c:strCache>
                <c:ptCount val="1"/>
                <c:pt idx="0">
                  <c:v>FY2019 Rare Disease Spend</c:v>
                </c:pt>
              </c:strCache>
            </c:strRef>
          </c:tx>
          <c:spPr>
            <a:ln w="28575" cap="rnd">
              <a:solidFill>
                <a:schemeClr val="accent1"/>
              </a:solidFill>
              <a:round/>
            </a:ln>
            <a:effectLst/>
          </c:spPr>
          <c:marker>
            <c:symbol val="none"/>
          </c:marker>
          <c:cat>
            <c:strRef>
              <c:f>'FY19-FY21 Rare Disease Chart'!$B$3:$M$3</c:f>
              <c:strCache>
                <c:ptCount val="12"/>
                <c:pt idx="0">
                  <c:v>July</c:v>
                </c:pt>
                <c:pt idx="1">
                  <c:v>Aug</c:v>
                </c:pt>
                <c:pt idx="2">
                  <c:v>Sept</c:v>
                </c:pt>
                <c:pt idx="3">
                  <c:v>Oct</c:v>
                </c:pt>
                <c:pt idx="4">
                  <c:v>Nov</c:v>
                </c:pt>
                <c:pt idx="5">
                  <c:v>Dec </c:v>
                </c:pt>
                <c:pt idx="6">
                  <c:v>Jan</c:v>
                </c:pt>
                <c:pt idx="7">
                  <c:v>Feb</c:v>
                </c:pt>
                <c:pt idx="8">
                  <c:v>Mar</c:v>
                </c:pt>
                <c:pt idx="9">
                  <c:v>April</c:v>
                </c:pt>
                <c:pt idx="10">
                  <c:v>May </c:v>
                </c:pt>
                <c:pt idx="11">
                  <c:v>June</c:v>
                </c:pt>
              </c:strCache>
            </c:strRef>
          </c:cat>
          <c:val>
            <c:numRef>
              <c:f>'FY19-FY21 Rare Disease Chart'!$B$4:$M$4</c:f>
              <c:numCache>
                <c:formatCode>"$"#,##0</c:formatCode>
                <c:ptCount val="12"/>
                <c:pt idx="0">
                  <c:v>545600.96</c:v>
                </c:pt>
                <c:pt idx="1">
                  <c:v>264489.71999999997</c:v>
                </c:pt>
                <c:pt idx="2">
                  <c:v>346692.54</c:v>
                </c:pt>
                <c:pt idx="3">
                  <c:v>429886.37</c:v>
                </c:pt>
                <c:pt idx="4">
                  <c:v>789135.04</c:v>
                </c:pt>
                <c:pt idx="5">
                  <c:v>389322.08</c:v>
                </c:pt>
                <c:pt idx="6">
                  <c:v>545262.91999999993</c:v>
                </c:pt>
                <c:pt idx="7">
                  <c:v>41101.67</c:v>
                </c:pt>
                <c:pt idx="8">
                  <c:v>511161.91000000003</c:v>
                </c:pt>
                <c:pt idx="9">
                  <c:v>492995.16</c:v>
                </c:pt>
                <c:pt idx="10">
                  <c:v>517858.65</c:v>
                </c:pt>
                <c:pt idx="11">
                  <c:v>46522.89</c:v>
                </c:pt>
              </c:numCache>
            </c:numRef>
          </c:val>
          <c:smooth val="0"/>
          <c:extLst>
            <c:ext xmlns:c16="http://schemas.microsoft.com/office/drawing/2014/chart" uri="{C3380CC4-5D6E-409C-BE32-E72D297353CC}">
              <c16:uniqueId val="{00000000-7274-484C-BB05-C2479AF35240}"/>
            </c:ext>
          </c:extLst>
        </c:ser>
        <c:ser>
          <c:idx val="1"/>
          <c:order val="1"/>
          <c:tx>
            <c:strRef>
              <c:f>'FY19-FY21 Rare Disease Chart'!$A$5</c:f>
              <c:strCache>
                <c:ptCount val="1"/>
                <c:pt idx="0">
                  <c:v>FY2020 Rare Disease Spend</c:v>
                </c:pt>
              </c:strCache>
            </c:strRef>
          </c:tx>
          <c:spPr>
            <a:ln w="28575" cap="rnd">
              <a:solidFill>
                <a:schemeClr val="accent2"/>
              </a:solidFill>
              <a:round/>
            </a:ln>
            <a:effectLst/>
          </c:spPr>
          <c:marker>
            <c:symbol val="none"/>
          </c:marker>
          <c:cat>
            <c:strRef>
              <c:f>'FY19-FY21 Rare Disease Chart'!$B$3:$M$3</c:f>
              <c:strCache>
                <c:ptCount val="12"/>
                <c:pt idx="0">
                  <c:v>July</c:v>
                </c:pt>
                <c:pt idx="1">
                  <c:v>Aug</c:v>
                </c:pt>
                <c:pt idx="2">
                  <c:v>Sept</c:v>
                </c:pt>
                <c:pt idx="3">
                  <c:v>Oct</c:v>
                </c:pt>
                <c:pt idx="4">
                  <c:v>Nov</c:v>
                </c:pt>
                <c:pt idx="5">
                  <c:v>Dec </c:v>
                </c:pt>
                <c:pt idx="6">
                  <c:v>Jan</c:v>
                </c:pt>
                <c:pt idx="7">
                  <c:v>Feb</c:v>
                </c:pt>
                <c:pt idx="8">
                  <c:v>Mar</c:v>
                </c:pt>
                <c:pt idx="9">
                  <c:v>April</c:v>
                </c:pt>
                <c:pt idx="10">
                  <c:v>May </c:v>
                </c:pt>
                <c:pt idx="11">
                  <c:v>June</c:v>
                </c:pt>
              </c:strCache>
            </c:strRef>
          </c:cat>
          <c:val>
            <c:numRef>
              <c:f>'FY19-FY21 Rare Disease Chart'!$B$5:$M$5</c:f>
              <c:numCache>
                <c:formatCode>"$"#,##0</c:formatCode>
                <c:ptCount val="12"/>
                <c:pt idx="0">
                  <c:v>378778.65</c:v>
                </c:pt>
                <c:pt idx="1">
                  <c:v>346269.1</c:v>
                </c:pt>
                <c:pt idx="2">
                  <c:v>0</c:v>
                </c:pt>
                <c:pt idx="3">
                  <c:v>2267556.4300000002</c:v>
                </c:pt>
                <c:pt idx="4">
                  <c:v>514683.14999999997</c:v>
                </c:pt>
                <c:pt idx="5">
                  <c:v>1748948.7000000002</c:v>
                </c:pt>
                <c:pt idx="6">
                  <c:v>1511874.86</c:v>
                </c:pt>
                <c:pt idx="7">
                  <c:v>1939278.68</c:v>
                </c:pt>
                <c:pt idx="8">
                  <c:v>4009576.2500000005</c:v>
                </c:pt>
                <c:pt idx="9">
                  <c:v>4061481.67</c:v>
                </c:pt>
                <c:pt idx="10">
                  <c:v>2112114.1800000002</c:v>
                </c:pt>
                <c:pt idx="11">
                  <c:v>2046294.58</c:v>
                </c:pt>
              </c:numCache>
            </c:numRef>
          </c:val>
          <c:smooth val="0"/>
          <c:extLst>
            <c:ext xmlns:c16="http://schemas.microsoft.com/office/drawing/2014/chart" uri="{C3380CC4-5D6E-409C-BE32-E72D297353CC}">
              <c16:uniqueId val="{00000001-7274-484C-BB05-C2479AF35240}"/>
            </c:ext>
          </c:extLst>
        </c:ser>
        <c:ser>
          <c:idx val="2"/>
          <c:order val="2"/>
          <c:tx>
            <c:strRef>
              <c:f>'FY19-FY21 Rare Disease Chart'!$A$6</c:f>
              <c:strCache>
                <c:ptCount val="1"/>
                <c:pt idx="0">
                  <c:v>FYTD2021 Rare Disease Spend</c:v>
                </c:pt>
              </c:strCache>
            </c:strRef>
          </c:tx>
          <c:spPr>
            <a:ln w="28575" cap="rnd">
              <a:solidFill>
                <a:schemeClr val="accent3"/>
              </a:solidFill>
              <a:round/>
            </a:ln>
            <a:effectLst/>
          </c:spPr>
          <c:marker>
            <c:symbol val="none"/>
          </c:marker>
          <c:cat>
            <c:strRef>
              <c:f>'FY19-FY21 Rare Disease Chart'!$B$3:$M$3</c:f>
              <c:strCache>
                <c:ptCount val="12"/>
                <c:pt idx="0">
                  <c:v>July</c:v>
                </c:pt>
                <c:pt idx="1">
                  <c:v>Aug</c:v>
                </c:pt>
                <c:pt idx="2">
                  <c:v>Sept</c:v>
                </c:pt>
                <c:pt idx="3">
                  <c:v>Oct</c:v>
                </c:pt>
                <c:pt idx="4">
                  <c:v>Nov</c:v>
                </c:pt>
                <c:pt idx="5">
                  <c:v>Dec </c:v>
                </c:pt>
                <c:pt idx="6">
                  <c:v>Jan</c:v>
                </c:pt>
                <c:pt idx="7">
                  <c:v>Feb</c:v>
                </c:pt>
                <c:pt idx="8">
                  <c:v>Mar</c:v>
                </c:pt>
                <c:pt idx="9">
                  <c:v>April</c:v>
                </c:pt>
                <c:pt idx="10">
                  <c:v>May </c:v>
                </c:pt>
                <c:pt idx="11">
                  <c:v>June</c:v>
                </c:pt>
              </c:strCache>
            </c:strRef>
          </c:cat>
          <c:val>
            <c:numRef>
              <c:f>'FY19-FY21 Rare Disease Chart'!$B$6:$M$6</c:f>
              <c:numCache>
                <c:formatCode>"$"#,##0</c:formatCode>
                <c:ptCount val="12"/>
                <c:pt idx="0">
                  <c:v>2792788.2199999997</c:v>
                </c:pt>
                <c:pt idx="1">
                  <c:v>2196752.08</c:v>
                </c:pt>
                <c:pt idx="2">
                  <c:v>2616355.3099999996</c:v>
                </c:pt>
                <c:pt idx="3">
                  <c:v>2878933.17</c:v>
                </c:pt>
                <c:pt idx="4">
                  <c:v>2512093</c:v>
                </c:pt>
                <c:pt idx="5">
                  <c:v>3625212</c:v>
                </c:pt>
                <c:pt idx="6">
                  <c:v>2114700</c:v>
                </c:pt>
              </c:numCache>
            </c:numRef>
          </c:val>
          <c:smooth val="0"/>
          <c:extLst>
            <c:ext xmlns:c16="http://schemas.microsoft.com/office/drawing/2014/chart" uri="{C3380CC4-5D6E-409C-BE32-E72D297353CC}">
              <c16:uniqueId val="{00000002-7274-484C-BB05-C2479AF35240}"/>
            </c:ext>
          </c:extLst>
        </c:ser>
        <c:dLbls>
          <c:showLegendKey val="0"/>
          <c:showVal val="0"/>
          <c:showCatName val="0"/>
          <c:showSerName val="0"/>
          <c:showPercent val="0"/>
          <c:showBubbleSize val="0"/>
        </c:dLbls>
        <c:smooth val="0"/>
        <c:axId val="548249344"/>
        <c:axId val="548250000"/>
      </c:lineChart>
      <c:catAx>
        <c:axId val="548249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48250000"/>
        <c:crosses val="autoZero"/>
        <c:auto val="1"/>
        <c:lblAlgn val="ctr"/>
        <c:lblOffset val="100"/>
        <c:noMultiLvlLbl val="0"/>
      </c:catAx>
      <c:valAx>
        <c:axId val="54825000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48249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sz="16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a:t>All Prescribed Drugs Covered by MO HealthNet Q2 CY20</a:t>
            </a:r>
          </a:p>
        </c:rich>
      </c:tx>
      <c:overlay val="0"/>
      <c:spPr>
        <a:noFill/>
        <a:ln>
          <a:noFill/>
        </a:ln>
        <a:effectLst/>
      </c:spPr>
      <c:txPr>
        <a:bodyPr rot="0" spcFirstLastPara="1" vertOverflow="ellipsis" vert="horz" wrap="square" anchor="ctr" anchorCtr="1"/>
        <a:lstStyle/>
        <a:p>
          <a:pPr>
            <a:defRPr sz="144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86F-4C57-B884-60D182D7B29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86F-4C57-B884-60D182D7B29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86F-4C57-B884-60D182D7B29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86F-4C57-B884-60D182D7B29D}"/>
              </c:ext>
            </c:extLst>
          </c:dPt>
          <c:dLbls>
            <c:dLbl>
              <c:idx val="0"/>
              <c:layout>
                <c:manualLayout>
                  <c:x val="-0.23440097331583551"/>
                  <c:y val="-2.319513500615862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86F-4C57-B884-60D182D7B29D}"/>
                </c:ext>
              </c:extLst>
            </c:dLbl>
            <c:dLbl>
              <c:idx val="1"/>
              <c:layout>
                <c:manualLayout>
                  <c:x val="-4.1666666666666657E-2"/>
                  <c:y val="0"/>
                </c:manualLayout>
              </c:layout>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4592013888888889"/>
                      <c:h val="0.13923013923013924"/>
                    </c:manualLayout>
                  </c15:layout>
                </c:ext>
                <c:ext xmlns:c16="http://schemas.microsoft.com/office/drawing/2014/chart" uri="{C3380CC4-5D6E-409C-BE32-E72D297353CC}">
                  <c16:uniqueId val="{00000003-E86F-4C57-B884-60D182D7B29D}"/>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January 2021'!$A$22:$A$23,'January 2021'!$A$25:$A$26)</c:f>
              <c:strCache>
                <c:ptCount val="4"/>
                <c:pt idx="0">
                  <c:v>Federal Rebate</c:v>
                </c:pt>
                <c:pt idx="1">
                  <c:v>Supplemental Rebate</c:v>
                </c:pt>
                <c:pt idx="2">
                  <c:v>Federal Share</c:v>
                </c:pt>
                <c:pt idx="3">
                  <c:v>State Share</c:v>
                </c:pt>
              </c:strCache>
            </c:strRef>
          </c:cat>
          <c:val>
            <c:numRef>
              <c:f>('January 2021'!$B$22:$B$23,'January 2021'!$B$25:$B$26)</c:f>
              <c:numCache>
                <c:formatCode>_("$"* #,##0.00_);_("$"* \(#,##0.00\);_("$"* "-"??_);_(@_)</c:formatCode>
                <c:ptCount val="4"/>
                <c:pt idx="0">
                  <c:v>50.69</c:v>
                </c:pt>
                <c:pt idx="1">
                  <c:v>4.54</c:v>
                </c:pt>
                <c:pt idx="2">
                  <c:v>24.76</c:v>
                </c:pt>
                <c:pt idx="3">
                  <c:v>13.34</c:v>
                </c:pt>
              </c:numCache>
            </c:numRef>
          </c:val>
          <c:extLst>
            <c:ext xmlns:c16="http://schemas.microsoft.com/office/drawing/2014/chart" uri="{C3380CC4-5D6E-409C-BE32-E72D297353CC}">
              <c16:uniqueId val="{00000008-E86F-4C57-B884-60D182D7B29D}"/>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2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a:t>New Drug with no Competition</a:t>
            </a:r>
          </a:p>
        </c:rich>
      </c:tx>
      <c:overlay val="0"/>
      <c:spPr>
        <a:noFill/>
        <a:ln>
          <a:noFill/>
        </a:ln>
        <a:effectLst/>
      </c:spPr>
      <c:txPr>
        <a:bodyPr rot="0" spcFirstLastPara="1" vertOverflow="ellipsis" vert="horz" wrap="square" anchor="ctr" anchorCtr="1"/>
        <a:lstStyle/>
        <a:p>
          <a:pPr>
            <a:defRPr sz="192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4E0-4228-8BE2-1961CD22838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4E0-4228-8BE2-1961CD22838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4E0-4228-8BE2-1961CD22838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4E0-4228-8BE2-1961CD228385}"/>
              </c:ext>
            </c:extLst>
          </c:dPt>
          <c:dLbls>
            <c:dLbl>
              <c:idx val="0"/>
              <c:tx>
                <c:rich>
                  <a:bodyPr rot="0" spcFirstLastPara="1" vertOverflow="ellipsis" vert="horz" wrap="square" anchor="ctr" anchorCtr="1"/>
                  <a:lstStyle/>
                  <a:p>
                    <a:pPr>
                      <a:defRPr sz="1600" b="1" i="0" u="none" strike="noStrike" kern="1200" baseline="0">
                        <a:solidFill>
                          <a:schemeClr val="bg1"/>
                        </a:solidFill>
                        <a:latin typeface="Calibri" panose="020F0502020204030204" pitchFamily="34" charset="0"/>
                        <a:ea typeface="+mn-ea"/>
                        <a:cs typeface="Calibri" panose="020F0502020204030204" pitchFamily="34" charset="0"/>
                      </a:defRPr>
                    </a:pPr>
                    <a:fld id="{5005948C-76F6-48E8-AA1A-C864FB9DCCBF}" type="CATEGORYNAME">
                      <a:rPr lang="en-US">
                        <a:solidFill>
                          <a:schemeClr val="bg1"/>
                        </a:solidFill>
                      </a:rPr>
                      <a:pPr>
                        <a:defRPr>
                          <a:solidFill>
                            <a:schemeClr val="bg1"/>
                          </a:solidFill>
                        </a:defRPr>
                      </a:pPr>
                      <a:t>[CATEGORY NAME]</a:t>
                    </a:fld>
                    <a:r>
                      <a:rPr lang="en-US" baseline="0" dirty="0">
                        <a:solidFill>
                          <a:schemeClr val="bg1"/>
                        </a:solidFill>
                      </a:rPr>
                      <a:t>
</a:t>
                    </a:r>
                    <a:fld id="{7F573813-E2DD-4EBC-98C6-B318FE524A64}" type="PERCENTAGE">
                      <a:rPr lang="en-US" baseline="0">
                        <a:solidFill>
                          <a:schemeClr val="bg1"/>
                        </a:solidFill>
                      </a:rPr>
                      <a:pPr>
                        <a:defRPr>
                          <a:solidFill>
                            <a:schemeClr val="bg1"/>
                          </a:solidFill>
                        </a:defRPr>
                      </a:pPr>
                      <a:t>[PERCENTAGE]</a:t>
                    </a:fld>
                    <a:endParaRPr lang="en-US" baseline="0" dirty="0">
                      <a:solidFill>
                        <a:schemeClr val="bg1"/>
                      </a:solidFill>
                    </a:endParaRPr>
                  </a:p>
                </c:rich>
              </c:tx>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4E0-4228-8BE2-1961CD228385}"/>
                </c:ext>
              </c:extLst>
            </c:dLbl>
            <c:dLbl>
              <c:idx val="2"/>
              <c:layout>
                <c:manualLayout>
                  <c:x val="-5.7137057086614172E-2"/>
                  <c:y val="-0.15203931203931204"/>
                </c:manualLayout>
              </c:layout>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4E0-4228-8BE2-1961CD228385}"/>
                </c:ext>
              </c:extLst>
            </c:dLbl>
            <c:dLbl>
              <c:idx val="3"/>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6="http://schemas.microsoft.com/office/drawing/2014/chart" uri="{C3380CC4-5D6E-409C-BE32-E72D297353CC}">
                  <c16:uniqueId val="{00000007-14E0-4228-8BE2-1961CD228385}"/>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January 2021'!$A$22,'January 2021'!$A$23,'January 2021'!$A$25,'January 2021'!$A$26)</c:f>
              <c:strCache>
                <c:ptCount val="4"/>
                <c:pt idx="0">
                  <c:v>Federal Rebate</c:v>
                </c:pt>
                <c:pt idx="1">
                  <c:v>Supplemental Rebate</c:v>
                </c:pt>
                <c:pt idx="2">
                  <c:v>Federal Share</c:v>
                </c:pt>
                <c:pt idx="3">
                  <c:v>State Share</c:v>
                </c:pt>
              </c:strCache>
            </c:strRef>
          </c:cat>
          <c:val>
            <c:numRef>
              <c:f>('January 2021'!$D$22,'January 2021'!$D$23,'January 2021'!$D$25,'January 2021'!$D$26)</c:f>
              <c:numCache>
                <c:formatCode>_("$"* #,##0.00_);_("$"* \(#,##0.00\);_("$"* "-"??_);_(@_)</c:formatCode>
                <c:ptCount val="4"/>
                <c:pt idx="0">
                  <c:v>69300</c:v>
                </c:pt>
                <c:pt idx="1">
                  <c:v>0</c:v>
                </c:pt>
                <c:pt idx="2">
                  <c:v>149955</c:v>
                </c:pt>
                <c:pt idx="3">
                  <c:v>80745</c:v>
                </c:pt>
              </c:numCache>
            </c:numRef>
          </c:val>
          <c:extLst>
            <c:ext xmlns:c16="http://schemas.microsoft.com/office/drawing/2014/chart" uri="{C3380CC4-5D6E-409C-BE32-E72D297353CC}">
              <c16:uniqueId val="{00000008-14E0-4228-8BE2-1961CD228385}"/>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6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4"/>
            <a:ext cx="3038477" cy="465137"/>
          </a:xfrm>
          <a:prstGeom prst="rect">
            <a:avLst/>
          </a:prstGeom>
        </p:spPr>
        <p:txBody>
          <a:bodyPr vert="horz" lIns="91075" tIns="45537" rIns="91075" bIns="45537" rtlCol="0"/>
          <a:lstStyle>
            <a:lvl1pPr algn="l">
              <a:defRPr sz="1200"/>
            </a:lvl1pPr>
          </a:lstStyle>
          <a:p>
            <a:endParaRPr lang="en-US" dirty="0"/>
          </a:p>
        </p:txBody>
      </p:sp>
      <p:sp>
        <p:nvSpPr>
          <p:cNvPr id="3" name="Date Placeholder 2"/>
          <p:cNvSpPr>
            <a:spLocks noGrp="1"/>
          </p:cNvSpPr>
          <p:nvPr>
            <p:ph type="dt" sz="quarter" idx="1"/>
          </p:nvPr>
        </p:nvSpPr>
        <p:spPr>
          <a:xfrm>
            <a:off x="3970342" y="4"/>
            <a:ext cx="3038477" cy="465137"/>
          </a:xfrm>
          <a:prstGeom prst="rect">
            <a:avLst/>
          </a:prstGeom>
        </p:spPr>
        <p:txBody>
          <a:bodyPr vert="horz" lIns="91075" tIns="45537" rIns="91075" bIns="45537" rtlCol="0"/>
          <a:lstStyle>
            <a:lvl1pPr algn="r">
              <a:defRPr sz="1200"/>
            </a:lvl1pPr>
          </a:lstStyle>
          <a:p>
            <a:fld id="{0D144030-4CAA-4B43-A21F-96EBF1BA20C8}" type="datetimeFigureOut">
              <a:rPr lang="en-US" smtClean="0"/>
              <a:t>10/16/2023</a:t>
            </a:fld>
            <a:endParaRPr lang="en-US" dirty="0"/>
          </a:p>
        </p:txBody>
      </p:sp>
      <p:sp>
        <p:nvSpPr>
          <p:cNvPr id="4" name="Footer Placeholder 3"/>
          <p:cNvSpPr>
            <a:spLocks noGrp="1"/>
          </p:cNvSpPr>
          <p:nvPr>
            <p:ph type="ftr" sz="quarter" idx="2"/>
          </p:nvPr>
        </p:nvSpPr>
        <p:spPr>
          <a:xfrm>
            <a:off x="3" y="8829679"/>
            <a:ext cx="3038477" cy="465137"/>
          </a:xfrm>
          <a:prstGeom prst="rect">
            <a:avLst/>
          </a:prstGeom>
        </p:spPr>
        <p:txBody>
          <a:bodyPr vert="horz" lIns="91075" tIns="45537" rIns="91075" bIns="45537"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2" y="8829679"/>
            <a:ext cx="3038477" cy="465137"/>
          </a:xfrm>
          <a:prstGeom prst="rect">
            <a:avLst/>
          </a:prstGeom>
        </p:spPr>
        <p:txBody>
          <a:bodyPr vert="horz" lIns="91075" tIns="45537" rIns="91075" bIns="45537" rtlCol="0" anchor="b"/>
          <a:lstStyle>
            <a:lvl1pPr algn="r">
              <a:defRPr sz="1200"/>
            </a:lvl1pPr>
          </a:lstStyle>
          <a:p>
            <a:fld id="{3090A595-EEBA-4F67-AC3E-D9F8CCF61EB7}" type="slidenum">
              <a:rPr lang="en-US" smtClean="0"/>
              <a:t>‹#›</a:t>
            </a:fld>
            <a:endParaRPr lang="en-US" dirty="0"/>
          </a:p>
        </p:txBody>
      </p:sp>
    </p:spTree>
    <p:extLst>
      <p:ext uri="{BB962C8B-B14F-4D97-AF65-F5344CB8AC3E}">
        <p14:creationId xmlns:p14="http://schemas.microsoft.com/office/powerpoint/2010/main" val="10010102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2803" tIns="46403" rIns="92803" bIns="46403" rtlCol="0"/>
          <a:lstStyle>
            <a:lvl1pPr algn="l">
              <a:defRPr sz="1200"/>
            </a:lvl1pPr>
          </a:lstStyle>
          <a:p>
            <a:endParaRPr lang="en-US" dirty="0"/>
          </a:p>
        </p:txBody>
      </p:sp>
      <p:sp>
        <p:nvSpPr>
          <p:cNvPr id="3" name="Date Placeholder 2"/>
          <p:cNvSpPr>
            <a:spLocks noGrp="1"/>
          </p:cNvSpPr>
          <p:nvPr>
            <p:ph type="dt" idx="1"/>
          </p:nvPr>
        </p:nvSpPr>
        <p:spPr>
          <a:xfrm>
            <a:off x="3970938" y="1"/>
            <a:ext cx="3037840" cy="464820"/>
          </a:xfrm>
          <a:prstGeom prst="rect">
            <a:avLst/>
          </a:prstGeom>
        </p:spPr>
        <p:txBody>
          <a:bodyPr vert="horz" lIns="92803" tIns="46403" rIns="92803" bIns="46403" rtlCol="0"/>
          <a:lstStyle>
            <a:lvl1pPr algn="r">
              <a:defRPr sz="1200"/>
            </a:lvl1pPr>
          </a:lstStyle>
          <a:p>
            <a:fld id="{97CF049E-D21B-4DB6-B4B8-7FA4F1288B91}" type="datetimeFigureOut">
              <a:rPr lang="en-US" smtClean="0"/>
              <a:pPr/>
              <a:t>10/16/2023</a:t>
            </a:fld>
            <a:endParaRPr lang="en-US" dirty="0"/>
          </a:p>
        </p:txBody>
      </p:sp>
      <p:sp>
        <p:nvSpPr>
          <p:cNvPr id="4" name="Slide Image Placeholder 3"/>
          <p:cNvSpPr>
            <a:spLocks noGrp="1" noRot="1" noChangeAspect="1"/>
          </p:cNvSpPr>
          <p:nvPr>
            <p:ph type="sldImg" idx="2"/>
          </p:nvPr>
        </p:nvSpPr>
        <p:spPr>
          <a:xfrm>
            <a:off x="409575" y="698500"/>
            <a:ext cx="6191250" cy="3482975"/>
          </a:xfrm>
          <a:prstGeom prst="rect">
            <a:avLst/>
          </a:prstGeom>
          <a:noFill/>
          <a:ln w="12700">
            <a:solidFill>
              <a:prstClr val="black"/>
            </a:solidFill>
          </a:ln>
        </p:spPr>
        <p:txBody>
          <a:bodyPr vert="horz" lIns="92803" tIns="46403" rIns="92803" bIns="46403" rtlCol="0" anchor="ctr"/>
          <a:lstStyle/>
          <a:p>
            <a:endParaRPr lang="en-US" dirty="0"/>
          </a:p>
        </p:txBody>
      </p:sp>
      <p:sp>
        <p:nvSpPr>
          <p:cNvPr id="5" name="Notes Placeholder 4"/>
          <p:cNvSpPr>
            <a:spLocks noGrp="1"/>
          </p:cNvSpPr>
          <p:nvPr>
            <p:ph type="body" sz="quarter" idx="3"/>
          </p:nvPr>
        </p:nvSpPr>
        <p:spPr>
          <a:xfrm>
            <a:off x="701040" y="4415792"/>
            <a:ext cx="5608320" cy="4183380"/>
          </a:xfrm>
          <a:prstGeom prst="rect">
            <a:avLst/>
          </a:prstGeom>
        </p:spPr>
        <p:txBody>
          <a:bodyPr vert="horz" lIns="92803" tIns="46403" rIns="92803" bIns="4640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2803" tIns="46403" rIns="92803" bIns="4640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2803" tIns="46403" rIns="92803" bIns="46403" rtlCol="0" anchor="b"/>
          <a:lstStyle>
            <a:lvl1pPr algn="r">
              <a:defRPr sz="1200"/>
            </a:lvl1pPr>
          </a:lstStyle>
          <a:p>
            <a:fld id="{00E83FC2-CB00-407E-BA4E-4A2B7B6C7269}" type="slidenum">
              <a:rPr lang="en-US" smtClean="0"/>
              <a:pPr/>
              <a:t>‹#›</a:t>
            </a:fld>
            <a:endParaRPr lang="en-US" dirty="0"/>
          </a:p>
        </p:txBody>
      </p:sp>
    </p:spTree>
    <p:extLst>
      <p:ext uri="{BB962C8B-B14F-4D97-AF65-F5344CB8AC3E}">
        <p14:creationId xmlns:p14="http://schemas.microsoft.com/office/powerpoint/2010/main" val="539844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191250" cy="3482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1</a:t>
            </a:fld>
            <a:endParaRPr lang="en-US" dirty="0"/>
          </a:p>
        </p:txBody>
      </p:sp>
    </p:spTree>
    <p:extLst>
      <p:ext uri="{BB962C8B-B14F-4D97-AF65-F5344CB8AC3E}">
        <p14:creationId xmlns:p14="http://schemas.microsoft.com/office/powerpoint/2010/main" val="1089591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9777210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960001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1962751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7804038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13386235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8281736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3733052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35</a:t>
            </a:fld>
            <a:endParaRPr lang="en-US" dirty="0"/>
          </a:p>
        </p:txBody>
      </p:sp>
    </p:spTree>
    <p:extLst>
      <p:ext uri="{BB962C8B-B14F-4D97-AF65-F5344CB8AC3E}">
        <p14:creationId xmlns:p14="http://schemas.microsoft.com/office/powerpoint/2010/main" val="1056795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37</a:t>
            </a:fld>
            <a:endParaRPr lang="en-US" dirty="0"/>
          </a:p>
        </p:txBody>
      </p:sp>
    </p:spTree>
    <p:extLst>
      <p:ext uri="{BB962C8B-B14F-4D97-AF65-F5344CB8AC3E}">
        <p14:creationId xmlns:p14="http://schemas.microsoft.com/office/powerpoint/2010/main" val="3739933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1745060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2</a:t>
            </a:fld>
            <a:endParaRPr lang="en-US" dirty="0"/>
          </a:p>
        </p:txBody>
      </p:sp>
    </p:spTree>
    <p:extLst>
      <p:ext uri="{BB962C8B-B14F-4D97-AF65-F5344CB8AC3E}">
        <p14:creationId xmlns:p14="http://schemas.microsoft.com/office/powerpoint/2010/main" val="35119783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8381228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28904703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20918954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28533716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5135234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180828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26112613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80FF00-F3FD-4F07-BF0D-30040E46E35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Footer Placeholder 6">
            <a:extLst>
              <a:ext uri="{FF2B5EF4-FFF2-40B4-BE49-F238E27FC236}">
                <a16:creationId xmlns:a16="http://schemas.microsoft.com/office/drawing/2014/main" id="{FCBA88DC-4098-4F48-B1D2-BBBA539F089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Updated 2/25/19</a:t>
            </a:r>
          </a:p>
        </p:txBody>
      </p:sp>
    </p:spTree>
    <p:extLst>
      <p:ext uri="{BB962C8B-B14F-4D97-AF65-F5344CB8AC3E}">
        <p14:creationId xmlns:p14="http://schemas.microsoft.com/office/powerpoint/2010/main" val="35723118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49</a:t>
            </a:fld>
            <a:endParaRPr lang="en-US" dirty="0"/>
          </a:p>
        </p:txBody>
      </p:sp>
    </p:spTree>
    <p:extLst>
      <p:ext uri="{BB962C8B-B14F-4D97-AF65-F5344CB8AC3E}">
        <p14:creationId xmlns:p14="http://schemas.microsoft.com/office/powerpoint/2010/main" val="25817536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50</a:t>
            </a:fld>
            <a:endParaRPr lang="en-US" dirty="0"/>
          </a:p>
        </p:txBody>
      </p:sp>
    </p:spTree>
    <p:extLst>
      <p:ext uri="{BB962C8B-B14F-4D97-AF65-F5344CB8AC3E}">
        <p14:creationId xmlns:p14="http://schemas.microsoft.com/office/powerpoint/2010/main" val="975831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3</a:t>
            </a:fld>
            <a:endParaRPr lang="en-US" dirty="0"/>
          </a:p>
        </p:txBody>
      </p:sp>
    </p:spTree>
    <p:extLst>
      <p:ext uri="{BB962C8B-B14F-4D97-AF65-F5344CB8AC3E}">
        <p14:creationId xmlns:p14="http://schemas.microsoft.com/office/powerpoint/2010/main" val="24515252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51</a:t>
            </a:fld>
            <a:endParaRPr lang="en-US" dirty="0"/>
          </a:p>
        </p:txBody>
      </p:sp>
    </p:spTree>
    <p:extLst>
      <p:ext uri="{BB962C8B-B14F-4D97-AF65-F5344CB8AC3E}">
        <p14:creationId xmlns:p14="http://schemas.microsoft.com/office/powerpoint/2010/main" val="9524407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52</a:t>
            </a:fld>
            <a:endParaRPr lang="en-US" dirty="0"/>
          </a:p>
        </p:txBody>
      </p:sp>
    </p:spTree>
    <p:extLst>
      <p:ext uri="{BB962C8B-B14F-4D97-AF65-F5344CB8AC3E}">
        <p14:creationId xmlns:p14="http://schemas.microsoft.com/office/powerpoint/2010/main" val="41314506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53</a:t>
            </a:fld>
            <a:endParaRPr lang="en-US" dirty="0"/>
          </a:p>
        </p:txBody>
      </p:sp>
    </p:spTree>
    <p:extLst>
      <p:ext uri="{BB962C8B-B14F-4D97-AF65-F5344CB8AC3E}">
        <p14:creationId xmlns:p14="http://schemas.microsoft.com/office/powerpoint/2010/main" val="11362913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54</a:t>
            </a:fld>
            <a:endParaRPr lang="en-US" dirty="0"/>
          </a:p>
        </p:txBody>
      </p:sp>
    </p:spTree>
    <p:extLst>
      <p:ext uri="{BB962C8B-B14F-4D97-AF65-F5344CB8AC3E}">
        <p14:creationId xmlns:p14="http://schemas.microsoft.com/office/powerpoint/2010/main" val="4166841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4</a:t>
            </a:fld>
            <a:endParaRPr lang="en-US" dirty="0"/>
          </a:p>
        </p:txBody>
      </p:sp>
    </p:spTree>
    <p:extLst>
      <p:ext uri="{BB962C8B-B14F-4D97-AF65-F5344CB8AC3E}">
        <p14:creationId xmlns:p14="http://schemas.microsoft.com/office/powerpoint/2010/main" val="3524823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83FC2-CB00-407E-BA4E-4A2B7B6C726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9648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13</a:t>
            </a:fld>
            <a:endParaRPr lang="en-US" dirty="0"/>
          </a:p>
        </p:txBody>
      </p:sp>
    </p:spTree>
    <p:extLst>
      <p:ext uri="{BB962C8B-B14F-4D97-AF65-F5344CB8AC3E}">
        <p14:creationId xmlns:p14="http://schemas.microsoft.com/office/powerpoint/2010/main" val="16885102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14</a:t>
            </a:fld>
            <a:endParaRPr lang="en-US" dirty="0"/>
          </a:p>
        </p:txBody>
      </p:sp>
    </p:spTree>
    <p:extLst>
      <p:ext uri="{BB962C8B-B14F-4D97-AF65-F5344CB8AC3E}">
        <p14:creationId xmlns:p14="http://schemas.microsoft.com/office/powerpoint/2010/main" val="1195617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15</a:t>
            </a:fld>
            <a:endParaRPr lang="en-US" dirty="0"/>
          </a:p>
        </p:txBody>
      </p:sp>
    </p:spTree>
    <p:extLst>
      <p:ext uri="{BB962C8B-B14F-4D97-AF65-F5344CB8AC3E}">
        <p14:creationId xmlns:p14="http://schemas.microsoft.com/office/powerpoint/2010/main" val="14687707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E83FC2-CB00-407E-BA4E-4A2B7B6C7269}" type="slidenum">
              <a:rPr lang="en-US" smtClean="0"/>
              <a:pPr/>
              <a:t>16</a:t>
            </a:fld>
            <a:endParaRPr lang="en-US" dirty="0"/>
          </a:p>
        </p:txBody>
      </p:sp>
    </p:spTree>
    <p:extLst>
      <p:ext uri="{BB962C8B-B14F-4D97-AF65-F5344CB8AC3E}">
        <p14:creationId xmlns:p14="http://schemas.microsoft.com/office/powerpoint/2010/main" val="33048702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19.emf"/></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3.emf"/><Relationship Id="rId7" Type="http://schemas.openxmlformats.org/officeDocument/2006/relationships/image" Target="../media/image25.emf"/><Relationship Id="rId2" Type="http://schemas.openxmlformats.org/officeDocument/2006/relationships/image" Target="../media/image22.jpeg"/><Relationship Id="rId1" Type="http://schemas.openxmlformats.org/officeDocument/2006/relationships/slideMaster" Target="../slideMasters/slideMaster4.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0.emf"/></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6.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1.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9.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3.emf"/><Relationship Id="rId7" Type="http://schemas.openxmlformats.org/officeDocument/2006/relationships/image" Target="../media/image25.emf"/><Relationship Id="rId2" Type="http://schemas.openxmlformats.org/officeDocument/2006/relationships/image" Target="../media/image22.jpeg"/><Relationship Id="rId1" Type="http://schemas.openxmlformats.org/officeDocument/2006/relationships/slideMaster" Target="../slideMasters/slideMaster2.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0.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3.emf"/><Relationship Id="rId7" Type="http://schemas.openxmlformats.org/officeDocument/2006/relationships/image" Target="../media/image25.emf"/><Relationship Id="rId2" Type="http://schemas.openxmlformats.org/officeDocument/2006/relationships/image" Target="../media/image22.jpeg"/><Relationship Id="rId1" Type="http://schemas.openxmlformats.org/officeDocument/2006/relationships/slideMaster" Target="../slideMasters/slideMaster3.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0.emf"/></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1.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Freeform 6"/>
          <p:cNvSpPr/>
          <p:nvPr/>
        </p:nvSpPr>
        <p:spPr>
          <a:xfrm>
            <a:off x="-101" y="5293518"/>
            <a:ext cx="12192124" cy="1443038"/>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355114 w 9144000"/>
              <a:gd name="connsiteY0" fmla="*/ 0 h 1562100"/>
              <a:gd name="connsiteX1" fmla="*/ 9144000 w 9144000"/>
              <a:gd name="connsiteY1" fmla="*/ 104775 h 1562100"/>
              <a:gd name="connsiteX2" fmla="*/ 9144000 w 9144000"/>
              <a:gd name="connsiteY2" fmla="*/ 361950 h 1562100"/>
              <a:gd name="connsiteX3" fmla="*/ 6334125 w 9144000"/>
              <a:gd name="connsiteY3" fmla="*/ 1562100 h 1562100"/>
              <a:gd name="connsiteX4" fmla="*/ 0 w 9144000"/>
              <a:gd name="connsiteY4" fmla="*/ 495300 h 1562100"/>
              <a:gd name="connsiteX5" fmla="*/ 355114 w 9144000"/>
              <a:gd name="connsiteY5" fmla="*/ 0 h 1562100"/>
              <a:gd name="connsiteX0" fmla="*/ 411923 w 9144000"/>
              <a:gd name="connsiteY0" fmla="*/ 83344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411923 w 9144000"/>
              <a:gd name="connsiteY5" fmla="*/ 83344 h 1457325"/>
              <a:gd name="connsiteX0" fmla="*/ 28462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8462 w 9144000"/>
              <a:gd name="connsiteY5" fmla="*/ 9525 h 1457325"/>
              <a:gd name="connsiteX0" fmla="*/ 108942 w 9144000"/>
              <a:gd name="connsiteY0" fmla="*/ 10477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108942 w 9144000"/>
              <a:gd name="connsiteY5" fmla="*/ 104775 h 1457325"/>
              <a:gd name="connsiteX0" fmla="*/ 26095 w 9144000"/>
              <a:gd name="connsiteY0" fmla="*/ 14288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6095 w 9144000"/>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12977 w 9117905"/>
              <a:gd name="connsiteY4" fmla="*/ 311944 h 1457325"/>
              <a:gd name="connsiteX5" fmla="*/ 0 w 9117905"/>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310 w 9117905"/>
              <a:gd name="connsiteY4" fmla="*/ 376237 h 1457325"/>
              <a:gd name="connsiteX5" fmla="*/ 0 w 9117905"/>
              <a:gd name="connsiteY5" fmla="*/ 14288 h 1457325"/>
              <a:gd name="connsiteX0" fmla="*/ 0 w 9117905"/>
              <a:gd name="connsiteY0" fmla="*/ 14288 h 1531144"/>
              <a:gd name="connsiteX1" fmla="*/ 9117905 w 9117905"/>
              <a:gd name="connsiteY1" fmla="*/ 0 h 1531144"/>
              <a:gd name="connsiteX2" fmla="*/ 9117905 w 9117905"/>
              <a:gd name="connsiteY2" fmla="*/ 257175 h 1531144"/>
              <a:gd name="connsiteX3" fmla="*/ 6308030 w 9117905"/>
              <a:gd name="connsiteY3" fmla="*/ 1531144 h 1531144"/>
              <a:gd name="connsiteX4" fmla="*/ 2310 w 9117905"/>
              <a:gd name="connsiteY4" fmla="*/ 376237 h 1531144"/>
              <a:gd name="connsiteX5" fmla="*/ 0 w 9117905"/>
              <a:gd name="connsiteY5" fmla="*/ 14288 h 1531144"/>
              <a:gd name="connsiteX0" fmla="*/ 0 w 9117905"/>
              <a:gd name="connsiteY0" fmla="*/ 14288 h 1450181"/>
              <a:gd name="connsiteX1" fmla="*/ 9117905 w 9117905"/>
              <a:gd name="connsiteY1" fmla="*/ 0 h 1450181"/>
              <a:gd name="connsiteX2" fmla="*/ 9117905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8994819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9106070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06070"/>
              <a:gd name="connsiteY0" fmla="*/ 0 h 1435893"/>
              <a:gd name="connsiteX1" fmla="*/ 9013755 w 9106070"/>
              <a:gd name="connsiteY1" fmla="*/ 97630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2 h 1435895"/>
              <a:gd name="connsiteX1" fmla="*/ 9096602 w 9106070"/>
              <a:gd name="connsiteY1" fmla="*/ 0 h 1435895"/>
              <a:gd name="connsiteX2" fmla="*/ 9106070 w 9106070"/>
              <a:gd name="connsiteY2" fmla="*/ 242889 h 1435895"/>
              <a:gd name="connsiteX3" fmla="*/ 6260689 w 9106070"/>
              <a:gd name="connsiteY3" fmla="*/ 1435895 h 1435895"/>
              <a:gd name="connsiteX4" fmla="*/ 2310 w 9106070"/>
              <a:gd name="connsiteY4" fmla="*/ 361951 h 1435895"/>
              <a:gd name="connsiteX5" fmla="*/ 0 w 9106070"/>
              <a:gd name="connsiteY5" fmla="*/ 2 h 1435895"/>
              <a:gd name="connsiteX0" fmla="*/ 0 w 9106070"/>
              <a:gd name="connsiteY0" fmla="*/ 0 h 1435893"/>
              <a:gd name="connsiteX1" fmla="*/ 8973515 w 9106070"/>
              <a:gd name="connsiteY1" fmla="*/ 123823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7145 h 1443038"/>
              <a:gd name="connsiteX1" fmla="*/ 9089499 w 9106070"/>
              <a:gd name="connsiteY1" fmla="*/ 0 h 1443038"/>
              <a:gd name="connsiteX2" fmla="*/ 9106070 w 9106070"/>
              <a:gd name="connsiteY2" fmla="*/ 250032 h 1443038"/>
              <a:gd name="connsiteX3" fmla="*/ 6260689 w 9106070"/>
              <a:gd name="connsiteY3" fmla="*/ 1443038 h 1443038"/>
              <a:gd name="connsiteX4" fmla="*/ 2310 w 9106070"/>
              <a:gd name="connsiteY4" fmla="*/ 369094 h 1443038"/>
              <a:gd name="connsiteX5" fmla="*/ 0 w 9106070"/>
              <a:gd name="connsiteY5" fmla="*/ 7145 h 1443038"/>
              <a:gd name="connsiteX0" fmla="*/ 0 w 9089499"/>
              <a:gd name="connsiteY0" fmla="*/ 7145 h 1443038"/>
              <a:gd name="connsiteX1" fmla="*/ 9089499 w 9089499"/>
              <a:gd name="connsiteY1" fmla="*/ 0 h 1443038"/>
              <a:gd name="connsiteX2" fmla="*/ 8923808 w 9089499"/>
              <a:gd name="connsiteY2" fmla="*/ 197644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4767 w 9089499"/>
              <a:gd name="connsiteY2" fmla="*/ 247650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8982984 w 9089499"/>
              <a:gd name="connsiteY2" fmla="*/ 202406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130131 w 9089499"/>
              <a:gd name="connsiteY4" fmla="*/ 266700 h 1443038"/>
              <a:gd name="connsiteX5" fmla="*/ 0 w 9089499"/>
              <a:gd name="connsiteY5" fmla="*/ 7145 h 1443038"/>
              <a:gd name="connsiteX0" fmla="*/ 57 w 9089556"/>
              <a:gd name="connsiteY0" fmla="*/ 7145 h 1443038"/>
              <a:gd name="connsiteX1" fmla="*/ 9089556 w 9089556"/>
              <a:gd name="connsiteY1" fmla="*/ 0 h 1443038"/>
              <a:gd name="connsiteX2" fmla="*/ 9087191 w 9089556"/>
              <a:gd name="connsiteY2" fmla="*/ 254793 h 1443038"/>
              <a:gd name="connsiteX3" fmla="*/ 6260746 w 9089556"/>
              <a:gd name="connsiteY3" fmla="*/ 1443038 h 1443038"/>
              <a:gd name="connsiteX4" fmla="*/ 0 w 9089556"/>
              <a:gd name="connsiteY4" fmla="*/ 366713 h 1443038"/>
              <a:gd name="connsiteX5" fmla="*/ 57 w 9089556"/>
              <a:gd name="connsiteY5" fmla="*/ 7145 h 144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9556" h="1443038">
                <a:moveTo>
                  <a:pt x="57" y="7145"/>
                </a:moveTo>
                <a:lnTo>
                  <a:pt x="9089556" y="0"/>
                </a:lnTo>
                <a:cubicBezTo>
                  <a:pt x="9087979" y="82550"/>
                  <a:pt x="9088768" y="172243"/>
                  <a:pt x="9087191" y="254793"/>
                </a:cubicBezTo>
                <a:lnTo>
                  <a:pt x="6260746" y="1443038"/>
                </a:lnTo>
                <a:lnTo>
                  <a:pt x="0" y="366713"/>
                </a:lnTo>
                <a:lnTo>
                  <a:pt x="57" y="7145"/>
                </a:lnTo>
                <a:close/>
              </a:path>
            </a:pathLst>
          </a:custGeom>
          <a:gradFill>
            <a:gsLst>
              <a:gs pos="0">
                <a:schemeClr val="accent1"/>
              </a:gs>
              <a:gs pos="14000">
                <a:schemeClr val="accent1">
                  <a:lumMod val="60000"/>
                  <a:lumOff val="40000"/>
                </a:schemeClr>
              </a:gs>
              <a:gs pos="83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lnSpc>
                <a:spcPct val="100000"/>
              </a:lnSpc>
            </a:pPr>
            <a:endParaRPr lang="en-US" sz="1800" b="1" kern="1200" dirty="0">
              <a:solidFill>
                <a:schemeClr val="lt1"/>
              </a:solidFill>
              <a:latin typeface="+mn-lt"/>
              <a:ea typeface="+mn-ea"/>
              <a:cs typeface="+mn-cs"/>
            </a:endParaRPr>
          </a:p>
        </p:txBody>
      </p:sp>
      <p:sp>
        <p:nvSpPr>
          <p:cNvPr id="8" name="Freeform 7"/>
          <p:cNvSpPr/>
          <p:nvPr/>
        </p:nvSpPr>
        <p:spPr>
          <a:xfrm>
            <a:off x="-101" y="5293518"/>
            <a:ext cx="12192124" cy="1443038"/>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355114 w 9144000"/>
              <a:gd name="connsiteY0" fmla="*/ 0 h 1562100"/>
              <a:gd name="connsiteX1" fmla="*/ 9144000 w 9144000"/>
              <a:gd name="connsiteY1" fmla="*/ 104775 h 1562100"/>
              <a:gd name="connsiteX2" fmla="*/ 9144000 w 9144000"/>
              <a:gd name="connsiteY2" fmla="*/ 361950 h 1562100"/>
              <a:gd name="connsiteX3" fmla="*/ 6334125 w 9144000"/>
              <a:gd name="connsiteY3" fmla="*/ 1562100 h 1562100"/>
              <a:gd name="connsiteX4" fmla="*/ 0 w 9144000"/>
              <a:gd name="connsiteY4" fmla="*/ 495300 h 1562100"/>
              <a:gd name="connsiteX5" fmla="*/ 355114 w 9144000"/>
              <a:gd name="connsiteY5" fmla="*/ 0 h 1562100"/>
              <a:gd name="connsiteX0" fmla="*/ 411923 w 9144000"/>
              <a:gd name="connsiteY0" fmla="*/ 83344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411923 w 9144000"/>
              <a:gd name="connsiteY5" fmla="*/ 83344 h 1457325"/>
              <a:gd name="connsiteX0" fmla="*/ 28462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8462 w 9144000"/>
              <a:gd name="connsiteY5" fmla="*/ 9525 h 1457325"/>
              <a:gd name="connsiteX0" fmla="*/ 108942 w 9144000"/>
              <a:gd name="connsiteY0" fmla="*/ 10477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108942 w 9144000"/>
              <a:gd name="connsiteY5" fmla="*/ 104775 h 1457325"/>
              <a:gd name="connsiteX0" fmla="*/ 26095 w 9144000"/>
              <a:gd name="connsiteY0" fmla="*/ 14288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6095 w 9144000"/>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12977 w 9117905"/>
              <a:gd name="connsiteY4" fmla="*/ 311944 h 1457325"/>
              <a:gd name="connsiteX5" fmla="*/ 0 w 9117905"/>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310 w 9117905"/>
              <a:gd name="connsiteY4" fmla="*/ 376237 h 1457325"/>
              <a:gd name="connsiteX5" fmla="*/ 0 w 9117905"/>
              <a:gd name="connsiteY5" fmla="*/ 14288 h 1457325"/>
              <a:gd name="connsiteX0" fmla="*/ 0 w 9117905"/>
              <a:gd name="connsiteY0" fmla="*/ 14288 h 1531144"/>
              <a:gd name="connsiteX1" fmla="*/ 9117905 w 9117905"/>
              <a:gd name="connsiteY1" fmla="*/ 0 h 1531144"/>
              <a:gd name="connsiteX2" fmla="*/ 9117905 w 9117905"/>
              <a:gd name="connsiteY2" fmla="*/ 257175 h 1531144"/>
              <a:gd name="connsiteX3" fmla="*/ 6308030 w 9117905"/>
              <a:gd name="connsiteY3" fmla="*/ 1531144 h 1531144"/>
              <a:gd name="connsiteX4" fmla="*/ 2310 w 9117905"/>
              <a:gd name="connsiteY4" fmla="*/ 376237 h 1531144"/>
              <a:gd name="connsiteX5" fmla="*/ 0 w 9117905"/>
              <a:gd name="connsiteY5" fmla="*/ 14288 h 1531144"/>
              <a:gd name="connsiteX0" fmla="*/ 0 w 9117905"/>
              <a:gd name="connsiteY0" fmla="*/ 14288 h 1450181"/>
              <a:gd name="connsiteX1" fmla="*/ 9117905 w 9117905"/>
              <a:gd name="connsiteY1" fmla="*/ 0 h 1450181"/>
              <a:gd name="connsiteX2" fmla="*/ 9117905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8994819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9106070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06070"/>
              <a:gd name="connsiteY0" fmla="*/ 0 h 1435893"/>
              <a:gd name="connsiteX1" fmla="*/ 9013755 w 9106070"/>
              <a:gd name="connsiteY1" fmla="*/ 97630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2 h 1435895"/>
              <a:gd name="connsiteX1" fmla="*/ 9096602 w 9106070"/>
              <a:gd name="connsiteY1" fmla="*/ 0 h 1435895"/>
              <a:gd name="connsiteX2" fmla="*/ 9106070 w 9106070"/>
              <a:gd name="connsiteY2" fmla="*/ 242889 h 1435895"/>
              <a:gd name="connsiteX3" fmla="*/ 6260689 w 9106070"/>
              <a:gd name="connsiteY3" fmla="*/ 1435895 h 1435895"/>
              <a:gd name="connsiteX4" fmla="*/ 2310 w 9106070"/>
              <a:gd name="connsiteY4" fmla="*/ 361951 h 1435895"/>
              <a:gd name="connsiteX5" fmla="*/ 0 w 9106070"/>
              <a:gd name="connsiteY5" fmla="*/ 2 h 1435895"/>
              <a:gd name="connsiteX0" fmla="*/ 0 w 9106070"/>
              <a:gd name="connsiteY0" fmla="*/ 0 h 1435893"/>
              <a:gd name="connsiteX1" fmla="*/ 8973515 w 9106070"/>
              <a:gd name="connsiteY1" fmla="*/ 123823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7145 h 1443038"/>
              <a:gd name="connsiteX1" fmla="*/ 9089499 w 9106070"/>
              <a:gd name="connsiteY1" fmla="*/ 0 h 1443038"/>
              <a:gd name="connsiteX2" fmla="*/ 9106070 w 9106070"/>
              <a:gd name="connsiteY2" fmla="*/ 250032 h 1443038"/>
              <a:gd name="connsiteX3" fmla="*/ 6260689 w 9106070"/>
              <a:gd name="connsiteY3" fmla="*/ 1443038 h 1443038"/>
              <a:gd name="connsiteX4" fmla="*/ 2310 w 9106070"/>
              <a:gd name="connsiteY4" fmla="*/ 369094 h 1443038"/>
              <a:gd name="connsiteX5" fmla="*/ 0 w 9106070"/>
              <a:gd name="connsiteY5" fmla="*/ 7145 h 1443038"/>
              <a:gd name="connsiteX0" fmla="*/ 0 w 9089499"/>
              <a:gd name="connsiteY0" fmla="*/ 7145 h 1443038"/>
              <a:gd name="connsiteX1" fmla="*/ 9089499 w 9089499"/>
              <a:gd name="connsiteY1" fmla="*/ 0 h 1443038"/>
              <a:gd name="connsiteX2" fmla="*/ 8923808 w 9089499"/>
              <a:gd name="connsiteY2" fmla="*/ 197644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4767 w 9089499"/>
              <a:gd name="connsiteY2" fmla="*/ 247650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8982984 w 9089499"/>
              <a:gd name="connsiteY2" fmla="*/ 202406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130131 w 9089499"/>
              <a:gd name="connsiteY4" fmla="*/ 266700 h 1443038"/>
              <a:gd name="connsiteX5" fmla="*/ 0 w 9089499"/>
              <a:gd name="connsiteY5" fmla="*/ 7145 h 1443038"/>
              <a:gd name="connsiteX0" fmla="*/ 57 w 9089556"/>
              <a:gd name="connsiteY0" fmla="*/ 7145 h 1443038"/>
              <a:gd name="connsiteX1" fmla="*/ 9089556 w 9089556"/>
              <a:gd name="connsiteY1" fmla="*/ 0 h 1443038"/>
              <a:gd name="connsiteX2" fmla="*/ 9087191 w 9089556"/>
              <a:gd name="connsiteY2" fmla="*/ 254793 h 1443038"/>
              <a:gd name="connsiteX3" fmla="*/ 6260746 w 9089556"/>
              <a:gd name="connsiteY3" fmla="*/ 1443038 h 1443038"/>
              <a:gd name="connsiteX4" fmla="*/ 0 w 9089556"/>
              <a:gd name="connsiteY4" fmla="*/ 366713 h 1443038"/>
              <a:gd name="connsiteX5" fmla="*/ 57 w 9089556"/>
              <a:gd name="connsiteY5" fmla="*/ 7145 h 144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9556" h="1443038">
                <a:moveTo>
                  <a:pt x="57" y="7145"/>
                </a:moveTo>
                <a:lnTo>
                  <a:pt x="9089556" y="0"/>
                </a:lnTo>
                <a:cubicBezTo>
                  <a:pt x="9087979" y="82550"/>
                  <a:pt x="9088768" y="172243"/>
                  <a:pt x="9087191" y="254793"/>
                </a:cubicBezTo>
                <a:lnTo>
                  <a:pt x="6260746" y="1443038"/>
                </a:lnTo>
                <a:lnTo>
                  <a:pt x="0" y="366713"/>
                </a:lnTo>
                <a:lnTo>
                  <a:pt x="57" y="7145"/>
                </a:lnTo>
                <a:close/>
              </a:path>
            </a:pathLst>
          </a:custGeom>
          <a:gradFill>
            <a:gsLst>
              <a:gs pos="41000">
                <a:schemeClr val="accent1">
                  <a:alpha val="0"/>
                </a:schemeClr>
              </a:gs>
              <a:gs pos="57000">
                <a:schemeClr val="accent1">
                  <a:lumMod val="40000"/>
                  <a:lumOff val="60000"/>
                </a:schemeClr>
              </a:gs>
              <a:gs pos="100000">
                <a:schemeClr val="accent1">
                  <a:alpha val="0"/>
                </a:schemeClr>
              </a:gs>
            </a:gsLst>
            <a:lin ang="6000000" scaled="0"/>
          </a:gra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lnSpc>
                <a:spcPct val="100000"/>
              </a:lnSpc>
            </a:pPr>
            <a:endParaRPr lang="en-US" sz="1800" b="1" kern="1200" dirty="0">
              <a:solidFill>
                <a:schemeClr val="lt1"/>
              </a:solidFill>
              <a:latin typeface="+mn-lt"/>
              <a:ea typeface="+mn-ea"/>
              <a:cs typeface="+mn-cs"/>
            </a:endParaRPr>
          </a:p>
        </p:txBody>
      </p:sp>
      <p:sp>
        <p:nvSpPr>
          <p:cNvPr id="9" name="Freeform 8"/>
          <p:cNvSpPr/>
          <p:nvPr/>
        </p:nvSpPr>
        <p:spPr>
          <a:xfrm>
            <a:off x="2" y="5545935"/>
            <a:ext cx="12195177" cy="1314449"/>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33337 h 1214437"/>
              <a:gd name="connsiteX1" fmla="*/ 6305550 w 9134475"/>
              <a:gd name="connsiteY1" fmla="*/ 1100137 h 1214437"/>
              <a:gd name="connsiteX2" fmla="*/ 9044270 w 9134475"/>
              <a:gd name="connsiteY2" fmla="*/ 0 h 1214437"/>
              <a:gd name="connsiteX3" fmla="*/ 9134475 w 9134475"/>
              <a:gd name="connsiteY3" fmla="*/ 1214437 h 1214437"/>
              <a:gd name="connsiteX4" fmla="*/ 0 w 9134475"/>
              <a:gd name="connsiteY4" fmla="*/ 1214437 h 1214437"/>
              <a:gd name="connsiteX5" fmla="*/ 0 w 9134475"/>
              <a:gd name="connsiteY5" fmla="*/ 33337 h 1214437"/>
              <a:gd name="connsiteX0" fmla="*/ 0 w 9134475"/>
              <a:gd name="connsiteY0" fmla="*/ 130968 h 1312068"/>
              <a:gd name="connsiteX1" fmla="*/ 6305550 w 9134475"/>
              <a:gd name="connsiteY1" fmla="*/ 1197768 h 1312068"/>
              <a:gd name="connsiteX2" fmla="*/ 9113111 w 9134475"/>
              <a:gd name="connsiteY2" fmla="*/ 0 h 1312068"/>
              <a:gd name="connsiteX3" fmla="*/ 9134475 w 9134475"/>
              <a:gd name="connsiteY3" fmla="*/ 1312068 h 1312068"/>
              <a:gd name="connsiteX4" fmla="*/ 0 w 9134475"/>
              <a:gd name="connsiteY4" fmla="*/ 1312068 h 1312068"/>
              <a:gd name="connsiteX5" fmla="*/ 0 w 9134475"/>
              <a:gd name="connsiteY5" fmla="*/ 130968 h 1312068"/>
              <a:gd name="connsiteX0" fmla="*/ 0 w 9113111"/>
              <a:gd name="connsiteY0" fmla="*/ 130968 h 1312068"/>
              <a:gd name="connsiteX1" fmla="*/ 6305550 w 9113111"/>
              <a:gd name="connsiteY1" fmla="*/ 1197768 h 1312068"/>
              <a:gd name="connsiteX2" fmla="*/ 9113111 w 9113111"/>
              <a:gd name="connsiteY2" fmla="*/ 0 h 1312068"/>
              <a:gd name="connsiteX3" fmla="*/ 8958813 w 9113111"/>
              <a:gd name="connsiteY3" fmla="*/ 1009649 h 1312068"/>
              <a:gd name="connsiteX4" fmla="*/ 0 w 9113111"/>
              <a:gd name="connsiteY4" fmla="*/ 1312068 h 1312068"/>
              <a:gd name="connsiteX5" fmla="*/ 0 w 9113111"/>
              <a:gd name="connsiteY5" fmla="*/ 130968 h 1312068"/>
              <a:gd name="connsiteX0" fmla="*/ 0 w 9117860"/>
              <a:gd name="connsiteY0" fmla="*/ 130968 h 1314449"/>
              <a:gd name="connsiteX1" fmla="*/ 6305550 w 9117860"/>
              <a:gd name="connsiteY1" fmla="*/ 1197768 h 1314449"/>
              <a:gd name="connsiteX2" fmla="*/ 9113111 w 9117860"/>
              <a:gd name="connsiteY2" fmla="*/ 0 h 1314449"/>
              <a:gd name="connsiteX3" fmla="*/ 9117860 w 9117860"/>
              <a:gd name="connsiteY3" fmla="*/ 1314449 h 1314449"/>
              <a:gd name="connsiteX4" fmla="*/ 0 w 9117860"/>
              <a:gd name="connsiteY4" fmla="*/ 1312068 h 1314449"/>
              <a:gd name="connsiteX5" fmla="*/ 0 w 9117860"/>
              <a:gd name="connsiteY5" fmla="*/ 130968 h 131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17860" h="1314449">
                <a:moveTo>
                  <a:pt x="0" y="130968"/>
                </a:moveTo>
                <a:lnTo>
                  <a:pt x="6305550" y="1197768"/>
                </a:lnTo>
                <a:lnTo>
                  <a:pt x="9113111" y="0"/>
                </a:lnTo>
                <a:lnTo>
                  <a:pt x="9117860" y="1314449"/>
                </a:lnTo>
                <a:lnTo>
                  <a:pt x="0" y="1312068"/>
                </a:lnTo>
                <a:lnTo>
                  <a:pt x="0" y="130968"/>
                </a:lnTo>
                <a:close/>
              </a:path>
            </a:pathLst>
          </a:custGeom>
          <a:gradFill>
            <a:gsLst>
              <a:gs pos="0">
                <a:schemeClr val="accent3">
                  <a:lumMod val="40000"/>
                  <a:lumOff val="60000"/>
                </a:schemeClr>
              </a:gs>
              <a:gs pos="50000">
                <a:schemeClr val="accent3"/>
              </a:gs>
              <a:gs pos="100000">
                <a:schemeClr val="accent3">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800" b="1" dirty="0"/>
          </a:p>
        </p:txBody>
      </p:sp>
      <p:sp>
        <p:nvSpPr>
          <p:cNvPr id="2" name="Title 1"/>
          <p:cNvSpPr>
            <a:spLocks noGrp="1"/>
          </p:cNvSpPr>
          <p:nvPr>
            <p:ph type="ctrTitle"/>
          </p:nvPr>
        </p:nvSpPr>
        <p:spPr>
          <a:xfrm>
            <a:off x="6096000" y="1676400"/>
            <a:ext cx="5181600" cy="1524000"/>
          </a:xfrm>
        </p:spPr>
        <p:txBody>
          <a:bodyPr anchor="b" anchorCtr="0"/>
          <a:lstStyle>
            <a:lvl1pPr algn="l">
              <a:defRPr/>
            </a:lvl1pPr>
          </a:lstStyle>
          <a:p>
            <a:r>
              <a:rPr lang="en-US" smtClean="0"/>
              <a:t>Click to edit Master title style</a:t>
            </a:r>
            <a:endParaRPr lang="en-US" dirty="0"/>
          </a:p>
        </p:txBody>
      </p:sp>
      <p:sp>
        <p:nvSpPr>
          <p:cNvPr id="3" name="Subtitle 2"/>
          <p:cNvSpPr>
            <a:spLocks noGrp="1"/>
          </p:cNvSpPr>
          <p:nvPr>
            <p:ph type="subTitle" idx="1"/>
          </p:nvPr>
        </p:nvSpPr>
        <p:spPr>
          <a:xfrm>
            <a:off x="6096000" y="3203574"/>
            <a:ext cx="5181600" cy="1825625"/>
          </a:xfrm>
        </p:spPr>
        <p:txBody>
          <a:bodyPr>
            <a:normAutofit/>
          </a:bodyPr>
          <a:lstStyle>
            <a:lvl1pPr marL="0" indent="0" algn="l">
              <a:buNone/>
              <a:defRPr sz="200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Rectangle 9"/>
          <p:cNvSpPr/>
          <p:nvPr/>
        </p:nvSpPr>
        <p:spPr>
          <a:xfrm>
            <a:off x="0" y="5262468"/>
            <a:ext cx="12192000" cy="746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Freeform 10"/>
          <p:cNvSpPr/>
          <p:nvPr/>
        </p:nvSpPr>
        <p:spPr>
          <a:xfrm>
            <a:off x="173" y="5502670"/>
            <a:ext cx="12192088" cy="1271150"/>
          </a:xfrm>
          <a:custGeom>
            <a:avLst/>
            <a:gdLst>
              <a:gd name="connsiteX0" fmla="*/ 9331 w 9144000"/>
              <a:gd name="connsiteY0" fmla="*/ 111968 h 1278294"/>
              <a:gd name="connsiteX1" fmla="*/ 6288833 w 9144000"/>
              <a:gd name="connsiteY1" fmla="*/ 1194319 h 1278294"/>
              <a:gd name="connsiteX2" fmla="*/ 9144000 w 9144000"/>
              <a:gd name="connsiteY2" fmla="*/ 0 h 1278294"/>
              <a:gd name="connsiteX3" fmla="*/ 9144000 w 9144000"/>
              <a:gd name="connsiteY3" fmla="*/ 83976 h 1278294"/>
              <a:gd name="connsiteX4" fmla="*/ 6279502 w 9144000"/>
              <a:gd name="connsiteY4" fmla="*/ 1278294 h 1278294"/>
              <a:gd name="connsiteX5" fmla="*/ 0 w 9144000"/>
              <a:gd name="connsiteY5" fmla="*/ 195943 h 1278294"/>
              <a:gd name="connsiteX6" fmla="*/ 9331 w 9144000"/>
              <a:gd name="connsiteY6" fmla="*/ 111968 h 1278294"/>
              <a:gd name="connsiteX0" fmla="*/ 0 w 9134669"/>
              <a:gd name="connsiteY0" fmla="*/ 111968 h 1278294"/>
              <a:gd name="connsiteX1" fmla="*/ 6279502 w 9134669"/>
              <a:gd name="connsiteY1" fmla="*/ 1194319 h 1278294"/>
              <a:gd name="connsiteX2" fmla="*/ 9134669 w 9134669"/>
              <a:gd name="connsiteY2" fmla="*/ 0 h 1278294"/>
              <a:gd name="connsiteX3" fmla="*/ 9134669 w 9134669"/>
              <a:gd name="connsiteY3" fmla="*/ 83976 h 1278294"/>
              <a:gd name="connsiteX4" fmla="*/ 6270171 w 9134669"/>
              <a:gd name="connsiteY4" fmla="*/ 1278294 h 1278294"/>
              <a:gd name="connsiteX5" fmla="*/ 171644 w 9134669"/>
              <a:gd name="connsiteY5" fmla="*/ 388824 h 1278294"/>
              <a:gd name="connsiteX6" fmla="*/ 0 w 9134669"/>
              <a:gd name="connsiteY6" fmla="*/ 111968 h 1278294"/>
              <a:gd name="connsiteX0" fmla="*/ 0 w 9134669"/>
              <a:gd name="connsiteY0" fmla="*/ 111968 h 1278294"/>
              <a:gd name="connsiteX1" fmla="*/ 6279502 w 9134669"/>
              <a:gd name="connsiteY1" fmla="*/ 1194319 h 1278294"/>
              <a:gd name="connsiteX2" fmla="*/ 9134669 w 9134669"/>
              <a:gd name="connsiteY2" fmla="*/ 0 h 1278294"/>
              <a:gd name="connsiteX3" fmla="*/ 9134669 w 9134669"/>
              <a:gd name="connsiteY3" fmla="*/ 83976 h 1278294"/>
              <a:gd name="connsiteX4" fmla="*/ 6270171 w 9134669"/>
              <a:gd name="connsiteY4" fmla="*/ 1278294 h 1278294"/>
              <a:gd name="connsiteX5" fmla="*/ 194 w 9134669"/>
              <a:gd name="connsiteY5" fmla="*/ 195943 h 1278294"/>
              <a:gd name="connsiteX6" fmla="*/ 0 w 9134669"/>
              <a:gd name="connsiteY6" fmla="*/ 111968 h 1278294"/>
              <a:gd name="connsiteX0" fmla="*/ 49877 w 9134540"/>
              <a:gd name="connsiteY0" fmla="*/ 42912 h 1278294"/>
              <a:gd name="connsiteX1" fmla="*/ 6279373 w 9134540"/>
              <a:gd name="connsiteY1" fmla="*/ 1194319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49877 w 9134540"/>
              <a:gd name="connsiteY6" fmla="*/ 42912 h 1278294"/>
              <a:gd name="connsiteX0" fmla="*/ 2252 w 9134540"/>
              <a:gd name="connsiteY0" fmla="*/ 116731 h 1278294"/>
              <a:gd name="connsiteX1" fmla="*/ 6279373 w 9134540"/>
              <a:gd name="connsiteY1" fmla="*/ 1194319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78294"/>
              <a:gd name="connsiteX1" fmla="*/ 6279373 w 9134540"/>
              <a:gd name="connsiteY1" fmla="*/ 1234801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78294"/>
              <a:gd name="connsiteX1" fmla="*/ 6307948 w 9134540"/>
              <a:gd name="connsiteY1" fmla="*/ 1189558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28287"/>
              <a:gd name="connsiteX1" fmla="*/ 6307948 w 9134540"/>
              <a:gd name="connsiteY1" fmla="*/ 1189558 h 1228287"/>
              <a:gd name="connsiteX2" fmla="*/ 9134540 w 9134540"/>
              <a:gd name="connsiteY2" fmla="*/ 0 h 1228287"/>
              <a:gd name="connsiteX3" fmla="*/ 9134540 w 9134540"/>
              <a:gd name="connsiteY3" fmla="*/ 83976 h 1228287"/>
              <a:gd name="connsiteX4" fmla="*/ 6270042 w 9134540"/>
              <a:gd name="connsiteY4" fmla="*/ 1228287 h 1228287"/>
              <a:gd name="connsiteX5" fmla="*/ 65 w 9134540"/>
              <a:gd name="connsiteY5" fmla="*/ 195943 h 1228287"/>
              <a:gd name="connsiteX6" fmla="*/ 2252 w 9134540"/>
              <a:gd name="connsiteY6" fmla="*/ 116731 h 1228287"/>
              <a:gd name="connsiteX0" fmla="*/ 2252 w 9134540"/>
              <a:gd name="connsiteY0" fmla="*/ 116731 h 1266387"/>
              <a:gd name="connsiteX1" fmla="*/ 6307948 w 9134540"/>
              <a:gd name="connsiteY1" fmla="*/ 1189558 h 1266387"/>
              <a:gd name="connsiteX2" fmla="*/ 9134540 w 9134540"/>
              <a:gd name="connsiteY2" fmla="*/ 0 h 1266387"/>
              <a:gd name="connsiteX3" fmla="*/ 9134540 w 9134540"/>
              <a:gd name="connsiteY3" fmla="*/ 83976 h 1266387"/>
              <a:gd name="connsiteX4" fmla="*/ 6315286 w 9134540"/>
              <a:gd name="connsiteY4" fmla="*/ 1266387 h 1266387"/>
              <a:gd name="connsiteX5" fmla="*/ 65 w 9134540"/>
              <a:gd name="connsiteY5" fmla="*/ 195943 h 1266387"/>
              <a:gd name="connsiteX6" fmla="*/ 2252 w 9134540"/>
              <a:gd name="connsiteY6" fmla="*/ 116731 h 1266387"/>
              <a:gd name="connsiteX0" fmla="*/ 2252 w 9134540"/>
              <a:gd name="connsiteY0" fmla="*/ 152450 h 1302106"/>
              <a:gd name="connsiteX1" fmla="*/ 6307948 w 9134540"/>
              <a:gd name="connsiteY1" fmla="*/ 1225277 h 1302106"/>
              <a:gd name="connsiteX2" fmla="*/ 8932134 w 9134540"/>
              <a:gd name="connsiteY2" fmla="*/ 0 h 1302106"/>
              <a:gd name="connsiteX3" fmla="*/ 9134540 w 9134540"/>
              <a:gd name="connsiteY3" fmla="*/ 119695 h 1302106"/>
              <a:gd name="connsiteX4" fmla="*/ 6315286 w 9134540"/>
              <a:gd name="connsiteY4" fmla="*/ 1302106 h 1302106"/>
              <a:gd name="connsiteX5" fmla="*/ 65 w 9134540"/>
              <a:gd name="connsiteY5" fmla="*/ 231662 h 1302106"/>
              <a:gd name="connsiteX6" fmla="*/ 2252 w 9134540"/>
              <a:gd name="connsiteY6" fmla="*/ 152450 h 1302106"/>
              <a:gd name="connsiteX0" fmla="*/ 2252 w 9144066"/>
              <a:gd name="connsiteY0" fmla="*/ 121494 h 1271150"/>
              <a:gd name="connsiteX1" fmla="*/ 6307948 w 9144066"/>
              <a:gd name="connsiteY1" fmla="*/ 1194321 h 1271150"/>
              <a:gd name="connsiteX2" fmla="*/ 9144066 w 9144066"/>
              <a:gd name="connsiteY2" fmla="*/ 0 h 1271150"/>
              <a:gd name="connsiteX3" fmla="*/ 9134540 w 9144066"/>
              <a:gd name="connsiteY3" fmla="*/ 88739 h 1271150"/>
              <a:gd name="connsiteX4" fmla="*/ 6315286 w 9144066"/>
              <a:gd name="connsiteY4" fmla="*/ 1271150 h 1271150"/>
              <a:gd name="connsiteX5" fmla="*/ 65 w 9144066"/>
              <a:gd name="connsiteY5" fmla="*/ 200706 h 1271150"/>
              <a:gd name="connsiteX6" fmla="*/ 2252 w 9144066"/>
              <a:gd name="connsiteY6" fmla="*/ 121494 h 1271150"/>
              <a:gd name="connsiteX0" fmla="*/ 2252 w 9144066"/>
              <a:gd name="connsiteY0" fmla="*/ 121494 h 1271150"/>
              <a:gd name="connsiteX1" fmla="*/ 6307948 w 9144066"/>
              <a:gd name="connsiteY1" fmla="*/ 1194321 h 1271150"/>
              <a:gd name="connsiteX2" fmla="*/ 9144066 w 9144066"/>
              <a:gd name="connsiteY2" fmla="*/ 0 h 1271150"/>
              <a:gd name="connsiteX3" fmla="*/ 9051196 w 9144066"/>
              <a:gd name="connsiteY3" fmla="*/ 236376 h 1271150"/>
              <a:gd name="connsiteX4" fmla="*/ 6315286 w 9144066"/>
              <a:gd name="connsiteY4" fmla="*/ 1271150 h 1271150"/>
              <a:gd name="connsiteX5" fmla="*/ 65 w 9144066"/>
              <a:gd name="connsiteY5" fmla="*/ 200706 h 1271150"/>
              <a:gd name="connsiteX6" fmla="*/ 2252 w 9144066"/>
              <a:gd name="connsiteY6" fmla="*/ 121494 h 1271150"/>
              <a:gd name="connsiteX0" fmla="*/ 2252 w 9144066"/>
              <a:gd name="connsiteY0" fmla="*/ 121494 h 1271150"/>
              <a:gd name="connsiteX1" fmla="*/ 6307948 w 9144066"/>
              <a:gd name="connsiteY1" fmla="*/ 1194321 h 1271150"/>
              <a:gd name="connsiteX2" fmla="*/ 9144066 w 9144066"/>
              <a:gd name="connsiteY2" fmla="*/ 0 h 1271150"/>
              <a:gd name="connsiteX3" fmla="*/ 9141683 w 9144066"/>
              <a:gd name="connsiteY3" fmla="*/ 79214 h 1271150"/>
              <a:gd name="connsiteX4" fmla="*/ 6315286 w 9144066"/>
              <a:gd name="connsiteY4" fmla="*/ 1271150 h 1271150"/>
              <a:gd name="connsiteX5" fmla="*/ 65 w 9144066"/>
              <a:gd name="connsiteY5" fmla="*/ 200706 h 1271150"/>
              <a:gd name="connsiteX6" fmla="*/ 2252 w 9144066"/>
              <a:gd name="connsiteY6" fmla="*/ 121494 h 127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66" h="1271150">
                <a:moveTo>
                  <a:pt x="2252" y="121494"/>
                </a:moveTo>
                <a:lnTo>
                  <a:pt x="6307948" y="1194321"/>
                </a:lnTo>
                <a:lnTo>
                  <a:pt x="9144066" y="0"/>
                </a:lnTo>
                <a:cubicBezTo>
                  <a:pt x="9143272" y="26405"/>
                  <a:pt x="9142477" y="52809"/>
                  <a:pt x="9141683" y="79214"/>
                </a:cubicBezTo>
                <a:lnTo>
                  <a:pt x="6315286" y="1271150"/>
                </a:lnTo>
                <a:lnTo>
                  <a:pt x="65" y="200706"/>
                </a:lnTo>
                <a:cubicBezTo>
                  <a:pt x="0" y="172714"/>
                  <a:pt x="2317" y="149486"/>
                  <a:pt x="2252" y="121494"/>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Date Placeholder 3"/>
          <p:cNvSpPr>
            <a:spLocks noGrp="1"/>
          </p:cNvSpPr>
          <p:nvPr>
            <p:ph type="dt" sz="half" idx="10"/>
          </p:nvPr>
        </p:nvSpPr>
        <p:spPr/>
        <p:txBody>
          <a:bodyPr/>
          <a:lstStyle/>
          <a:p>
            <a:fld id="{BE56D12E-2748-4267-B446-3B251FB1D5B4}" type="datetime1">
              <a:rPr lang="en-US" smtClean="0"/>
              <a:t>10/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normAutofit/>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1"/>
              </a:gs>
              <a:gs pos="52000">
                <a:schemeClr val="accent1">
                  <a:lumMod val="40000"/>
                  <a:lumOff val="60000"/>
                </a:schemeClr>
              </a:gs>
              <a:gs pos="66000">
                <a:schemeClr val="accent1"/>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Freeform 7"/>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3"/>
              </a:gs>
              <a:gs pos="40000">
                <a:schemeClr val="accent3">
                  <a:lumMod val="40000"/>
                  <a:lumOff val="60000"/>
                </a:schemeClr>
              </a:gs>
              <a:gs pos="48000">
                <a:schemeClr val="accent3"/>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Freeform 9"/>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F724BB6-03DC-4197-8212-CE412EE43C13}" type="datetime1">
              <a:rPr lang="en-US" smtClean="0"/>
              <a:t>10/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5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8858A-98C2-CF43-9793-6C1DDA72EC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19D351D2-BF5D-E748-B038-FA39B436980E}"/>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3796205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6_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CC5DD53-6762-0344-A27C-11C21E7A59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0325362F-CFCB-7F4A-91E1-D08F09E7E533}"/>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41737448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7_Copy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1D918F-1987-794A-A0FB-C2F4ACF8B5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28788" cy="3241478"/>
          </a:xfrm>
          <a:prstGeom prst="rect">
            <a:avLst/>
          </a:prstGeom>
        </p:spPr>
      </p:pic>
      <p:sp>
        <p:nvSpPr>
          <p:cNvPr id="5" name="Rectangle 4">
            <a:extLst>
              <a:ext uri="{FF2B5EF4-FFF2-40B4-BE49-F238E27FC236}">
                <a16:creationId xmlns:a16="http://schemas.microsoft.com/office/drawing/2014/main" id="{406AF0BF-96B6-9345-9EE4-663E8A08295C}"/>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6E8FF114-C77A-5141-9305-03B3196A99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59103" y="2914649"/>
            <a:ext cx="2332896" cy="3965923"/>
          </a:xfrm>
          <a:prstGeom prst="rect">
            <a:avLst/>
          </a:prstGeom>
        </p:spPr>
      </p:pic>
      <p:pic>
        <p:nvPicPr>
          <p:cNvPr id="8" name="Picture 7">
            <a:extLst>
              <a:ext uri="{FF2B5EF4-FFF2-40B4-BE49-F238E27FC236}">
                <a16:creationId xmlns:a16="http://schemas.microsoft.com/office/drawing/2014/main" id="{560BC66C-6DFD-444B-B3EE-986FA761A5FA}"/>
              </a:ext>
            </a:extLst>
          </p:cNvPr>
          <p:cNvPicPr>
            <a:picLocks noChangeAspect="1"/>
          </p:cNvPicPr>
          <p:nvPr userDrawn="1"/>
        </p:nvPicPr>
        <p:blipFill>
          <a:blip r:embed="rId4"/>
          <a:stretch>
            <a:fillRect/>
          </a:stretch>
        </p:blipFill>
        <p:spPr>
          <a:xfrm>
            <a:off x="1937860" y="2708903"/>
            <a:ext cx="8316279" cy="1030226"/>
          </a:xfrm>
          <a:prstGeom prst="rect">
            <a:avLst/>
          </a:prstGeom>
        </p:spPr>
      </p:pic>
      <p:sp>
        <p:nvSpPr>
          <p:cNvPr id="9" name="TextBox 8">
            <a:extLst>
              <a:ext uri="{FF2B5EF4-FFF2-40B4-BE49-F238E27FC236}">
                <a16:creationId xmlns:a16="http://schemas.microsoft.com/office/drawing/2014/main" id="{8AE32C28-F3C6-8A42-B5D0-08B2E2300289}"/>
              </a:ext>
            </a:extLst>
          </p:cNvPr>
          <p:cNvSpPr txBox="1"/>
          <p:nvPr userDrawn="1"/>
        </p:nvSpPr>
        <p:spPr>
          <a:xfrm>
            <a:off x="2797629" y="5848771"/>
            <a:ext cx="6596743" cy="261610"/>
          </a:xfrm>
          <a:prstGeom prst="rect">
            <a:avLst/>
          </a:prstGeom>
          <a:noFill/>
        </p:spPr>
        <p:txBody>
          <a:bodyPr wrap="square" rtlCol="0">
            <a:spAutoFit/>
          </a:bodyPr>
          <a:lstStyle/>
          <a:p>
            <a:pPr algn="ctr">
              <a:defRPr/>
            </a:pPr>
            <a:r>
              <a:rPr lang="en-US" sz="1100" b="0" i="0" dirty="0">
                <a:solidFill>
                  <a:schemeClr val="bg2">
                    <a:lumMod val="50000"/>
                  </a:schemeClr>
                </a:solidFill>
                <a:latin typeface="Verdana Regular"/>
              </a:rPr>
              <a:t>© 2020 McChrystal Group, LLC. All rights reserved.</a:t>
            </a:r>
          </a:p>
        </p:txBody>
      </p:sp>
    </p:spTree>
    <p:extLst>
      <p:ext uri="{BB962C8B-B14F-4D97-AF65-F5344CB8AC3E}">
        <p14:creationId xmlns:p14="http://schemas.microsoft.com/office/powerpoint/2010/main" val="95972157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28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2"/>
            <a:ext cx="8238370"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20 McChrystal Group, LLC. All rights reserved.</a:t>
            </a:r>
          </a:p>
        </p:txBody>
      </p:sp>
    </p:spTree>
    <p:extLst>
      <p:ext uri="{BB962C8B-B14F-4D97-AF65-F5344CB8AC3E}">
        <p14:creationId xmlns:p14="http://schemas.microsoft.com/office/powerpoint/2010/main" val="84895726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9_Copyright">
    <p:bg>
      <p:bgPr>
        <a:solidFill>
          <a:srgbClr val="345C8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EFCF42-5A72-8D48-AAF9-7C079B60EEFA}"/>
              </a:ext>
            </a:extLst>
          </p:cNvPr>
          <p:cNvPicPr>
            <a:picLocks noChangeAspect="1"/>
          </p:cNvPicPr>
          <p:nvPr/>
        </p:nvPicPr>
        <p:blipFill>
          <a:blip r:embed="rId2"/>
          <a:stretch>
            <a:fillRect/>
          </a:stretch>
        </p:blipFill>
        <p:spPr>
          <a:xfrm>
            <a:off x="0" y="12700"/>
            <a:ext cx="12192000" cy="6858000"/>
          </a:xfrm>
          <a:prstGeom prst="rect">
            <a:avLst/>
          </a:prstGeom>
        </p:spPr>
      </p:pic>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3"/>
          <a:stretch>
            <a:fillRect/>
          </a:stretch>
        </p:blipFill>
        <p:spPr>
          <a:xfrm>
            <a:off x="1978149" y="2830262"/>
            <a:ext cx="8238370" cy="1197864"/>
          </a:xfrm>
          <a:prstGeom prst="rect">
            <a:avLst/>
          </a:prstGeom>
        </p:spPr>
      </p:pic>
      <p:sp>
        <p:nvSpPr>
          <p:cNvPr id="6" name="TextBox 5">
            <a:extLst>
              <a:ext uri="{FF2B5EF4-FFF2-40B4-BE49-F238E27FC236}">
                <a16:creationId xmlns:a16="http://schemas.microsoft.com/office/drawing/2014/main" id="{B9AFC3F0-E454-194C-B96D-19DFB54419E4}"/>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20 McChrystal Group, LLC. All rights reserved.</a:t>
            </a:r>
          </a:p>
        </p:txBody>
      </p:sp>
    </p:spTree>
    <p:extLst>
      <p:ext uri="{BB962C8B-B14F-4D97-AF65-F5344CB8AC3E}">
        <p14:creationId xmlns:p14="http://schemas.microsoft.com/office/powerpoint/2010/main" val="206346793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31_Contact">
    <p:bg>
      <p:bgPr>
        <a:solidFill>
          <a:srgbClr val="345C87"/>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5DE4D6-6C09-5841-8B2C-36313AE534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4826464"/>
          </a:xfrm>
          <a:prstGeom prst="rect">
            <a:avLst/>
          </a:prstGeom>
        </p:spPr>
      </p:pic>
      <p:pic>
        <p:nvPicPr>
          <p:cNvPr id="7" name="Picture 6">
            <a:extLst>
              <a:ext uri="{FF2B5EF4-FFF2-40B4-BE49-F238E27FC236}">
                <a16:creationId xmlns:a16="http://schemas.microsoft.com/office/drawing/2014/main" id="{1318F09F-16CC-7C46-827A-D1568533C66A}"/>
              </a:ext>
            </a:extLst>
          </p:cNvPr>
          <p:cNvPicPr>
            <a:picLocks noChangeAspect="1"/>
          </p:cNvPicPr>
          <p:nvPr userDrawn="1"/>
        </p:nvPicPr>
        <p:blipFill>
          <a:blip r:embed="rId3"/>
          <a:stretch>
            <a:fillRect/>
          </a:stretch>
        </p:blipFill>
        <p:spPr>
          <a:xfrm>
            <a:off x="0" y="3091003"/>
            <a:ext cx="12192000" cy="76553"/>
          </a:xfrm>
          <a:prstGeom prst="rect">
            <a:avLst/>
          </a:prstGeom>
        </p:spPr>
      </p:pic>
      <p:pic>
        <p:nvPicPr>
          <p:cNvPr id="8" name="Picture 7">
            <a:extLst>
              <a:ext uri="{FF2B5EF4-FFF2-40B4-BE49-F238E27FC236}">
                <a16:creationId xmlns:a16="http://schemas.microsoft.com/office/drawing/2014/main" id="{35827918-924E-5E48-86E8-25C5129D88D2}"/>
              </a:ext>
            </a:extLst>
          </p:cNvPr>
          <p:cNvPicPr>
            <a:picLocks noChangeAspect="1"/>
          </p:cNvPicPr>
          <p:nvPr userDrawn="1"/>
        </p:nvPicPr>
        <p:blipFill>
          <a:blip r:embed="rId4"/>
          <a:stretch>
            <a:fillRect/>
          </a:stretch>
        </p:blipFill>
        <p:spPr>
          <a:xfrm>
            <a:off x="3639057" y="772266"/>
            <a:ext cx="4913886" cy="714482"/>
          </a:xfrm>
          <a:prstGeom prst="rect">
            <a:avLst/>
          </a:prstGeom>
        </p:spPr>
      </p:pic>
      <p:sp>
        <p:nvSpPr>
          <p:cNvPr id="9" name="Rectangle 8">
            <a:extLst>
              <a:ext uri="{FF2B5EF4-FFF2-40B4-BE49-F238E27FC236}">
                <a16:creationId xmlns:a16="http://schemas.microsoft.com/office/drawing/2014/main" id="{82187ABD-3D8D-5945-8300-A91C28655E0F}"/>
              </a:ext>
            </a:extLst>
          </p:cNvPr>
          <p:cNvSpPr/>
          <p:nvPr userDrawn="1"/>
        </p:nvSpPr>
        <p:spPr>
          <a:xfrm>
            <a:off x="0" y="3129280"/>
            <a:ext cx="12192000" cy="3728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6BF90293-B3F5-FB44-9409-80EA2D3DD375}"/>
              </a:ext>
            </a:extLst>
          </p:cNvPr>
          <p:cNvSpPr txBox="1"/>
          <p:nvPr userDrawn="1"/>
        </p:nvSpPr>
        <p:spPr>
          <a:xfrm>
            <a:off x="7342561" y="5323653"/>
            <a:ext cx="2991525" cy="369332"/>
          </a:xfrm>
          <a:prstGeom prst="rect">
            <a:avLst/>
          </a:prstGeom>
          <a:noFill/>
        </p:spPr>
        <p:txBody>
          <a:bodyPr wrap="none" rtlCol="0">
            <a:spAutoFit/>
          </a:bodyPr>
          <a:lstStyle/>
          <a:p>
            <a:pPr algn="l">
              <a:spcAft>
                <a:spcPts val="600"/>
              </a:spcAft>
            </a:pPr>
            <a:r>
              <a:rPr lang="en-US" sz="1800" b="1" dirty="0">
                <a:solidFill>
                  <a:schemeClr val="accent2"/>
                </a:solidFill>
              </a:rPr>
              <a:t>mcchrystalgroup.com</a:t>
            </a:r>
          </a:p>
        </p:txBody>
      </p:sp>
      <p:sp>
        <p:nvSpPr>
          <p:cNvPr id="11" name="TextBox 10">
            <a:extLst>
              <a:ext uri="{FF2B5EF4-FFF2-40B4-BE49-F238E27FC236}">
                <a16:creationId xmlns:a16="http://schemas.microsoft.com/office/drawing/2014/main" id="{D112F97D-D3C5-5E4F-AD2D-35C65C962E7F}"/>
              </a:ext>
            </a:extLst>
          </p:cNvPr>
          <p:cNvSpPr txBox="1"/>
          <p:nvPr userDrawn="1"/>
        </p:nvSpPr>
        <p:spPr>
          <a:xfrm>
            <a:off x="7342561" y="4194438"/>
            <a:ext cx="2699457" cy="646331"/>
          </a:xfrm>
          <a:prstGeom prst="rect">
            <a:avLst/>
          </a:prstGeom>
          <a:noFill/>
        </p:spPr>
        <p:txBody>
          <a:bodyPr wrap="none" rtlCol="0">
            <a:spAutoFit/>
          </a:bodyPr>
          <a:lstStyle/>
          <a:p>
            <a:pPr algn="l">
              <a:spcAft>
                <a:spcPts val="600"/>
              </a:spcAft>
            </a:pPr>
            <a:r>
              <a:rPr lang="en-US" sz="1800" dirty="0">
                <a:solidFill>
                  <a:schemeClr val="bg1"/>
                </a:solidFill>
              </a:rPr>
              <a:t>333 N. Fairfax Street</a:t>
            </a:r>
            <a:br>
              <a:rPr lang="en-US" sz="1800" dirty="0">
                <a:solidFill>
                  <a:schemeClr val="bg1"/>
                </a:solidFill>
              </a:rPr>
            </a:br>
            <a:r>
              <a:rPr lang="en-US" sz="1800" dirty="0">
                <a:solidFill>
                  <a:schemeClr val="bg1"/>
                </a:solidFill>
              </a:rPr>
              <a:t>Alexandria, VA 22314</a:t>
            </a:r>
          </a:p>
        </p:txBody>
      </p:sp>
      <p:pic>
        <p:nvPicPr>
          <p:cNvPr id="12" name="Picture 11">
            <a:extLst>
              <a:ext uri="{FF2B5EF4-FFF2-40B4-BE49-F238E27FC236}">
                <a16:creationId xmlns:a16="http://schemas.microsoft.com/office/drawing/2014/main" id="{9B2C9076-C800-A34C-B07D-8843C870DD5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8859" y="4164806"/>
            <a:ext cx="644039" cy="644039"/>
          </a:xfrm>
          <a:prstGeom prst="rect">
            <a:avLst/>
          </a:prstGeom>
        </p:spPr>
      </p:pic>
      <p:sp>
        <p:nvSpPr>
          <p:cNvPr id="13" name="TextBox 12">
            <a:extLst>
              <a:ext uri="{FF2B5EF4-FFF2-40B4-BE49-F238E27FC236}">
                <a16:creationId xmlns:a16="http://schemas.microsoft.com/office/drawing/2014/main" id="{D44BED9D-49CE-9A4B-8655-CDDC17EE747A}"/>
              </a:ext>
            </a:extLst>
          </p:cNvPr>
          <p:cNvSpPr txBox="1"/>
          <p:nvPr userDrawn="1"/>
        </p:nvSpPr>
        <p:spPr>
          <a:xfrm>
            <a:off x="1714041" y="4302159"/>
            <a:ext cx="3757119" cy="369332"/>
          </a:xfrm>
          <a:prstGeom prst="rect">
            <a:avLst/>
          </a:prstGeom>
          <a:noFill/>
        </p:spPr>
        <p:txBody>
          <a:bodyPr wrap="none" rtlCol="0">
            <a:spAutoFit/>
          </a:bodyPr>
          <a:lstStyle/>
          <a:p>
            <a:pPr algn="l">
              <a:spcAft>
                <a:spcPts val="600"/>
              </a:spcAft>
            </a:pPr>
            <a:r>
              <a:rPr lang="en-US" sz="1800" dirty="0">
                <a:solidFill>
                  <a:schemeClr val="bg1"/>
                </a:solidFill>
              </a:rPr>
              <a:t>contact@mcchrystalgroup.com</a:t>
            </a:r>
          </a:p>
        </p:txBody>
      </p:sp>
      <p:pic>
        <p:nvPicPr>
          <p:cNvPr id="14" name="Picture 13">
            <a:extLst>
              <a:ext uri="{FF2B5EF4-FFF2-40B4-BE49-F238E27FC236}">
                <a16:creationId xmlns:a16="http://schemas.microsoft.com/office/drawing/2014/main" id="{F595E860-9969-534C-8ECC-FA9DF84A31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859" y="5170911"/>
            <a:ext cx="644039" cy="644039"/>
          </a:xfrm>
          <a:prstGeom prst="rect">
            <a:avLst/>
          </a:prstGeom>
        </p:spPr>
      </p:pic>
      <p:sp>
        <p:nvSpPr>
          <p:cNvPr id="15" name="TextBox 14">
            <a:extLst>
              <a:ext uri="{FF2B5EF4-FFF2-40B4-BE49-F238E27FC236}">
                <a16:creationId xmlns:a16="http://schemas.microsoft.com/office/drawing/2014/main" id="{89423AFE-F467-2E46-82C3-ECDC5D06821A}"/>
              </a:ext>
            </a:extLst>
          </p:cNvPr>
          <p:cNvSpPr txBox="1"/>
          <p:nvPr userDrawn="1"/>
        </p:nvSpPr>
        <p:spPr>
          <a:xfrm>
            <a:off x="1714041" y="5308264"/>
            <a:ext cx="1826141" cy="369332"/>
          </a:xfrm>
          <a:prstGeom prst="rect">
            <a:avLst/>
          </a:prstGeom>
          <a:noFill/>
        </p:spPr>
        <p:txBody>
          <a:bodyPr wrap="none" rtlCol="0">
            <a:spAutoFit/>
          </a:bodyPr>
          <a:lstStyle/>
          <a:p>
            <a:pPr algn="l">
              <a:spcAft>
                <a:spcPts val="600"/>
              </a:spcAft>
            </a:pPr>
            <a:r>
              <a:rPr lang="en-US" sz="1800" dirty="0">
                <a:solidFill>
                  <a:schemeClr val="bg1"/>
                </a:solidFill>
              </a:rPr>
              <a:t>571.312.8637</a:t>
            </a:r>
          </a:p>
        </p:txBody>
      </p:sp>
      <p:pic>
        <p:nvPicPr>
          <p:cNvPr id="16" name="Picture 15">
            <a:extLst>
              <a:ext uri="{FF2B5EF4-FFF2-40B4-BE49-F238E27FC236}">
                <a16:creationId xmlns:a16="http://schemas.microsoft.com/office/drawing/2014/main" id="{0E6483B5-79EC-DD40-A0DA-29C7705831F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617060" y="4164805"/>
            <a:ext cx="644040" cy="644040"/>
          </a:xfrm>
          <a:prstGeom prst="rect">
            <a:avLst/>
          </a:prstGeom>
        </p:spPr>
      </p:pic>
      <p:pic>
        <p:nvPicPr>
          <p:cNvPr id="17" name="Picture 16">
            <a:extLst>
              <a:ext uri="{FF2B5EF4-FFF2-40B4-BE49-F238E27FC236}">
                <a16:creationId xmlns:a16="http://schemas.microsoft.com/office/drawing/2014/main" id="{6687FA5D-53EF-5841-9EB3-C56989293A3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7060" y="5172890"/>
            <a:ext cx="640080" cy="640080"/>
          </a:xfrm>
          <a:prstGeom prst="rect">
            <a:avLst/>
          </a:prstGeom>
        </p:spPr>
      </p:pic>
      <p:sp>
        <p:nvSpPr>
          <p:cNvPr id="18" name="TextBox 17">
            <a:extLst>
              <a:ext uri="{FF2B5EF4-FFF2-40B4-BE49-F238E27FC236}">
                <a16:creationId xmlns:a16="http://schemas.microsoft.com/office/drawing/2014/main" id="{E1DF74A3-473A-B14E-B8E4-E227732EF3A5}"/>
              </a:ext>
            </a:extLst>
          </p:cNvPr>
          <p:cNvSpPr txBox="1"/>
          <p:nvPr userDrawn="1"/>
        </p:nvSpPr>
        <p:spPr>
          <a:xfrm>
            <a:off x="4531309" y="1909937"/>
            <a:ext cx="3129382" cy="584775"/>
          </a:xfrm>
          <a:prstGeom prst="rect">
            <a:avLst/>
          </a:prstGeom>
          <a:noFill/>
        </p:spPr>
        <p:txBody>
          <a:bodyPr wrap="none" rtlCol="0">
            <a:spAutoFit/>
          </a:bodyPr>
          <a:lstStyle/>
          <a:p>
            <a:pPr algn="ctr"/>
            <a: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orging Leaders And Teams </a:t>
            </a:r>
            <a:b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br>
            <a: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or A Complex World</a:t>
            </a:r>
          </a:p>
        </p:txBody>
      </p:sp>
      <p:cxnSp>
        <p:nvCxnSpPr>
          <p:cNvPr id="19" name="Straight Connector 18">
            <a:extLst>
              <a:ext uri="{FF2B5EF4-FFF2-40B4-BE49-F238E27FC236}">
                <a16:creationId xmlns:a16="http://schemas.microsoft.com/office/drawing/2014/main" id="{60C5068E-ED23-B748-B7CF-D09E0F6A28AE}"/>
              </a:ext>
            </a:extLst>
          </p:cNvPr>
          <p:cNvCxnSpPr/>
          <p:nvPr userDrawn="1"/>
        </p:nvCxnSpPr>
        <p:spPr>
          <a:xfrm>
            <a:off x="5560060" y="1712424"/>
            <a:ext cx="1071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548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6149" name="think-cell Slide" r:id="rId4" imgW="393" imgH="394" progId="TCLayout.ActiveDocument.1">
                  <p:embed/>
                </p:oleObj>
              </mc:Choice>
              <mc:Fallback>
                <p:oleObj name="think-cell Slide" r:id="rId4" imgW="393" imgH="394" progId="TCLayout.ActiveDocument.1">
                  <p:embed/>
                  <p:pic>
                    <p:nvPicPr>
                      <p:cNvPr id="3" name="Object 2" hidden="1"/>
                      <p:cNvPicPr/>
                      <p:nvPr/>
                    </p:nvPicPr>
                    <p:blipFill>
                      <a:blip r:embed="rId5"/>
                      <a:stretch>
                        <a:fillRect/>
                      </a:stretch>
                    </p:blipFill>
                    <p:spPr>
                      <a:xfrm>
                        <a:off x="2162" y="1622"/>
                        <a:ext cx="2159" cy="1619"/>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dirty="0"/>
              <a:t>Click to edit Master title style</a:t>
            </a:r>
          </a:p>
        </p:txBody>
      </p:sp>
      <p:sp>
        <p:nvSpPr>
          <p:cNvPr id="8" name="Slide Number"/>
          <p:cNvSpPr txBox="1">
            <a:spLocks/>
          </p:cNvSpPr>
          <p:nvPr userDrawn="1"/>
        </p:nvSpPr>
        <p:spPr>
          <a:xfrm>
            <a:off x="11652053" y="6640500"/>
            <a:ext cx="1811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5" name="doc id" hidden="1"/>
          <p:cNvSpPr>
            <a:spLocks noChangeArrowheads="1"/>
          </p:cNvSpPr>
          <p:nvPr userDrawn="1"/>
        </p:nvSpPr>
        <p:spPr bwMode="auto">
          <a:xfrm>
            <a:off x="10607058" y="51833"/>
            <a:ext cx="128257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en-US" sz="612" baseline="0" dirty="0">
              <a:solidFill>
                <a:srgbClr val="C5C5C5"/>
              </a:solidFill>
              <a:latin typeface="+mn-lt"/>
              <a:ea typeface="+mn-ea"/>
            </a:endParaRP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70475" y="6175394"/>
            <a:ext cx="787627" cy="590685"/>
          </a:xfrm>
          <a:prstGeom prst="rect">
            <a:avLst/>
          </a:prstGeom>
        </p:spPr>
      </p:pic>
    </p:spTree>
    <p:extLst>
      <p:ext uri="{BB962C8B-B14F-4D97-AF65-F5344CB8AC3E}">
        <p14:creationId xmlns:p14="http://schemas.microsoft.com/office/powerpoint/2010/main" val="204760651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707745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entr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73" name="think-cell Slide" r:id="rId5" imgW="501" imgH="502" progId="TCLayout.ActiveDocument.1">
                  <p:embed/>
                </p:oleObj>
              </mc:Choice>
              <mc:Fallback>
                <p:oleObj name="think-cell Slide" r:id="rId5" imgW="501" imgH="502" progId="TCLayout.ActiveDocument.1">
                  <p:embed/>
                  <p:pic>
                    <p:nvPicPr>
                      <p:cNvPr id="5" name="Object 4"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300" b="0" i="0" baseline="0" dirty="0">
              <a:latin typeface="Calibri" panose="020F0502020204030204" pitchFamily="34" charset="0"/>
              <a:ea typeface="+mj-ea"/>
              <a:cs typeface="+mj-cs"/>
              <a:sym typeface="Calibri" panose="020F0502020204030204" pitchFamily="34" charset="0"/>
            </a:endParaRPr>
          </a:p>
        </p:txBody>
      </p:sp>
      <p:sp>
        <p:nvSpPr>
          <p:cNvPr id="3" name="Slide Number"/>
          <p:cNvSpPr txBox="1">
            <a:spLocks/>
          </p:cNvSpPr>
          <p:nvPr userDrawn="1"/>
        </p:nvSpPr>
        <p:spPr>
          <a:xfrm>
            <a:off x="11766692" y="6566785"/>
            <a:ext cx="342760" cy="129537"/>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825" baseline="0" smtClean="0">
                <a:solidFill>
                  <a:srgbClr val="808080"/>
                </a:solidFill>
                <a:latin typeface="+mn-lt"/>
              </a:rPr>
              <a:pPr/>
              <a:t>‹#›</a:t>
            </a:fld>
            <a:endParaRPr lang="en-US" sz="825" baseline="0" dirty="0">
              <a:solidFill>
                <a:srgbClr val="808080"/>
              </a:solidFill>
              <a:latin typeface="+mn-lt"/>
            </a:endParaRPr>
          </a:p>
        </p:txBody>
      </p:sp>
      <p:sp>
        <p:nvSpPr>
          <p:cNvPr id="7" name="Slide Number Placeholder 2">
            <a:extLst>
              <a:ext uri="{FF2B5EF4-FFF2-40B4-BE49-F238E27FC236}">
                <a16:creationId xmlns:a16="http://schemas.microsoft.com/office/drawing/2014/main" id="{43817159-F08B-4911-8A04-533366322450}"/>
              </a:ext>
            </a:extLst>
          </p:cNvPr>
          <p:cNvSpPr>
            <a:spLocks noGrp="1"/>
          </p:cNvSpPr>
          <p:nvPr>
            <p:ph type="sldNum" sz="quarter" idx="12"/>
          </p:nvPr>
        </p:nvSpPr>
        <p:spPr>
          <a:xfrm>
            <a:off x="11642968" y="6339667"/>
            <a:ext cx="342760" cy="365125"/>
          </a:xfrm>
        </p:spPr>
        <p:txBody>
          <a:bodyPr/>
          <a:lstStyle/>
          <a:p>
            <a:fld id="{35DA1DD0-1E4B-BC46-916D-CA887B975016}" type="slidenum">
              <a:rPr lang="en-US" smtClean="0"/>
              <a:t>‹#›</a:t>
            </a:fld>
            <a:endParaRPr lang="en-US" dirty="0"/>
          </a:p>
        </p:txBody>
      </p:sp>
      <p:pic>
        <p:nvPicPr>
          <p:cNvPr id="10" name="Picture 9">
            <a:extLst>
              <a:ext uri="{FF2B5EF4-FFF2-40B4-BE49-F238E27FC236}">
                <a16:creationId xmlns:a16="http://schemas.microsoft.com/office/drawing/2014/main" id="{23BDBC17-BEE0-4E86-B4C0-D18525A1B83C}"/>
              </a:ext>
            </a:extLst>
          </p:cNvPr>
          <p:cNvPicPr>
            <a:picLocks/>
          </p:cNvPicPr>
          <p:nvPr userDrawn="1"/>
        </p:nvPicPr>
        <p:blipFill>
          <a:blip r:embed="rId7"/>
          <a:stretch>
            <a:fillRect/>
          </a:stretch>
        </p:blipFill>
        <p:spPr>
          <a:xfrm>
            <a:off x="11027664" y="365760"/>
            <a:ext cx="914400" cy="914400"/>
          </a:xfrm>
          <a:prstGeom prst="rect">
            <a:avLst/>
          </a:prstGeom>
        </p:spPr>
      </p:pic>
      <p:sp>
        <p:nvSpPr>
          <p:cNvPr id="11" name="Picture Placeholder 22">
            <a:extLst>
              <a:ext uri="{FF2B5EF4-FFF2-40B4-BE49-F238E27FC236}">
                <a16:creationId xmlns:a16="http://schemas.microsoft.com/office/drawing/2014/main" id="{84510635-44C0-48D1-BB87-309D4DBF4272}"/>
              </a:ext>
            </a:extLst>
          </p:cNvPr>
          <p:cNvSpPr>
            <a:spLocks noGrp="1"/>
          </p:cNvSpPr>
          <p:nvPr>
            <p:ph type="pic" sz="quarter" idx="14"/>
          </p:nvPr>
        </p:nvSpPr>
        <p:spPr>
          <a:xfrm>
            <a:off x="2603369" y="3161078"/>
            <a:ext cx="6985262" cy="3543714"/>
          </a:xfrm>
          <a:ln>
            <a:solidFill>
              <a:schemeClr val="bg2">
                <a:lumMod val="75000"/>
              </a:schemeClr>
            </a:solidFill>
          </a:ln>
        </p:spPr>
        <p:txBody>
          <a:bodyPr anchor="ctr"/>
          <a:lstStyle>
            <a:lvl1pPr marL="0" indent="0" algn="ctr">
              <a:buNone/>
              <a:defRPr/>
            </a:lvl1pPr>
          </a:lstStyle>
          <a:p>
            <a:endParaRPr lang="en-US" dirty="0"/>
          </a:p>
        </p:txBody>
      </p:sp>
      <p:sp>
        <p:nvSpPr>
          <p:cNvPr id="13" name="Arrow: Down 12">
            <a:extLst>
              <a:ext uri="{FF2B5EF4-FFF2-40B4-BE49-F238E27FC236}">
                <a16:creationId xmlns:a16="http://schemas.microsoft.com/office/drawing/2014/main" id="{CF730393-1E0A-4626-B3BB-683456451999}"/>
              </a:ext>
            </a:extLst>
          </p:cNvPr>
          <p:cNvSpPr/>
          <p:nvPr userDrawn="1"/>
        </p:nvSpPr>
        <p:spPr>
          <a:xfrm>
            <a:off x="12712116" y="1256327"/>
            <a:ext cx="164837" cy="216188"/>
          </a:xfrm>
          <a:prstGeom prst="downArrow">
            <a:avLst>
              <a:gd name="adj1" fmla="val 35714"/>
              <a:gd name="adj2" fmla="val 4612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Down 13">
            <a:extLst>
              <a:ext uri="{FF2B5EF4-FFF2-40B4-BE49-F238E27FC236}">
                <a16:creationId xmlns:a16="http://schemas.microsoft.com/office/drawing/2014/main" id="{02F40098-18C6-449A-9344-9E732AD96021}"/>
              </a:ext>
            </a:extLst>
          </p:cNvPr>
          <p:cNvSpPr/>
          <p:nvPr userDrawn="1"/>
        </p:nvSpPr>
        <p:spPr>
          <a:xfrm rot="16200000">
            <a:off x="12712117" y="1633832"/>
            <a:ext cx="164837" cy="216188"/>
          </a:xfrm>
          <a:prstGeom prst="downArrow">
            <a:avLst>
              <a:gd name="adj1" fmla="val 35714"/>
              <a:gd name="adj2" fmla="val 4612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Down 14">
            <a:extLst>
              <a:ext uri="{FF2B5EF4-FFF2-40B4-BE49-F238E27FC236}">
                <a16:creationId xmlns:a16="http://schemas.microsoft.com/office/drawing/2014/main" id="{8F9D087A-CC2B-4636-91E5-694F0975FB68}"/>
              </a:ext>
            </a:extLst>
          </p:cNvPr>
          <p:cNvSpPr/>
          <p:nvPr userDrawn="1"/>
        </p:nvSpPr>
        <p:spPr>
          <a:xfrm rot="10800000">
            <a:off x="12712115" y="2011337"/>
            <a:ext cx="164837" cy="216188"/>
          </a:xfrm>
          <a:prstGeom prst="downArrow">
            <a:avLst>
              <a:gd name="adj1" fmla="val 35714"/>
              <a:gd name="adj2" fmla="val 4612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FD1F7C4A-CF28-4295-9383-358111E6F030}"/>
              </a:ext>
            </a:extLst>
          </p:cNvPr>
          <p:cNvSpPr>
            <a:spLocks noGrp="1"/>
          </p:cNvSpPr>
          <p:nvPr>
            <p:ph type="title"/>
          </p:nvPr>
        </p:nvSpPr>
        <p:spPr>
          <a:xfrm>
            <a:off x="359955" y="365129"/>
            <a:ext cx="11231155" cy="682625"/>
          </a:xfrm>
        </p:spPr>
        <p:txBody>
          <a:bodyPr/>
          <a:lstStyle>
            <a:lvl1pPr>
              <a:defRPr b="1">
                <a:solidFill>
                  <a:schemeClr val="accent1"/>
                </a:solidFill>
              </a:defRPr>
            </a:lvl1pPr>
          </a:lstStyle>
          <a:p>
            <a:r>
              <a:rPr lang="en-US" dirty="0"/>
              <a:t>Central (Region F)</a:t>
            </a:r>
          </a:p>
        </p:txBody>
      </p:sp>
    </p:spTree>
    <p:extLst>
      <p:ext uri="{BB962C8B-B14F-4D97-AF65-F5344CB8AC3E}">
        <p14:creationId xmlns:p14="http://schemas.microsoft.com/office/powerpoint/2010/main" val="21503691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Freeform 6"/>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1"/>
              </a:gs>
              <a:gs pos="52000">
                <a:schemeClr val="accent1">
                  <a:lumMod val="40000"/>
                  <a:lumOff val="60000"/>
                </a:schemeClr>
              </a:gs>
              <a:gs pos="66000">
                <a:schemeClr val="accent1"/>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Freeform 7"/>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3"/>
              </a:gs>
              <a:gs pos="40000">
                <a:schemeClr val="accent3">
                  <a:lumMod val="40000"/>
                  <a:lumOff val="60000"/>
                </a:schemeClr>
              </a:gs>
              <a:gs pos="48000">
                <a:schemeClr val="accent3"/>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Freeform 9"/>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Vertical Title 1"/>
          <p:cNvSpPr>
            <a:spLocks noGrp="1"/>
          </p:cNvSpPr>
          <p:nvPr>
            <p:ph type="title" orient="vert"/>
          </p:nvPr>
        </p:nvSpPr>
        <p:spPr>
          <a:xfrm>
            <a:off x="8839200" y="274641"/>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3566EA9-A175-41F7-BCD8-C5D81AA59C6D}" type="datetime1">
              <a:rPr lang="en-US" smtClean="0"/>
              <a:t>10/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Tree>
    <p:extLst>
      <p:ext uri="{BB962C8B-B14F-4D97-AF65-F5344CB8AC3E}">
        <p14:creationId xmlns:p14="http://schemas.microsoft.com/office/powerpoint/2010/main" val="20526503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3">
            <a:extLst>
              <a:ext uri="{FF2B5EF4-FFF2-40B4-BE49-F238E27FC236}">
                <a16:creationId xmlns:a16="http://schemas.microsoft.com/office/drawing/2014/main" id="{F7DC09C6-57C4-174A-9F67-5F9F3E3AB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2296" y="47287"/>
            <a:ext cx="8489703"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826558" y="1882601"/>
            <a:ext cx="9144000" cy="2387600"/>
          </a:xfrm>
        </p:spPr>
        <p:txBody>
          <a:bodyPr anchor="b"/>
          <a:lstStyle>
            <a:lvl1pPr algn="l">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586" y="5059078"/>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933586" y="4706642"/>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339439" cy="1192248"/>
          </a:xfrm>
          <a:prstGeom prst="rect">
            <a:avLst/>
          </a:prstGeom>
        </p:spPr>
      </p:pic>
    </p:spTree>
    <p:extLst>
      <p:ext uri="{BB962C8B-B14F-4D97-AF65-F5344CB8AC3E}">
        <p14:creationId xmlns:p14="http://schemas.microsoft.com/office/powerpoint/2010/main" val="39536713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pic>
        <p:nvPicPr>
          <p:cNvPr id="9" name="Google Shape;13;p2">
            <a:extLst>
              <a:ext uri="{FF2B5EF4-FFF2-40B4-BE49-F238E27FC236}">
                <a16:creationId xmlns:a16="http://schemas.microsoft.com/office/drawing/2014/main" id="{1064A63E-1B38-B041-8510-4D88FA04DD5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 y="492270"/>
            <a:ext cx="3872747" cy="5818883"/>
          </a:xfrm>
          <a:prstGeom prst="rect">
            <a:avLst/>
          </a:prstGeom>
          <a:noFill/>
          <a:ln>
            <a:noFill/>
          </a:ln>
        </p:spPr>
      </p:pic>
      <p:sp>
        <p:nvSpPr>
          <p:cNvPr id="8" name="Google Shape;14;p2">
            <a:extLst>
              <a:ext uri="{FF2B5EF4-FFF2-40B4-BE49-F238E27FC236}">
                <a16:creationId xmlns:a16="http://schemas.microsoft.com/office/drawing/2014/main" id="{D619917C-EE3E-CB48-B603-2FD9FD81D605}"/>
              </a:ext>
            </a:extLst>
          </p:cNvPr>
          <p:cNvSpPr/>
          <p:nvPr userDrawn="1"/>
        </p:nvSpPr>
        <p:spPr>
          <a:xfrm>
            <a:off x="0" y="492270"/>
            <a:ext cx="3872748" cy="5818883"/>
          </a:xfrm>
          <a:prstGeom prst="rect">
            <a:avLst/>
          </a:prstGeom>
          <a:solidFill>
            <a:srgbClr val="073763">
              <a:alpha val="36862"/>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64AC0E8C-41B9-F147-8BE8-E8FC609D7060}"/>
              </a:ext>
            </a:extLst>
          </p:cNvPr>
          <p:cNvSpPr/>
          <p:nvPr userDrawn="1"/>
        </p:nvSpPr>
        <p:spPr>
          <a:xfrm>
            <a:off x="465908" y="2045381"/>
            <a:ext cx="4360439" cy="3027599"/>
          </a:xfrm>
          <a:prstGeom prst="rect">
            <a:avLst/>
          </a:prstGeom>
          <a:solidFill>
            <a:srgbClr val="EAAA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25">
            <a:extLst>
              <a:ext uri="{FF2B5EF4-FFF2-40B4-BE49-F238E27FC236}">
                <a16:creationId xmlns:a16="http://schemas.microsoft.com/office/drawing/2014/main" id="{2B98BB86-2FD4-FC44-8246-C76FA5EF01F8}"/>
              </a:ext>
            </a:extLst>
          </p:cNvPr>
          <p:cNvSpPr>
            <a:spLocks noGrp="1"/>
          </p:cNvSpPr>
          <p:nvPr>
            <p:ph type="body" sz="quarter" idx="10" hasCustomPrompt="1"/>
          </p:nvPr>
        </p:nvSpPr>
        <p:spPr>
          <a:xfrm>
            <a:off x="6453188" y="14575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7" name="Text Placeholder 25">
            <a:extLst>
              <a:ext uri="{FF2B5EF4-FFF2-40B4-BE49-F238E27FC236}">
                <a16:creationId xmlns:a16="http://schemas.microsoft.com/office/drawing/2014/main" id="{64CA00A0-A61D-A04D-AE29-4C04CB93880D}"/>
              </a:ext>
            </a:extLst>
          </p:cNvPr>
          <p:cNvSpPr>
            <a:spLocks noGrp="1"/>
          </p:cNvSpPr>
          <p:nvPr>
            <p:ph type="body" sz="quarter" idx="11" hasCustomPrompt="1"/>
          </p:nvPr>
        </p:nvSpPr>
        <p:spPr>
          <a:xfrm>
            <a:off x="6453188" y="357401"/>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8" name="Text Placeholder 25">
            <a:extLst>
              <a:ext uri="{FF2B5EF4-FFF2-40B4-BE49-F238E27FC236}">
                <a16:creationId xmlns:a16="http://schemas.microsoft.com/office/drawing/2014/main" id="{2FDD35E2-F2C4-3442-A671-E930313BBF9D}"/>
              </a:ext>
            </a:extLst>
          </p:cNvPr>
          <p:cNvSpPr>
            <a:spLocks noGrp="1"/>
          </p:cNvSpPr>
          <p:nvPr>
            <p:ph type="body" sz="quarter" idx="12" hasCustomPrompt="1"/>
          </p:nvPr>
        </p:nvSpPr>
        <p:spPr>
          <a:xfrm>
            <a:off x="6453188" y="2543388"/>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9" name="Text Placeholder 25">
            <a:extLst>
              <a:ext uri="{FF2B5EF4-FFF2-40B4-BE49-F238E27FC236}">
                <a16:creationId xmlns:a16="http://schemas.microsoft.com/office/drawing/2014/main" id="{9DCECE56-3C01-874E-B3E1-A338BF702A65}"/>
              </a:ext>
            </a:extLst>
          </p:cNvPr>
          <p:cNvSpPr>
            <a:spLocks noGrp="1"/>
          </p:cNvSpPr>
          <p:nvPr>
            <p:ph type="body" sz="quarter" idx="13" hasCustomPrompt="1"/>
          </p:nvPr>
        </p:nvSpPr>
        <p:spPr>
          <a:xfrm>
            <a:off x="6453188" y="3657813"/>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0" name="Text Placeholder 25">
            <a:extLst>
              <a:ext uri="{FF2B5EF4-FFF2-40B4-BE49-F238E27FC236}">
                <a16:creationId xmlns:a16="http://schemas.microsoft.com/office/drawing/2014/main" id="{D327ACBD-CB9C-3F4A-B789-CC6F812C3B2A}"/>
              </a:ext>
            </a:extLst>
          </p:cNvPr>
          <p:cNvSpPr>
            <a:spLocks noGrp="1"/>
          </p:cNvSpPr>
          <p:nvPr>
            <p:ph type="body" sz="quarter" idx="14" hasCustomPrompt="1"/>
          </p:nvPr>
        </p:nvSpPr>
        <p:spPr>
          <a:xfrm>
            <a:off x="6453188" y="4729376"/>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1" name="Text Placeholder 25">
            <a:extLst>
              <a:ext uri="{FF2B5EF4-FFF2-40B4-BE49-F238E27FC236}">
                <a16:creationId xmlns:a16="http://schemas.microsoft.com/office/drawing/2014/main" id="{5C0346CF-14AF-0C48-B906-ECA66D2E5A94}"/>
              </a:ext>
            </a:extLst>
          </p:cNvPr>
          <p:cNvSpPr>
            <a:spLocks noGrp="1"/>
          </p:cNvSpPr>
          <p:nvPr>
            <p:ph type="body" sz="quarter" idx="15" hasCustomPrompt="1"/>
          </p:nvPr>
        </p:nvSpPr>
        <p:spPr>
          <a:xfrm>
            <a:off x="6453188" y="58009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2" name="TextBox 31">
            <a:extLst>
              <a:ext uri="{FF2B5EF4-FFF2-40B4-BE49-F238E27FC236}">
                <a16:creationId xmlns:a16="http://schemas.microsoft.com/office/drawing/2014/main" id="{5B00DC2F-BCE5-3249-984D-425A63B0CE5D}"/>
              </a:ext>
            </a:extLst>
          </p:cNvPr>
          <p:cNvSpPr txBox="1"/>
          <p:nvPr userDrawn="1"/>
        </p:nvSpPr>
        <p:spPr>
          <a:xfrm>
            <a:off x="1163188" y="3231878"/>
            <a:ext cx="2965877" cy="646331"/>
          </a:xfrm>
          <a:prstGeom prst="rect">
            <a:avLst/>
          </a:prstGeom>
          <a:noFill/>
        </p:spPr>
        <p:txBody>
          <a:bodyPr wrap="none" rtlCol="0">
            <a:spAutoFit/>
          </a:bodyPr>
          <a:lstStyle/>
          <a:p>
            <a:pPr algn="ctr"/>
            <a:r>
              <a:rPr lang="en-US" sz="3600" b="1" dirty="0">
                <a:solidFill>
                  <a:schemeClr val="bg1"/>
                </a:solidFill>
              </a:rPr>
              <a:t>CONTENTS</a:t>
            </a:r>
            <a:endParaRPr lang="en-US" sz="3200" b="1" dirty="0">
              <a:solidFill>
                <a:schemeClr val="bg1"/>
              </a:solidFill>
            </a:endParaRPr>
          </a:p>
        </p:txBody>
      </p:sp>
    </p:spTree>
    <p:extLst>
      <p:ext uri="{BB962C8B-B14F-4D97-AF65-F5344CB8AC3E}">
        <p14:creationId xmlns:p14="http://schemas.microsoft.com/office/powerpoint/2010/main" val="398294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6" name="Text Placeholder 5">
            <a:extLst>
              <a:ext uri="{FF2B5EF4-FFF2-40B4-BE49-F238E27FC236}">
                <a16:creationId xmlns:a16="http://schemas.microsoft.com/office/drawing/2014/main" id="{95D6972A-F66C-624F-9CBF-BD7D7014B465}"/>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4283837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8" name="Picture 7">
            <a:extLst>
              <a:ext uri="{FF2B5EF4-FFF2-40B4-BE49-F238E27FC236}">
                <a16:creationId xmlns:a16="http://schemas.microsoft.com/office/drawing/2014/main" id="{095266BB-8EAD-064B-B14F-668F0D8600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210437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157038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0CF0CB9-4C05-A941-9042-8358AA0472CE}"/>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2" name="Straight Connector 11">
            <a:extLst>
              <a:ext uri="{FF2B5EF4-FFF2-40B4-BE49-F238E27FC236}">
                <a16:creationId xmlns:a16="http://schemas.microsoft.com/office/drawing/2014/main" id="{5F1EB3CD-3F73-D942-84D8-0160A389C7C8}"/>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DD27FBFA-C2D2-0B41-A252-034408E0ECF6}"/>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4" name="Picture 13">
            <a:extLst>
              <a:ext uri="{FF2B5EF4-FFF2-40B4-BE49-F238E27FC236}">
                <a16:creationId xmlns:a16="http://schemas.microsoft.com/office/drawing/2014/main" id="{98DBD175-46D1-184F-845E-3740B1816F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4514145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7217646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Freeform 6"/>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1"/>
              </a:gs>
              <a:gs pos="52000">
                <a:schemeClr val="accent1">
                  <a:lumMod val="40000"/>
                  <a:lumOff val="60000"/>
                </a:schemeClr>
              </a:gs>
              <a:gs pos="66000">
                <a:schemeClr val="accent1"/>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Freeform 7"/>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3"/>
              </a:gs>
              <a:gs pos="40000">
                <a:schemeClr val="accent3">
                  <a:lumMod val="40000"/>
                  <a:lumOff val="60000"/>
                </a:schemeClr>
              </a:gs>
              <a:gs pos="48000">
                <a:schemeClr val="accent3"/>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lvl1pPr>
              <a:defRPr cap="none" baseline="0">
                <a:solidFill>
                  <a:schemeClr val="accent3"/>
                </a:solidFill>
                <a:latin typeface="Calibri" panose="020F050202020403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914400" y="1600201"/>
            <a:ext cx="10363200" cy="3733800"/>
          </a:xfrm>
        </p:spPr>
        <p:txBody>
          <a:bodyPr/>
          <a:lstStyle>
            <a:lvl1pPr marL="342900" indent="-274320">
              <a:buFont typeface="Wingdings" panose="05000000000000000000" pitchFamily="2" charset="2"/>
              <a:buChar char="v"/>
              <a:defRPr sz="2800" baseline="0">
                <a:latin typeface="Arial" panose="020B0604020202020204" pitchFamily="34" charset="0"/>
              </a:defRPr>
            </a:lvl1pPr>
            <a:lvl2pPr marL="742950" indent="-274320">
              <a:buFont typeface="Wingdings" panose="05000000000000000000" pitchFamily="2" charset="2"/>
              <a:buChar char="Ø"/>
              <a:defRPr sz="2400"/>
            </a:lvl2pPr>
            <a:lvl3pPr marL="1143000" indent="-274320">
              <a:buSzPct val="200000"/>
              <a:buFont typeface="Arial" panose="020B0604020202020204" pitchFamily="34" charset="0"/>
              <a:buChar char="•"/>
              <a:defRPr sz="2000"/>
            </a:lvl3pPr>
            <a:lvl4pPr marL="1600200" indent="-274320">
              <a:buFont typeface="Wingdings" panose="05000000000000000000" pitchFamily="2" charset="2"/>
              <a:buChar char="q"/>
              <a:defRPr sz="16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reeform 8"/>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Freeform 9"/>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Date Placeholder 3"/>
          <p:cNvSpPr>
            <a:spLocks noGrp="1"/>
          </p:cNvSpPr>
          <p:nvPr>
            <p:ph type="dt" sz="half" idx="10"/>
          </p:nvPr>
        </p:nvSpPr>
        <p:spPr/>
        <p:txBody>
          <a:bodyPr/>
          <a:lstStyle/>
          <a:p>
            <a:fld id="{FB1E67D3-60E4-4D27-9E0B-6D034DBF6EC1}" type="datetime1">
              <a:rPr lang="en-US" smtClean="0"/>
              <a:t>10/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7" name="Title 1">
            <a:extLst>
              <a:ext uri="{FF2B5EF4-FFF2-40B4-BE49-F238E27FC236}">
                <a16:creationId xmlns:a16="http://schemas.microsoft.com/office/drawing/2014/main" id="{EE5B502E-4494-C349-9D2B-0F618DF81C8A}"/>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8" name="Straight Connector 7">
            <a:extLst>
              <a:ext uri="{FF2B5EF4-FFF2-40B4-BE49-F238E27FC236}">
                <a16:creationId xmlns:a16="http://schemas.microsoft.com/office/drawing/2014/main" id="{3BE0AA21-91D1-C144-B97C-917195C068DC}"/>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890FB86E-C8D9-B142-BFBB-BA8D2BC2DD6A}"/>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D0062E66-2E60-CE40-820C-CFBC235C1B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29228991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6973287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7" name="Title 1">
            <a:extLst>
              <a:ext uri="{FF2B5EF4-FFF2-40B4-BE49-F238E27FC236}">
                <a16:creationId xmlns:a16="http://schemas.microsoft.com/office/drawing/2014/main" id="{B8074ED8-B4B0-2B44-AA89-2A2F36926D96}"/>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8" name="Straight Connector 7">
            <a:extLst>
              <a:ext uri="{FF2B5EF4-FFF2-40B4-BE49-F238E27FC236}">
                <a16:creationId xmlns:a16="http://schemas.microsoft.com/office/drawing/2014/main" id="{F2C5309D-70FF-C945-9EB3-6BA00C511FA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978F7329-B354-3844-B8E1-8C781F56D36D}"/>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34132195-6562-144C-A372-740246DFF6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20019421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Title 1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3EF6F6A-CBCE-6E4D-AD1D-AFCD8E38B2F9}"/>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A1C3EC81-77F8-134C-A8E4-2E64BE6C41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9ABE412-5FF5-0F47-B6A8-B7F73E9800D2}"/>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2" name="Text Placeholder 11">
            <a:extLst>
              <a:ext uri="{FF2B5EF4-FFF2-40B4-BE49-F238E27FC236}">
                <a16:creationId xmlns:a16="http://schemas.microsoft.com/office/drawing/2014/main" id="{5AF221E1-88A2-8746-9DE7-82DD58467060}"/>
              </a:ext>
            </a:extLst>
          </p:cNvPr>
          <p:cNvSpPr>
            <a:spLocks noGrp="1"/>
          </p:cNvSpPr>
          <p:nvPr>
            <p:ph type="body" sz="quarter" idx="10"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847349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_Title 1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5"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190671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4_Title 1 Column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B56A5-4E3B-9544-A014-4E7CBDDDF31F}"/>
              </a:ext>
            </a:extLst>
          </p:cNvPr>
          <p:cNvSpPr>
            <a:spLocks noGrp="1"/>
          </p:cNvSpPr>
          <p:nvPr>
            <p:ph sz="half" idx="1"/>
          </p:nvPr>
        </p:nvSpPr>
        <p:spPr>
          <a:xfrm>
            <a:off x="342900"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46403F0-0858-074C-B448-DB7F70F04DB4}"/>
              </a:ext>
            </a:extLst>
          </p:cNvPr>
          <p:cNvSpPr>
            <a:spLocks noGrp="1"/>
          </p:cNvSpPr>
          <p:nvPr>
            <p:ph sz="half" idx="14"/>
          </p:nvPr>
        </p:nvSpPr>
        <p:spPr>
          <a:xfrm>
            <a:off x="6215062"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7"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8711416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5_Title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Content Placeholder 2">
            <a:extLst>
              <a:ext uri="{FF2B5EF4-FFF2-40B4-BE49-F238E27FC236}">
                <a16:creationId xmlns:a16="http://schemas.microsoft.com/office/drawing/2014/main" id="{1819B0B4-A2AE-ED43-9EE2-334C7FCB047A}"/>
              </a:ext>
            </a:extLst>
          </p:cNvPr>
          <p:cNvSpPr>
            <a:spLocks noGrp="1"/>
          </p:cNvSpPr>
          <p:nvPr>
            <p:ph idx="1"/>
          </p:nvPr>
        </p:nvSpPr>
        <p:spPr>
          <a:xfrm>
            <a:off x="1143000" y="1331239"/>
            <a:ext cx="10667999" cy="4358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36943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6_Title 2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29304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330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0083563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8_Title 3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3"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426907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Freeform 6"/>
          <p:cNvSpPr/>
          <p:nvPr/>
        </p:nvSpPr>
        <p:spPr>
          <a:xfrm>
            <a:off x="2" y="5545935"/>
            <a:ext cx="12195177" cy="1314449"/>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33337 h 1214437"/>
              <a:gd name="connsiteX1" fmla="*/ 6305550 w 9134475"/>
              <a:gd name="connsiteY1" fmla="*/ 1100137 h 1214437"/>
              <a:gd name="connsiteX2" fmla="*/ 9044270 w 9134475"/>
              <a:gd name="connsiteY2" fmla="*/ 0 h 1214437"/>
              <a:gd name="connsiteX3" fmla="*/ 9134475 w 9134475"/>
              <a:gd name="connsiteY3" fmla="*/ 1214437 h 1214437"/>
              <a:gd name="connsiteX4" fmla="*/ 0 w 9134475"/>
              <a:gd name="connsiteY4" fmla="*/ 1214437 h 1214437"/>
              <a:gd name="connsiteX5" fmla="*/ 0 w 9134475"/>
              <a:gd name="connsiteY5" fmla="*/ 33337 h 1214437"/>
              <a:gd name="connsiteX0" fmla="*/ 0 w 9134475"/>
              <a:gd name="connsiteY0" fmla="*/ 130968 h 1312068"/>
              <a:gd name="connsiteX1" fmla="*/ 6305550 w 9134475"/>
              <a:gd name="connsiteY1" fmla="*/ 1197768 h 1312068"/>
              <a:gd name="connsiteX2" fmla="*/ 9113111 w 9134475"/>
              <a:gd name="connsiteY2" fmla="*/ 0 h 1312068"/>
              <a:gd name="connsiteX3" fmla="*/ 9134475 w 9134475"/>
              <a:gd name="connsiteY3" fmla="*/ 1312068 h 1312068"/>
              <a:gd name="connsiteX4" fmla="*/ 0 w 9134475"/>
              <a:gd name="connsiteY4" fmla="*/ 1312068 h 1312068"/>
              <a:gd name="connsiteX5" fmla="*/ 0 w 9134475"/>
              <a:gd name="connsiteY5" fmla="*/ 130968 h 1312068"/>
              <a:gd name="connsiteX0" fmla="*/ 0 w 9113111"/>
              <a:gd name="connsiteY0" fmla="*/ 130968 h 1312068"/>
              <a:gd name="connsiteX1" fmla="*/ 6305550 w 9113111"/>
              <a:gd name="connsiteY1" fmla="*/ 1197768 h 1312068"/>
              <a:gd name="connsiteX2" fmla="*/ 9113111 w 9113111"/>
              <a:gd name="connsiteY2" fmla="*/ 0 h 1312068"/>
              <a:gd name="connsiteX3" fmla="*/ 8958813 w 9113111"/>
              <a:gd name="connsiteY3" fmla="*/ 1009649 h 1312068"/>
              <a:gd name="connsiteX4" fmla="*/ 0 w 9113111"/>
              <a:gd name="connsiteY4" fmla="*/ 1312068 h 1312068"/>
              <a:gd name="connsiteX5" fmla="*/ 0 w 9113111"/>
              <a:gd name="connsiteY5" fmla="*/ 130968 h 1312068"/>
              <a:gd name="connsiteX0" fmla="*/ 0 w 9117860"/>
              <a:gd name="connsiteY0" fmla="*/ 130968 h 1314449"/>
              <a:gd name="connsiteX1" fmla="*/ 6305550 w 9117860"/>
              <a:gd name="connsiteY1" fmla="*/ 1197768 h 1314449"/>
              <a:gd name="connsiteX2" fmla="*/ 9113111 w 9117860"/>
              <a:gd name="connsiteY2" fmla="*/ 0 h 1314449"/>
              <a:gd name="connsiteX3" fmla="*/ 9117860 w 9117860"/>
              <a:gd name="connsiteY3" fmla="*/ 1314449 h 1314449"/>
              <a:gd name="connsiteX4" fmla="*/ 0 w 9117860"/>
              <a:gd name="connsiteY4" fmla="*/ 1312068 h 1314449"/>
              <a:gd name="connsiteX5" fmla="*/ 0 w 9117860"/>
              <a:gd name="connsiteY5" fmla="*/ 130968 h 131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17860" h="1314449">
                <a:moveTo>
                  <a:pt x="0" y="130968"/>
                </a:moveTo>
                <a:lnTo>
                  <a:pt x="6305550" y="1197768"/>
                </a:lnTo>
                <a:lnTo>
                  <a:pt x="9113111" y="0"/>
                </a:lnTo>
                <a:lnTo>
                  <a:pt x="9117860" y="1314449"/>
                </a:lnTo>
                <a:lnTo>
                  <a:pt x="0" y="1312068"/>
                </a:lnTo>
                <a:lnTo>
                  <a:pt x="0" y="130968"/>
                </a:lnTo>
                <a:close/>
              </a:path>
            </a:pathLst>
          </a:custGeom>
          <a:gradFill>
            <a:gsLst>
              <a:gs pos="0">
                <a:schemeClr val="accent1">
                  <a:lumMod val="40000"/>
                  <a:lumOff val="60000"/>
                </a:schemeClr>
              </a:gs>
              <a:gs pos="50000">
                <a:schemeClr val="accent1"/>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lnSpc>
                <a:spcPct val="100000"/>
              </a:lnSpc>
            </a:pPr>
            <a:endParaRPr lang="en-US" sz="1800" kern="1200" dirty="0">
              <a:solidFill>
                <a:schemeClr val="lt1"/>
              </a:solidFill>
              <a:latin typeface="+mn-lt"/>
              <a:ea typeface="+mn-ea"/>
              <a:cs typeface="+mn-cs"/>
            </a:endParaRPr>
          </a:p>
        </p:txBody>
      </p:sp>
      <p:sp>
        <p:nvSpPr>
          <p:cNvPr id="8" name="Freeform 7"/>
          <p:cNvSpPr/>
          <p:nvPr/>
        </p:nvSpPr>
        <p:spPr>
          <a:xfrm>
            <a:off x="-101" y="5293518"/>
            <a:ext cx="12192124" cy="1443038"/>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355114 w 9144000"/>
              <a:gd name="connsiteY0" fmla="*/ 0 h 1562100"/>
              <a:gd name="connsiteX1" fmla="*/ 9144000 w 9144000"/>
              <a:gd name="connsiteY1" fmla="*/ 104775 h 1562100"/>
              <a:gd name="connsiteX2" fmla="*/ 9144000 w 9144000"/>
              <a:gd name="connsiteY2" fmla="*/ 361950 h 1562100"/>
              <a:gd name="connsiteX3" fmla="*/ 6334125 w 9144000"/>
              <a:gd name="connsiteY3" fmla="*/ 1562100 h 1562100"/>
              <a:gd name="connsiteX4" fmla="*/ 0 w 9144000"/>
              <a:gd name="connsiteY4" fmla="*/ 495300 h 1562100"/>
              <a:gd name="connsiteX5" fmla="*/ 355114 w 9144000"/>
              <a:gd name="connsiteY5" fmla="*/ 0 h 1562100"/>
              <a:gd name="connsiteX0" fmla="*/ 411923 w 9144000"/>
              <a:gd name="connsiteY0" fmla="*/ 83344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411923 w 9144000"/>
              <a:gd name="connsiteY5" fmla="*/ 83344 h 1457325"/>
              <a:gd name="connsiteX0" fmla="*/ 28462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8462 w 9144000"/>
              <a:gd name="connsiteY5" fmla="*/ 9525 h 1457325"/>
              <a:gd name="connsiteX0" fmla="*/ 108942 w 9144000"/>
              <a:gd name="connsiteY0" fmla="*/ 10477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108942 w 9144000"/>
              <a:gd name="connsiteY5" fmla="*/ 104775 h 1457325"/>
              <a:gd name="connsiteX0" fmla="*/ 26095 w 9144000"/>
              <a:gd name="connsiteY0" fmla="*/ 14288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6095 w 9144000"/>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12977 w 9117905"/>
              <a:gd name="connsiteY4" fmla="*/ 311944 h 1457325"/>
              <a:gd name="connsiteX5" fmla="*/ 0 w 9117905"/>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310 w 9117905"/>
              <a:gd name="connsiteY4" fmla="*/ 376237 h 1457325"/>
              <a:gd name="connsiteX5" fmla="*/ 0 w 9117905"/>
              <a:gd name="connsiteY5" fmla="*/ 14288 h 1457325"/>
              <a:gd name="connsiteX0" fmla="*/ 0 w 9117905"/>
              <a:gd name="connsiteY0" fmla="*/ 14288 h 1531144"/>
              <a:gd name="connsiteX1" fmla="*/ 9117905 w 9117905"/>
              <a:gd name="connsiteY1" fmla="*/ 0 h 1531144"/>
              <a:gd name="connsiteX2" fmla="*/ 9117905 w 9117905"/>
              <a:gd name="connsiteY2" fmla="*/ 257175 h 1531144"/>
              <a:gd name="connsiteX3" fmla="*/ 6308030 w 9117905"/>
              <a:gd name="connsiteY3" fmla="*/ 1531144 h 1531144"/>
              <a:gd name="connsiteX4" fmla="*/ 2310 w 9117905"/>
              <a:gd name="connsiteY4" fmla="*/ 376237 h 1531144"/>
              <a:gd name="connsiteX5" fmla="*/ 0 w 9117905"/>
              <a:gd name="connsiteY5" fmla="*/ 14288 h 1531144"/>
              <a:gd name="connsiteX0" fmla="*/ 0 w 9117905"/>
              <a:gd name="connsiteY0" fmla="*/ 14288 h 1450181"/>
              <a:gd name="connsiteX1" fmla="*/ 9117905 w 9117905"/>
              <a:gd name="connsiteY1" fmla="*/ 0 h 1450181"/>
              <a:gd name="connsiteX2" fmla="*/ 9117905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8994819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9106070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06070"/>
              <a:gd name="connsiteY0" fmla="*/ 0 h 1435893"/>
              <a:gd name="connsiteX1" fmla="*/ 9013755 w 9106070"/>
              <a:gd name="connsiteY1" fmla="*/ 97630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2 h 1435895"/>
              <a:gd name="connsiteX1" fmla="*/ 9096602 w 9106070"/>
              <a:gd name="connsiteY1" fmla="*/ 0 h 1435895"/>
              <a:gd name="connsiteX2" fmla="*/ 9106070 w 9106070"/>
              <a:gd name="connsiteY2" fmla="*/ 242889 h 1435895"/>
              <a:gd name="connsiteX3" fmla="*/ 6260689 w 9106070"/>
              <a:gd name="connsiteY3" fmla="*/ 1435895 h 1435895"/>
              <a:gd name="connsiteX4" fmla="*/ 2310 w 9106070"/>
              <a:gd name="connsiteY4" fmla="*/ 361951 h 1435895"/>
              <a:gd name="connsiteX5" fmla="*/ 0 w 9106070"/>
              <a:gd name="connsiteY5" fmla="*/ 2 h 1435895"/>
              <a:gd name="connsiteX0" fmla="*/ 0 w 9106070"/>
              <a:gd name="connsiteY0" fmla="*/ 0 h 1435893"/>
              <a:gd name="connsiteX1" fmla="*/ 8973515 w 9106070"/>
              <a:gd name="connsiteY1" fmla="*/ 123823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7145 h 1443038"/>
              <a:gd name="connsiteX1" fmla="*/ 9089499 w 9106070"/>
              <a:gd name="connsiteY1" fmla="*/ 0 h 1443038"/>
              <a:gd name="connsiteX2" fmla="*/ 9106070 w 9106070"/>
              <a:gd name="connsiteY2" fmla="*/ 250032 h 1443038"/>
              <a:gd name="connsiteX3" fmla="*/ 6260689 w 9106070"/>
              <a:gd name="connsiteY3" fmla="*/ 1443038 h 1443038"/>
              <a:gd name="connsiteX4" fmla="*/ 2310 w 9106070"/>
              <a:gd name="connsiteY4" fmla="*/ 369094 h 1443038"/>
              <a:gd name="connsiteX5" fmla="*/ 0 w 9106070"/>
              <a:gd name="connsiteY5" fmla="*/ 7145 h 1443038"/>
              <a:gd name="connsiteX0" fmla="*/ 0 w 9089499"/>
              <a:gd name="connsiteY0" fmla="*/ 7145 h 1443038"/>
              <a:gd name="connsiteX1" fmla="*/ 9089499 w 9089499"/>
              <a:gd name="connsiteY1" fmla="*/ 0 h 1443038"/>
              <a:gd name="connsiteX2" fmla="*/ 8923808 w 9089499"/>
              <a:gd name="connsiteY2" fmla="*/ 197644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4767 w 9089499"/>
              <a:gd name="connsiteY2" fmla="*/ 247650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8982984 w 9089499"/>
              <a:gd name="connsiteY2" fmla="*/ 202406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130131 w 9089499"/>
              <a:gd name="connsiteY4" fmla="*/ 266700 h 1443038"/>
              <a:gd name="connsiteX5" fmla="*/ 0 w 9089499"/>
              <a:gd name="connsiteY5" fmla="*/ 7145 h 1443038"/>
              <a:gd name="connsiteX0" fmla="*/ 57 w 9089556"/>
              <a:gd name="connsiteY0" fmla="*/ 7145 h 1443038"/>
              <a:gd name="connsiteX1" fmla="*/ 9089556 w 9089556"/>
              <a:gd name="connsiteY1" fmla="*/ 0 h 1443038"/>
              <a:gd name="connsiteX2" fmla="*/ 9087191 w 9089556"/>
              <a:gd name="connsiteY2" fmla="*/ 254793 h 1443038"/>
              <a:gd name="connsiteX3" fmla="*/ 6260746 w 9089556"/>
              <a:gd name="connsiteY3" fmla="*/ 1443038 h 1443038"/>
              <a:gd name="connsiteX4" fmla="*/ 0 w 9089556"/>
              <a:gd name="connsiteY4" fmla="*/ 366713 h 1443038"/>
              <a:gd name="connsiteX5" fmla="*/ 57 w 9089556"/>
              <a:gd name="connsiteY5" fmla="*/ 7145 h 144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9556" h="1443038">
                <a:moveTo>
                  <a:pt x="57" y="7145"/>
                </a:moveTo>
                <a:lnTo>
                  <a:pt x="9089556" y="0"/>
                </a:lnTo>
                <a:cubicBezTo>
                  <a:pt x="9087979" y="82550"/>
                  <a:pt x="9088768" y="172243"/>
                  <a:pt x="9087191" y="254793"/>
                </a:cubicBezTo>
                <a:lnTo>
                  <a:pt x="6260746" y="1443038"/>
                </a:lnTo>
                <a:lnTo>
                  <a:pt x="0" y="366713"/>
                </a:lnTo>
                <a:lnTo>
                  <a:pt x="57" y="7145"/>
                </a:lnTo>
                <a:close/>
              </a:path>
            </a:pathLst>
          </a:custGeom>
          <a:gradFill>
            <a:gsLst>
              <a:gs pos="0">
                <a:srgbClr val="000000"/>
              </a:gs>
              <a:gs pos="14000">
                <a:srgbClr val="333333"/>
              </a:gs>
              <a:gs pos="83000">
                <a:srgbClr val="0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lnSpc>
                <a:spcPct val="100000"/>
              </a:lnSpc>
            </a:pPr>
            <a:endParaRPr lang="en-US" sz="1800" kern="1200" dirty="0">
              <a:solidFill>
                <a:schemeClr val="lt1"/>
              </a:solidFill>
              <a:latin typeface="+mn-lt"/>
              <a:ea typeface="+mn-ea"/>
              <a:cs typeface="+mn-cs"/>
            </a:endParaRPr>
          </a:p>
        </p:txBody>
      </p:sp>
      <p:sp>
        <p:nvSpPr>
          <p:cNvPr id="9" name="Freeform 8"/>
          <p:cNvSpPr/>
          <p:nvPr/>
        </p:nvSpPr>
        <p:spPr>
          <a:xfrm>
            <a:off x="-101" y="5293518"/>
            <a:ext cx="12192124" cy="1443038"/>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355114 w 9144000"/>
              <a:gd name="connsiteY0" fmla="*/ 0 h 1562100"/>
              <a:gd name="connsiteX1" fmla="*/ 9144000 w 9144000"/>
              <a:gd name="connsiteY1" fmla="*/ 104775 h 1562100"/>
              <a:gd name="connsiteX2" fmla="*/ 9144000 w 9144000"/>
              <a:gd name="connsiteY2" fmla="*/ 361950 h 1562100"/>
              <a:gd name="connsiteX3" fmla="*/ 6334125 w 9144000"/>
              <a:gd name="connsiteY3" fmla="*/ 1562100 h 1562100"/>
              <a:gd name="connsiteX4" fmla="*/ 0 w 9144000"/>
              <a:gd name="connsiteY4" fmla="*/ 495300 h 1562100"/>
              <a:gd name="connsiteX5" fmla="*/ 355114 w 9144000"/>
              <a:gd name="connsiteY5" fmla="*/ 0 h 1562100"/>
              <a:gd name="connsiteX0" fmla="*/ 411923 w 9144000"/>
              <a:gd name="connsiteY0" fmla="*/ 83344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411923 w 9144000"/>
              <a:gd name="connsiteY5" fmla="*/ 83344 h 1457325"/>
              <a:gd name="connsiteX0" fmla="*/ 28462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8462 w 9144000"/>
              <a:gd name="connsiteY5" fmla="*/ 9525 h 1457325"/>
              <a:gd name="connsiteX0" fmla="*/ 108942 w 9144000"/>
              <a:gd name="connsiteY0" fmla="*/ 10477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108942 w 9144000"/>
              <a:gd name="connsiteY5" fmla="*/ 104775 h 1457325"/>
              <a:gd name="connsiteX0" fmla="*/ 26095 w 9144000"/>
              <a:gd name="connsiteY0" fmla="*/ 14288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26095 w 9144000"/>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12977 w 9117905"/>
              <a:gd name="connsiteY4" fmla="*/ 311944 h 1457325"/>
              <a:gd name="connsiteX5" fmla="*/ 0 w 9117905"/>
              <a:gd name="connsiteY5" fmla="*/ 14288 h 1457325"/>
              <a:gd name="connsiteX0" fmla="*/ 0 w 9117905"/>
              <a:gd name="connsiteY0" fmla="*/ 14288 h 1457325"/>
              <a:gd name="connsiteX1" fmla="*/ 9117905 w 9117905"/>
              <a:gd name="connsiteY1" fmla="*/ 0 h 1457325"/>
              <a:gd name="connsiteX2" fmla="*/ 9117905 w 9117905"/>
              <a:gd name="connsiteY2" fmla="*/ 257175 h 1457325"/>
              <a:gd name="connsiteX3" fmla="*/ 6308030 w 9117905"/>
              <a:gd name="connsiteY3" fmla="*/ 1457325 h 1457325"/>
              <a:gd name="connsiteX4" fmla="*/ 2310 w 9117905"/>
              <a:gd name="connsiteY4" fmla="*/ 376237 h 1457325"/>
              <a:gd name="connsiteX5" fmla="*/ 0 w 9117905"/>
              <a:gd name="connsiteY5" fmla="*/ 14288 h 1457325"/>
              <a:gd name="connsiteX0" fmla="*/ 0 w 9117905"/>
              <a:gd name="connsiteY0" fmla="*/ 14288 h 1531144"/>
              <a:gd name="connsiteX1" fmla="*/ 9117905 w 9117905"/>
              <a:gd name="connsiteY1" fmla="*/ 0 h 1531144"/>
              <a:gd name="connsiteX2" fmla="*/ 9117905 w 9117905"/>
              <a:gd name="connsiteY2" fmla="*/ 257175 h 1531144"/>
              <a:gd name="connsiteX3" fmla="*/ 6308030 w 9117905"/>
              <a:gd name="connsiteY3" fmla="*/ 1531144 h 1531144"/>
              <a:gd name="connsiteX4" fmla="*/ 2310 w 9117905"/>
              <a:gd name="connsiteY4" fmla="*/ 376237 h 1531144"/>
              <a:gd name="connsiteX5" fmla="*/ 0 w 9117905"/>
              <a:gd name="connsiteY5" fmla="*/ 14288 h 1531144"/>
              <a:gd name="connsiteX0" fmla="*/ 0 w 9117905"/>
              <a:gd name="connsiteY0" fmla="*/ 14288 h 1450181"/>
              <a:gd name="connsiteX1" fmla="*/ 9117905 w 9117905"/>
              <a:gd name="connsiteY1" fmla="*/ 0 h 1450181"/>
              <a:gd name="connsiteX2" fmla="*/ 9117905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8994819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17905"/>
              <a:gd name="connsiteY0" fmla="*/ 14288 h 1450181"/>
              <a:gd name="connsiteX1" fmla="*/ 9117905 w 9117905"/>
              <a:gd name="connsiteY1" fmla="*/ 0 h 1450181"/>
              <a:gd name="connsiteX2" fmla="*/ 9106070 w 9117905"/>
              <a:gd name="connsiteY2" fmla="*/ 257175 h 1450181"/>
              <a:gd name="connsiteX3" fmla="*/ 6260689 w 9117905"/>
              <a:gd name="connsiteY3" fmla="*/ 1450181 h 1450181"/>
              <a:gd name="connsiteX4" fmla="*/ 2310 w 9117905"/>
              <a:gd name="connsiteY4" fmla="*/ 376237 h 1450181"/>
              <a:gd name="connsiteX5" fmla="*/ 0 w 9117905"/>
              <a:gd name="connsiteY5" fmla="*/ 14288 h 1450181"/>
              <a:gd name="connsiteX0" fmla="*/ 0 w 9106070"/>
              <a:gd name="connsiteY0" fmla="*/ 0 h 1435893"/>
              <a:gd name="connsiteX1" fmla="*/ 9013755 w 9106070"/>
              <a:gd name="connsiteY1" fmla="*/ 97630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2 h 1435895"/>
              <a:gd name="connsiteX1" fmla="*/ 9096602 w 9106070"/>
              <a:gd name="connsiteY1" fmla="*/ 0 h 1435895"/>
              <a:gd name="connsiteX2" fmla="*/ 9106070 w 9106070"/>
              <a:gd name="connsiteY2" fmla="*/ 242889 h 1435895"/>
              <a:gd name="connsiteX3" fmla="*/ 6260689 w 9106070"/>
              <a:gd name="connsiteY3" fmla="*/ 1435895 h 1435895"/>
              <a:gd name="connsiteX4" fmla="*/ 2310 w 9106070"/>
              <a:gd name="connsiteY4" fmla="*/ 361951 h 1435895"/>
              <a:gd name="connsiteX5" fmla="*/ 0 w 9106070"/>
              <a:gd name="connsiteY5" fmla="*/ 2 h 1435895"/>
              <a:gd name="connsiteX0" fmla="*/ 0 w 9106070"/>
              <a:gd name="connsiteY0" fmla="*/ 0 h 1435893"/>
              <a:gd name="connsiteX1" fmla="*/ 8973515 w 9106070"/>
              <a:gd name="connsiteY1" fmla="*/ 123823 h 1435893"/>
              <a:gd name="connsiteX2" fmla="*/ 9106070 w 9106070"/>
              <a:gd name="connsiteY2" fmla="*/ 242887 h 1435893"/>
              <a:gd name="connsiteX3" fmla="*/ 6260689 w 9106070"/>
              <a:gd name="connsiteY3" fmla="*/ 1435893 h 1435893"/>
              <a:gd name="connsiteX4" fmla="*/ 2310 w 9106070"/>
              <a:gd name="connsiteY4" fmla="*/ 361949 h 1435893"/>
              <a:gd name="connsiteX5" fmla="*/ 0 w 9106070"/>
              <a:gd name="connsiteY5" fmla="*/ 0 h 1435893"/>
              <a:gd name="connsiteX0" fmla="*/ 0 w 9106070"/>
              <a:gd name="connsiteY0" fmla="*/ 7145 h 1443038"/>
              <a:gd name="connsiteX1" fmla="*/ 9089499 w 9106070"/>
              <a:gd name="connsiteY1" fmla="*/ 0 h 1443038"/>
              <a:gd name="connsiteX2" fmla="*/ 9106070 w 9106070"/>
              <a:gd name="connsiteY2" fmla="*/ 250032 h 1443038"/>
              <a:gd name="connsiteX3" fmla="*/ 6260689 w 9106070"/>
              <a:gd name="connsiteY3" fmla="*/ 1443038 h 1443038"/>
              <a:gd name="connsiteX4" fmla="*/ 2310 w 9106070"/>
              <a:gd name="connsiteY4" fmla="*/ 369094 h 1443038"/>
              <a:gd name="connsiteX5" fmla="*/ 0 w 9106070"/>
              <a:gd name="connsiteY5" fmla="*/ 7145 h 1443038"/>
              <a:gd name="connsiteX0" fmla="*/ 0 w 9089499"/>
              <a:gd name="connsiteY0" fmla="*/ 7145 h 1443038"/>
              <a:gd name="connsiteX1" fmla="*/ 9089499 w 9089499"/>
              <a:gd name="connsiteY1" fmla="*/ 0 h 1443038"/>
              <a:gd name="connsiteX2" fmla="*/ 8923808 w 9089499"/>
              <a:gd name="connsiteY2" fmla="*/ 197644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4767 w 9089499"/>
              <a:gd name="connsiteY2" fmla="*/ 247650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8982984 w 9089499"/>
              <a:gd name="connsiteY2" fmla="*/ 202406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2310 w 9089499"/>
              <a:gd name="connsiteY4" fmla="*/ 369094 h 1443038"/>
              <a:gd name="connsiteX5" fmla="*/ 0 w 9089499"/>
              <a:gd name="connsiteY5" fmla="*/ 7145 h 1443038"/>
              <a:gd name="connsiteX0" fmla="*/ 0 w 9089499"/>
              <a:gd name="connsiteY0" fmla="*/ 7145 h 1443038"/>
              <a:gd name="connsiteX1" fmla="*/ 9089499 w 9089499"/>
              <a:gd name="connsiteY1" fmla="*/ 0 h 1443038"/>
              <a:gd name="connsiteX2" fmla="*/ 9087134 w 9089499"/>
              <a:gd name="connsiteY2" fmla="*/ 254793 h 1443038"/>
              <a:gd name="connsiteX3" fmla="*/ 6260689 w 9089499"/>
              <a:gd name="connsiteY3" fmla="*/ 1443038 h 1443038"/>
              <a:gd name="connsiteX4" fmla="*/ 130131 w 9089499"/>
              <a:gd name="connsiteY4" fmla="*/ 266700 h 1443038"/>
              <a:gd name="connsiteX5" fmla="*/ 0 w 9089499"/>
              <a:gd name="connsiteY5" fmla="*/ 7145 h 1443038"/>
              <a:gd name="connsiteX0" fmla="*/ 57 w 9089556"/>
              <a:gd name="connsiteY0" fmla="*/ 7145 h 1443038"/>
              <a:gd name="connsiteX1" fmla="*/ 9089556 w 9089556"/>
              <a:gd name="connsiteY1" fmla="*/ 0 h 1443038"/>
              <a:gd name="connsiteX2" fmla="*/ 9087191 w 9089556"/>
              <a:gd name="connsiteY2" fmla="*/ 254793 h 1443038"/>
              <a:gd name="connsiteX3" fmla="*/ 6260746 w 9089556"/>
              <a:gd name="connsiteY3" fmla="*/ 1443038 h 1443038"/>
              <a:gd name="connsiteX4" fmla="*/ 0 w 9089556"/>
              <a:gd name="connsiteY4" fmla="*/ 366713 h 1443038"/>
              <a:gd name="connsiteX5" fmla="*/ 57 w 9089556"/>
              <a:gd name="connsiteY5" fmla="*/ 7145 h 144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9556" h="1443038">
                <a:moveTo>
                  <a:pt x="57" y="7145"/>
                </a:moveTo>
                <a:lnTo>
                  <a:pt x="9089556" y="0"/>
                </a:lnTo>
                <a:cubicBezTo>
                  <a:pt x="9087979" y="82550"/>
                  <a:pt x="9088768" y="172243"/>
                  <a:pt x="9087191" y="254793"/>
                </a:cubicBezTo>
                <a:lnTo>
                  <a:pt x="6260746" y="1443038"/>
                </a:lnTo>
                <a:lnTo>
                  <a:pt x="0" y="366713"/>
                </a:lnTo>
                <a:lnTo>
                  <a:pt x="57" y="7145"/>
                </a:lnTo>
                <a:close/>
              </a:path>
            </a:pathLst>
          </a:custGeom>
          <a:gradFill>
            <a:gsLst>
              <a:gs pos="41000">
                <a:srgbClr val="000000">
                  <a:alpha val="0"/>
                </a:srgbClr>
              </a:gs>
              <a:gs pos="57000">
                <a:srgbClr val="4D4D4D"/>
              </a:gs>
              <a:gs pos="100000">
                <a:srgbClr val="000000">
                  <a:alpha val="0"/>
                </a:srgbClr>
              </a:gs>
            </a:gsLst>
            <a:lin ang="6000000" scaled="0"/>
          </a:gradFill>
          <a:ln>
            <a:no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lnSpc>
                <a:spcPct val="100000"/>
              </a:lnSpc>
            </a:pPr>
            <a:endParaRPr lang="en-US" sz="1800" kern="1200" dirty="0">
              <a:solidFill>
                <a:schemeClr val="lt1"/>
              </a:solidFill>
              <a:latin typeface="+mn-lt"/>
              <a:ea typeface="+mn-ea"/>
              <a:cs typeface="+mn-cs"/>
            </a:endParaRPr>
          </a:p>
        </p:txBody>
      </p:sp>
      <p:sp>
        <p:nvSpPr>
          <p:cNvPr id="2" name="Title 1"/>
          <p:cNvSpPr>
            <a:spLocks noGrp="1"/>
          </p:cNvSpPr>
          <p:nvPr>
            <p:ph type="title"/>
          </p:nvPr>
        </p:nvSpPr>
        <p:spPr>
          <a:xfrm>
            <a:off x="963084" y="3633790"/>
            <a:ext cx="10363200" cy="1362075"/>
          </a:xfrm>
        </p:spPr>
        <p:txBody>
          <a:bodyPr anchor="t"/>
          <a:lstStyle>
            <a:lvl1pPr algn="l">
              <a:defRPr sz="4000" b="0" i="0" cap="all" baseline="0"/>
            </a:lvl1pPr>
          </a:lstStyle>
          <a:p>
            <a:r>
              <a:rPr lang="en-US" smtClean="0"/>
              <a:t>Click to edit Master title style</a:t>
            </a:r>
            <a:endParaRPr lang="en-US" dirty="0"/>
          </a:p>
        </p:txBody>
      </p:sp>
      <p:sp>
        <p:nvSpPr>
          <p:cNvPr id="3" name="Text Placeholder 2"/>
          <p:cNvSpPr>
            <a:spLocks noGrp="1"/>
          </p:cNvSpPr>
          <p:nvPr>
            <p:ph type="body" idx="1"/>
          </p:nvPr>
        </p:nvSpPr>
        <p:spPr>
          <a:xfrm>
            <a:off x="963084" y="2133603"/>
            <a:ext cx="10363200" cy="1500187"/>
          </a:xfrm>
        </p:spPr>
        <p:txBody>
          <a:bodyPr anchor="b"/>
          <a:lstStyle>
            <a:lvl1pPr marL="0" indent="0">
              <a:buNone/>
              <a:defRPr sz="200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0" name="Rectangle 9"/>
          <p:cNvSpPr/>
          <p:nvPr/>
        </p:nvSpPr>
        <p:spPr>
          <a:xfrm>
            <a:off x="0" y="5262468"/>
            <a:ext cx="12192000" cy="746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Freeform 10"/>
          <p:cNvSpPr/>
          <p:nvPr/>
        </p:nvSpPr>
        <p:spPr>
          <a:xfrm>
            <a:off x="173" y="5502670"/>
            <a:ext cx="12192088" cy="1271150"/>
          </a:xfrm>
          <a:custGeom>
            <a:avLst/>
            <a:gdLst>
              <a:gd name="connsiteX0" fmla="*/ 9331 w 9144000"/>
              <a:gd name="connsiteY0" fmla="*/ 111968 h 1278294"/>
              <a:gd name="connsiteX1" fmla="*/ 6288833 w 9144000"/>
              <a:gd name="connsiteY1" fmla="*/ 1194319 h 1278294"/>
              <a:gd name="connsiteX2" fmla="*/ 9144000 w 9144000"/>
              <a:gd name="connsiteY2" fmla="*/ 0 h 1278294"/>
              <a:gd name="connsiteX3" fmla="*/ 9144000 w 9144000"/>
              <a:gd name="connsiteY3" fmla="*/ 83976 h 1278294"/>
              <a:gd name="connsiteX4" fmla="*/ 6279502 w 9144000"/>
              <a:gd name="connsiteY4" fmla="*/ 1278294 h 1278294"/>
              <a:gd name="connsiteX5" fmla="*/ 0 w 9144000"/>
              <a:gd name="connsiteY5" fmla="*/ 195943 h 1278294"/>
              <a:gd name="connsiteX6" fmla="*/ 9331 w 9144000"/>
              <a:gd name="connsiteY6" fmla="*/ 111968 h 1278294"/>
              <a:gd name="connsiteX0" fmla="*/ 0 w 9134669"/>
              <a:gd name="connsiteY0" fmla="*/ 111968 h 1278294"/>
              <a:gd name="connsiteX1" fmla="*/ 6279502 w 9134669"/>
              <a:gd name="connsiteY1" fmla="*/ 1194319 h 1278294"/>
              <a:gd name="connsiteX2" fmla="*/ 9134669 w 9134669"/>
              <a:gd name="connsiteY2" fmla="*/ 0 h 1278294"/>
              <a:gd name="connsiteX3" fmla="*/ 9134669 w 9134669"/>
              <a:gd name="connsiteY3" fmla="*/ 83976 h 1278294"/>
              <a:gd name="connsiteX4" fmla="*/ 6270171 w 9134669"/>
              <a:gd name="connsiteY4" fmla="*/ 1278294 h 1278294"/>
              <a:gd name="connsiteX5" fmla="*/ 171644 w 9134669"/>
              <a:gd name="connsiteY5" fmla="*/ 388824 h 1278294"/>
              <a:gd name="connsiteX6" fmla="*/ 0 w 9134669"/>
              <a:gd name="connsiteY6" fmla="*/ 111968 h 1278294"/>
              <a:gd name="connsiteX0" fmla="*/ 0 w 9134669"/>
              <a:gd name="connsiteY0" fmla="*/ 111968 h 1278294"/>
              <a:gd name="connsiteX1" fmla="*/ 6279502 w 9134669"/>
              <a:gd name="connsiteY1" fmla="*/ 1194319 h 1278294"/>
              <a:gd name="connsiteX2" fmla="*/ 9134669 w 9134669"/>
              <a:gd name="connsiteY2" fmla="*/ 0 h 1278294"/>
              <a:gd name="connsiteX3" fmla="*/ 9134669 w 9134669"/>
              <a:gd name="connsiteY3" fmla="*/ 83976 h 1278294"/>
              <a:gd name="connsiteX4" fmla="*/ 6270171 w 9134669"/>
              <a:gd name="connsiteY4" fmla="*/ 1278294 h 1278294"/>
              <a:gd name="connsiteX5" fmla="*/ 194 w 9134669"/>
              <a:gd name="connsiteY5" fmla="*/ 195943 h 1278294"/>
              <a:gd name="connsiteX6" fmla="*/ 0 w 9134669"/>
              <a:gd name="connsiteY6" fmla="*/ 111968 h 1278294"/>
              <a:gd name="connsiteX0" fmla="*/ 49877 w 9134540"/>
              <a:gd name="connsiteY0" fmla="*/ 42912 h 1278294"/>
              <a:gd name="connsiteX1" fmla="*/ 6279373 w 9134540"/>
              <a:gd name="connsiteY1" fmla="*/ 1194319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49877 w 9134540"/>
              <a:gd name="connsiteY6" fmla="*/ 42912 h 1278294"/>
              <a:gd name="connsiteX0" fmla="*/ 2252 w 9134540"/>
              <a:gd name="connsiteY0" fmla="*/ 116731 h 1278294"/>
              <a:gd name="connsiteX1" fmla="*/ 6279373 w 9134540"/>
              <a:gd name="connsiteY1" fmla="*/ 1194319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78294"/>
              <a:gd name="connsiteX1" fmla="*/ 6279373 w 9134540"/>
              <a:gd name="connsiteY1" fmla="*/ 1234801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78294"/>
              <a:gd name="connsiteX1" fmla="*/ 6307948 w 9134540"/>
              <a:gd name="connsiteY1" fmla="*/ 1189558 h 1278294"/>
              <a:gd name="connsiteX2" fmla="*/ 9134540 w 9134540"/>
              <a:gd name="connsiteY2" fmla="*/ 0 h 1278294"/>
              <a:gd name="connsiteX3" fmla="*/ 9134540 w 9134540"/>
              <a:gd name="connsiteY3" fmla="*/ 83976 h 1278294"/>
              <a:gd name="connsiteX4" fmla="*/ 6270042 w 9134540"/>
              <a:gd name="connsiteY4" fmla="*/ 1278294 h 1278294"/>
              <a:gd name="connsiteX5" fmla="*/ 65 w 9134540"/>
              <a:gd name="connsiteY5" fmla="*/ 195943 h 1278294"/>
              <a:gd name="connsiteX6" fmla="*/ 2252 w 9134540"/>
              <a:gd name="connsiteY6" fmla="*/ 116731 h 1278294"/>
              <a:gd name="connsiteX0" fmla="*/ 2252 w 9134540"/>
              <a:gd name="connsiteY0" fmla="*/ 116731 h 1228287"/>
              <a:gd name="connsiteX1" fmla="*/ 6307948 w 9134540"/>
              <a:gd name="connsiteY1" fmla="*/ 1189558 h 1228287"/>
              <a:gd name="connsiteX2" fmla="*/ 9134540 w 9134540"/>
              <a:gd name="connsiteY2" fmla="*/ 0 h 1228287"/>
              <a:gd name="connsiteX3" fmla="*/ 9134540 w 9134540"/>
              <a:gd name="connsiteY3" fmla="*/ 83976 h 1228287"/>
              <a:gd name="connsiteX4" fmla="*/ 6270042 w 9134540"/>
              <a:gd name="connsiteY4" fmla="*/ 1228287 h 1228287"/>
              <a:gd name="connsiteX5" fmla="*/ 65 w 9134540"/>
              <a:gd name="connsiteY5" fmla="*/ 195943 h 1228287"/>
              <a:gd name="connsiteX6" fmla="*/ 2252 w 9134540"/>
              <a:gd name="connsiteY6" fmla="*/ 116731 h 1228287"/>
              <a:gd name="connsiteX0" fmla="*/ 2252 w 9134540"/>
              <a:gd name="connsiteY0" fmla="*/ 116731 h 1266387"/>
              <a:gd name="connsiteX1" fmla="*/ 6307948 w 9134540"/>
              <a:gd name="connsiteY1" fmla="*/ 1189558 h 1266387"/>
              <a:gd name="connsiteX2" fmla="*/ 9134540 w 9134540"/>
              <a:gd name="connsiteY2" fmla="*/ 0 h 1266387"/>
              <a:gd name="connsiteX3" fmla="*/ 9134540 w 9134540"/>
              <a:gd name="connsiteY3" fmla="*/ 83976 h 1266387"/>
              <a:gd name="connsiteX4" fmla="*/ 6315286 w 9134540"/>
              <a:gd name="connsiteY4" fmla="*/ 1266387 h 1266387"/>
              <a:gd name="connsiteX5" fmla="*/ 65 w 9134540"/>
              <a:gd name="connsiteY5" fmla="*/ 195943 h 1266387"/>
              <a:gd name="connsiteX6" fmla="*/ 2252 w 9134540"/>
              <a:gd name="connsiteY6" fmla="*/ 116731 h 1266387"/>
              <a:gd name="connsiteX0" fmla="*/ 2252 w 9134540"/>
              <a:gd name="connsiteY0" fmla="*/ 152450 h 1302106"/>
              <a:gd name="connsiteX1" fmla="*/ 6307948 w 9134540"/>
              <a:gd name="connsiteY1" fmla="*/ 1225277 h 1302106"/>
              <a:gd name="connsiteX2" fmla="*/ 8932134 w 9134540"/>
              <a:gd name="connsiteY2" fmla="*/ 0 h 1302106"/>
              <a:gd name="connsiteX3" fmla="*/ 9134540 w 9134540"/>
              <a:gd name="connsiteY3" fmla="*/ 119695 h 1302106"/>
              <a:gd name="connsiteX4" fmla="*/ 6315286 w 9134540"/>
              <a:gd name="connsiteY4" fmla="*/ 1302106 h 1302106"/>
              <a:gd name="connsiteX5" fmla="*/ 65 w 9134540"/>
              <a:gd name="connsiteY5" fmla="*/ 231662 h 1302106"/>
              <a:gd name="connsiteX6" fmla="*/ 2252 w 9134540"/>
              <a:gd name="connsiteY6" fmla="*/ 152450 h 1302106"/>
              <a:gd name="connsiteX0" fmla="*/ 2252 w 9144066"/>
              <a:gd name="connsiteY0" fmla="*/ 121494 h 1271150"/>
              <a:gd name="connsiteX1" fmla="*/ 6307948 w 9144066"/>
              <a:gd name="connsiteY1" fmla="*/ 1194321 h 1271150"/>
              <a:gd name="connsiteX2" fmla="*/ 9144066 w 9144066"/>
              <a:gd name="connsiteY2" fmla="*/ 0 h 1271150"/>
              <a:gd name="connsiteX3" fmla="*/ 9134540 w 9144066"/>
              <a:gd name="connsiteY3" fmla="*/ 88739 h 1271150"/>
              <a:gd name="connsiteX4" fmla="*/ 6315286 w 9144066"/>
              <a:gd name="connsiteY4" fmla="*/ 1271150 h 1271150"/>
              <a:gd name="connsiteX5" fmla="*/ 65 w 9144066"/>
              <a:gd name="connsiteY5" fmla="*/ 200706 h 1271150"/>
              <a:gd name="connsiteX6" fmla="*/ 2252 w 9144066"/>
              <a:gd name="connsiteY6" fmla="*/ 121494 h 1271150"/>
              <a:gd name="connsiteX0" fmla="*/ 2252 w 9144066"/>
              <a:gd name="connsiteY0" fmla="*/ 121494 h 1271150"/>
              <a:gd name="connsiteX1" fmla="*/ 6307948 w 9144066"/>
              <a:gd name="connsiteY1" fmla="*/ 1194321 h 1271150"/>
              <a:gd name="connsiteX2" fmla="*/ 9144066 w 9144066"/>
              <a:gd name="connsiteY2" fmla="*/ 0 h 1271150"/>
              <a:gd name="connsiteX3" fmla="*/ 9051196 w 9144066"/>
              <a:gd name="connsiteY3" fmla="*/ 236376 h 1271150"/>
              <a:gd name="connsiteX4" fmla="*/ 6315286 w 9144066"/>
              <a:gd name="connsiteY4" fmla="*/ 1271150 h 1271150"/>
              <a:gd name="connsiteX5" fmla="*/ 65 w 9144066"/>
              <a:gd name="connsiteY5" fmla="*/ 200706 h 1271150"/>
              <a:gd name="connsiteX6" fmla="*/ 2252 w 9144066"/>
              <a:gd name="connsiteY6" fmla="*/ 121494 h 1271150"/>
              <a:gd name="connsiteX0" fmla="*/ 2252 w 9144066"/>
              <a:gd name="connsiteY0" fmla="*/ 121494 h 1271150"/>
              <a:gd name="connsiteX1" fmla="*/ 6307948 w 9144066"/>
              <a:gd name="connsiteY1" fmla="*/ 1194321 h 1271150"/>
              <a:gd name="connsiteX2" fmla="*/ 9144066 w 9144066"/>
              <a:gd name="connsiteY2" fmla="*/ 0 h 1271150"/>
              <a:gd name="connsiteX3" fmla="*/ 9141683 w 9144066"/>
              <a:gd name="connsiteY3" fmla="*/ 79214 h 1271150"/>
              <a:gd name="connsiteX4" fmla="*/ 6315286 w 9144066"/>
              <a:gd name="connsiteY4" fmla="*/ 1271150 h 1271150"/>
              <a:gd name="connsiteX5" fmla="*/ 65 w 9144066"/>
              <a:gd name="connsiteY5" fmla="*/ 200706 h 1271150"/>
              <a:gd name="connsiteX6" fmla="*/ 2252 w 9144066"/>
              <a:gd name="connsiteY6" fmla="*/ 121494 h 127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66" h="1271150">
                <a:moveTo>
                  <a:pt x="2252" y="121494"/>
                </a:moveTo>
                <a:lnTo>
                  <a:pt x="6307948" y="1194321"/>
                </a:lnTo>
                <a:lnTo>
                  <a:pt x="9144066" y="0"/>
                </a:lnTo>
                <a:cubicBezTo>
                  <a:pt x="9143272" y="26405"/>
                  <a:pt x="9142477" y="52809"/>
                  <a:pt x="9141683" y="79214"/>
                </a:cubicBezTo>
                <a:lnTo>
                  <a:pt x="6315286" y="1271150"/>
                </a:lnTo>
                <a:lnTo>
                  <a:pt x="65" y="200706"/>
                </a:lnTo>
                <a:cubicBezTo>
                  <a:pt x="0" y="172714"/>
                  <a:pt x="2317" y="149486"/>
                  <a:pt x="2252" y="121494"/>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Date Placeholder 3"/>
          <p:cNvSpPr>
            <a:spLocks noGrp="1"/>
          </p:cNvSpPr>
          <p:nvPr>
            <p:ph type="dt" sz="half" idx="10"/>
          </p:nvPr>
        </p:nvSpPr>
        <p:spPr/>
        <p:txBody>
          <a:bodyPr/>
          <a:lstStyle/>
          <a:p>
            <a:fld id="{5512DAB7-38E7-443B-8E03-D2CCAEFBE4DA}" type="datetime1">
              <a:rPr lang="en-US" smtClean="0"/>
              <a:t>10/1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9_Title 3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4421272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0_Title 3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10059110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1_Title 3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1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6"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9291247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2_Title 3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133491" y="1168059"/>
            <a:ext cx="0" cy="5319619"/>
          </a:xfrm>
          <a:prstGeom prst="straightConnector1">
            <a:avLst/>
          </a:prstGeom>
          <a:noFill/>
          <a:ln w="9525"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37671" y="1168059"/>
            <a:ext cx="0" cy="5319619"/>
          </a:xfrm>
          <a:prstGeom prst="straightConnector1">
            <a:avLst/>
          </a:prstGeom>
          <a:noFill/>
          <a:ln w="9525"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2" y="1214438"/>
            <a:ext cx="363088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7"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53872"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7937300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3_Title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8" name="Rectangle 7">
            <a:extLst>
              <a:ext uri="{FF2B5EF4-FFF2-40B4-BE49-F238E27FC236}">
                <a16:creationId xmlns:a16="http://schemas.microsoft.com/office/drawing/2014/main" id="{DB2DCEF8-48BE-0544-90D9-4DF3E5E3BD2C}"/>
              </a:ext>
            </a:extLst>
          </p:cNvPr>
          <p:cNvSpPr/>
          <p:nvPr userDrawn="1"/>
        </p:nvSpPr>
        <p:spPr>
          <a:xfrm>
            <a:off x="6149776" y="0"/>
            <a:ext cx="3013968" cy="675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DC1D01D2-2FAA-5849-A9A6-E74D711A35FE}"/>
              </a:ext>
            </a:extLst>
          </p:cNvPr>
          <p:cNvSpPr>
            <a:spLocks noGrp="1"/>
          </p:cNvSpPr>
          <p:nvPr>
            <p:ph sz="half" idx="1"/>
          </p:nvPr>
        </p:nvSpPr>
        <p:spPr>
          <a:xfrm>
            <a:off x="9391561" y="1214438"/>
            <a:ext cx="2410386"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A0DD0521-9E0F-9D44-8E2D-F32C3E84CBC3}"/>
              </a:ext>
            </a:extLst>
          </p:cNvPr>
          <p:cNvSpPr>
            <a:spLocks noGrp="1"/>
          </p:cNvSpPr>
          <p:nvPr>
            <p:ph sz="half" idx="14"/>
          </p:nvPr>
        </p:nvSpPr>
        <p:spPr>
          <a:xfrm>
            <a:off x="3458371"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90030233-4432-A644-849F-291EF6BC0893}"/>
              </a:ext>
            </a:extLst>
          </p:cNvPr>
          <p:cNvSpPr>
            <a:spLocks noGrp="1"/>
          </p:cNvSpPr>
          <p:nvPr>
            <p:ph sz="half" idx="15"/>
          </p:nvPr>
        </p:nvSpPr>
        <p:spPr>
          <a:xfrm>
            <a:off x="6453796"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150299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4 Title 4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2930282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5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8858A-98C2-CF43-9793-6C1DDA72EC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19D351D2-BF5D-E748-B038-FA39B436980E}"/>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19399762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6_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CC5DD53-6762-0344-A27C-11C21E7A59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0325362F-CFCB-7F4A-91E1-D08F09E7E533}"/>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27222722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7_Copy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1D918F-1987-794A-A0FB-C2F4ACF8B5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28788" cy="3241478"/>
          </a:xfrm>
          <a:prstGeom prst="rect">
            <a:avLst/>
          </a:prstGeom>
        </p:spPr>
      </p:pic>
      <p:sp>
        <p:nvSpPr>
          <p:cNvPr id="5" name="Rectangle 4">
            <a:extLst>
              <a:ext uri="{FF2B5EF4-FFF2-40B4-BE49-F238E27FC236}">
                <a16:creationId xmlns:a16="http://schemas.microsoft.com/office/drawing/2014/main" id="{406AF0BF-96B6-9345-9EE4-663E8A08295C}"/>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6E8FF114-C77A-5141-9305-03B3196A99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59103" y="2914649"/>
            <a:ext cx="2332896" cy="3965923"/>
          </a:xfrm>
          <a:prstGeom prst="rect">
            <a:avLst/>
          </a:prstGeom>
        </p:spPr>
      </p:pic>
      <p:pic>
        <p:nvPicPr>
          <p:cNvPr id="8" name="Picture 7">
            <a:extLst>
              <a:ext uri="{FF2B5EF4-FFF2-40B4-BE49-F238E27FC236}">
                <a16:creationId xmlns:a16="http://schemas.microsoft.com/office/drawing/2014/main" id="{560BC66C-6DFD-444B-B3EE-986FA761A5FA}"/>
              </a:ext>
            </a:extLst>
          </p:cNvPr>
          <p:cNvPicPr>
            <a:picLocks noChangeAspect="1"/>
          </p:cNvPicPr>
          <p:nvPr userDrawn="1"/>
        </p:nvPicPr>
        <p:blipFill>
          <a:blip r:embed="rId4"/>
          <a:stretch>
            <a:fillRect/>
          </a:stretch>
        </p:blipFill>
        <p:spPr>
          <a:xfrm>
            <a:off x="1937860" y="2708903"/>
            <a:ext cx="8316279" cy="1030226"/>
          </a:xfrm>
          <a:prstGeom prst="rect">
            <a:avLst/>
          </a:prstGeom>
        </p:spPr>
      </p:pic>
      <p:sp>
        <p:nvSpPr>
          <p:cNvPr id="9" name="TextBox 8">
            <a:extLst>
              <a:ext uri="{FF2B5EF4-FFF2-40B4-BE49-F238E27FC236}">
                <a16:creationId xmlns:a16="http://schemas.microsoft.com/office/drawing/2014/main" id="{8AE32C28-F3C6-8A42-B5D0-08B2E2300289}"/>
              </a:ext>
            </a:extLst>
          </p:cNvPr>
          <p:cNvSpPr txBox="1"/>
          <p:nvPr userDrawn="1"/>
        </p:nvSpPr>
        <p:spPr>
          <a:xfrm>
            <a:off x="2797629" y="5848771"/>
            <a:ext cx="6596743" cy="261610"/>
          </a:xfrm>
          <a:prstGeom prst="rect">
            <a:avLst/>
          </a:prstGeom>
          <a:noFill/>
        </p:spPr>
        <p:txBody>
          <a:bodyPr wrap="square" rtlCol="0">
            <a:spAutoFit/>
          </a:bodyPr>
          <a:lstStyle/>
          <a:p>
            <a:pPr algn="ctr">
              <a:defRPr/>
            </a:pPr>
            <a:r>
              <a:rPr lang="en-US" sz="1100" b="0" i="0" dirty="0">
                <a:solidFill>
                  <a:schemeClr val="bg2">
                    <a:lumMod val="50000"/>
                  </a:schemeClr>
                </a:solidFill>
                <a:latin typeface="Verdana Regular"/>
              </a:rPr>
              <a:t>© 2020 </a:t>
            </a:r>
            <a:r>
              <a:rPr lang="en-US" sz="1100" b="0" i="0" dirty="0" err="1">
                <a:solidFill>
                  <a:schemeClr val="bg2">
                    <a:lumMod val="50000"/>
                  </a:schemeClr>
                </a:solidFill>
                <a:latin typeface="Verdana Regular"/>
              </a:rPr>
              <a:t>McChrystal</a:t>
            </a:r>
            <a:r>
              <a:rPr lang="en-US" sz="1100" b="0" i="0" dirty="0">
                <a:solidFill>
                  <a:schemeClr val="bg2">
                    <a:lumMod val="50000"/>
                  </a:schemeClr>
                </a:solidFill>
                <a:latin typeface="Verdana Regular"/>
              </a:rPr>
              <a:t> Group, LLC. All rights reserved.</a:t>
            </a:r>
          </a:p>
        </p:txBody>
      </p:sp>
    </p:spTree>
    <p:extLst>
      <p:ext uri="{BB962C8B-B14F-4D97-AF65-F5344CB8AC3E}">
        <p14:creationId xmlns:p14="http://schemas.microsoft.com/office/powerpoint/2010/main" val="3939864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28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2"/>
            <a:ext cx="8238370"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a:solidFill>
                  <a:schemeClr val="bg1"/>
                </a:solidFill>
                <a:latin typeface="Verdana Regular"/>
              </a:rPr>
              <a:t>© 2020 McChrystal Group, LLC. All rights reserved.</a:t>
            </a:r>
          </a:p>
        </p:txBody>
      </p:sp>
    </p:spTree>
    <p:extLst>
      <p:ext uri="{BB962C8B-B14F-4D97-AF65-F5344CB8AC3E}">
        <p14:creationId xmlns:p14="http://schemas.microsoft.com/office/powerpoint/2010/main" val="3472314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Freeform 7"/>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3"/>
              </a:gs>
              <a:gs pos="40000">
                <a:schemeClr val="accent3">
                  <a:lumMod val="40000"/>
                  <a:lumOff val="60000"/>
                </a:schemeClr>
              </a:gs>
              <a:gs pos="48000">
                <a:schemeClr val="accent3"/>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1"/>
              </a:gs>
              <a:gs pos="52000">
                <a:schemeClr val="accent1">
                  <a:lumMod val="40000"/>
                  <a:lumOff val="60000"/>
                </a:schemeClr>
              </a:gs>
              <a:gs pos="66000">
                <a:schemeClr val="accent1"/>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0" name="Freeform 9"/>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Freeform 10"/>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Date Placeholder 4"/>
          <p:cNvSpPr>
            <a:spLocks noGrp="1"/>
          </p:cNvSpPr>
          <p:nvPr>
            <p:ph type="dt" sz="half" idx="10"/>
          </p:nvPr>
        </p:nvSpPr>
        <p:spPr/>
        <p:txBody>
          <a:bodyPr/>
          <a:lstStyle/>
          <a:p>
            <a:fld id="{F4008150-1923-438E-8203-0E40D7FF5AF4}" type="datetime1">
              <a:rPr lang="en-US" smtClean="0"/>
              <a:t>10/1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01C670-DC88-4376-AA6B-FD9548DDC9F2}" type="slidenum">
              <a:rPr lang="en-US" smtClean="0"/>
              <a:pPr/>
              <a:t>‹#›</a:t>
            </a:fld>
            <a:endParaRPr lang="en-US" dirty="0"/>
          </a:p>
        </p:txBody>
      </p:sp>
      <p:sp>
        <p:nvSpPr>
          <p:cNvPr id="13" name="Content Placeholder 12"/>
          <p:cNvSpPr>
            <a:spLocks noGrp="1"/>
          </p:cNvSpPr>
          <p:nvPr>
            <p:ph sz="quarter" idx="13"/>
          </p:nvPr>
        </p:nvSpPr>
        <p:spPr>
          <a:xfrm>
            <a:off x="914400" y="1536192"/>
            <a:ext cx="4876800" cy="387705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14"/>
          <p:cNvSpPr>
            <a:spLocks noGrp="1"/>
          </p:cNvSpPr>
          <p:nvPr>
            <p:ph sz="quarter" idx="14"/>
          </p:nvPr>
        </p:nvSpPr>
        <p:spPr>
          <a:xfrm>
            <a:off x="6400800" y="1536192"/>
            <a:ext cx="4876800" cy="387705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9_Copyright">
    <p:bg>
      <p:bgPr>
        <a:solidFill>
          <a:srgbClr val="345C8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EFCF42-5A72-8D48-AAF9-7C079B60EEFA}"/>
              </a:ext>
            </a:extLst>
          </p:cNvPr>
          <p:cNvPicPr>
            <a:picLocks noChangeAspect="1"/>
          </p:cNvPicPr>
          <p:nvPr/>
        </p:nvPicPr>
        <p:blipFill>
          <a:blip r:embed="rId2"/>
          <a:stretch>
            <a:fillRect/>
          </a:stretch>
        </p:blipFill>
        <p:spPr>
          <a:xfrm>
            <a:off x="0" y="12700"/>
            <a:ext cx="12192000" cy="6858000"/>
          </a:xfrm>
          <a:prstGeom prst="rect">
            <a:avLst/>
          </a:prstGeom>
        </p:spPr>
      </p:pic>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3"/>
          <a:stretch>
            <a:fillRect/>
          </a:stretch>
        </p:blipFill>
        <p:spPr>
          <a:xfrm>
            <a:off x="1978149" y="2830262"/>
            <a:ext cx="8238370" cy="1197864"/>
          </a:xfrm>
          <a:prstGeom prst="rect">
            <a:avLst/>
          </a:prstGeom>
        </p:spPr>
      </p:pic>
      <p:sp>
        <p:nvSpPr>
          <p:cNvPr id="6" name="TextBox 5">
            <a:extLst>
              <a:ext uri="{FF2B5EF4-FFF2-40B4-BE49-F238E27FC236}">
                <a16:creationId xmlns:a16="http://schemas.microsoft.com/office/drawing/2014/main" id="{B9AFC3F0-E454-194C-B96D-19DFB54419E4}"/>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a:solidFill>
                  <a:schemeClr val="bg1"/>
                </a:solidFill>
                <a:latin typeface="Verdana Regular"/>
              </a:rPr>
              <a:t>© 2020 McChrystal Group, LLC. All rights reserved.</a:t>
            </a:r>
          </a:p>
        </p:txBody>
      </p:sp>
    </p:spTree>
    <p:extLst>
      <p:ext uri="{BB962C8B-B14F-4D97-AF65-F5344CB8AC3E}">
        <p14:creationId xmlns:p14="http://schemas.microsoft.com/office/powerpoint/2010/main" val="25563039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1_Contact">
    <p:bg>
      <p:bgPr>
        <a:solidFill>
          <a:srgbClr val="345C87"/>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5DE4D6-6C09-5841-8B2C-36313AE534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4826464"/>
          </a:xfrm>
          <a:prstGeom prst="rect">
            <a:avLst/>
          </a:prstGeom>
        </p:spPr>
      </p:pic>
      <p:pic>
        <p:nvPicPr>
          <p:cNvPr id="7" name="Picture 6">
            <a:extLst>
              <a:ext uri="{FF2B5EF4-FFF2-40B4-BE49-F238E27FC236}">
                <a16:creationId xmlns:a16="http://schemas.microsoft.com/office/drawing/2014/main" id="{1318F09F-16CC-7C46-827A-D1568533C66A}"/>
              </a:ext>
            </a:extLst>
          </p:cNvPr>
          <p:cNvPicPr>
            <a:picLocks noChangeAspect="1"/>
          </p:cNvPicPr>
          <p:nvPr userDrawn="1"/>
        </p:nvPicPr>
        <p:blipFill>
          <a:blip r:embed="rId3"/>
          <a:stretch>
            <a:fillRect/>
          </a:stretch>
        </p:blipFill>
        <p:spPr>
          <a:xfrm>
            <a:off x="0" y="3091003"/>
            <a:ext cx="12192000" cy="76553"/>
          </a:xfrm>
          <a:prstGeom prst="rect">
            <a:avLst/>
          </a:prstGeom>
        </p:spPr>
      </p:pic>
      <p:pic>
        <p:nvPicPr>
          <p:cNvPr id="8" name="Picture 7">
            <a:extLst>
              <a:ext uri="{FF2B5EF4-FFF2-40B4-BE49-F238E27FC236}">
                <a16:creationId xmlns:a16="http://schemas.microsoft.com/office/drawing/2014/main" id="{35827918-924E-5E48-86E8-25C5129D88D2}"/>
              </a:ext>
            </a:extLst>
          </p:cNvPr>
          <p:cNvPicPr>
            <a:picLocks noChangeAspect="1"/>
          </p:cNvPicPr>
          <p:nvPr userDrawn="1"/>
        </p:nvPicPr>
        <p:blipFill>
          <a:blip r:embed="rId4"/>
          <a:stretch>
            <a:fillRect/>
          </a:stretch>
        </p:blipFill>
        <p:spPr>
          <a:xfrm>
            <a:off x="3639057" y="772266"/>
            <a:ext cx="4913886" cy="714482"/>
          </a:xfrm>
          <a:prstGeom prst="rect">
            <a:avLst/>
          </a:prstGeom>
        </p:spPr>
      </p:pic>
      <p:sp>
        <p:nvSpPr>
          <p:cNvPr id="9" name="Rectangle 8">
            <a:extLst>
              <a:ext uri="{FF2B5EF4-FFF2-40B4-BE49-F238E27FC236}">
                <a16:creationId xmlns:a16="http://schemas.microsoft.com/office/drawing/2014/main" id="{82187ABD-3D8D-5945-8300-A91C28655E0F}"/>
              </a:ext>
            </a:extLst>
          </p:cNvPr>
          <p:cNvSpPr/>
          <p:nvPr userDrawn="1"/>
        </p:nvSpPr>
        <p:spPr>
          <a:xfrm>
            <a:off x="0" y="3129280"/>
            <a:ext cx="12192000" cy="3728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BF90293-B3F5-FB44-9409-80EA2D3DD375}"/>
              </a:ext>
            </a:extLst>
          </p:cNvPr>
          <p:cNvSpPr txBox="1"/>
          <p:nvPr userDrawn="1"/>
        </p:nvSpPr>
        <p:spPr>
          <a:xfrm>
            <a:off x="7342561" y="5323653"/>
            <a:ext cx="2991525" cy="369332"/>
          </a:xfrm>
          <a:prstGeom prst="rect">
            <a:avLst/>
          </a:prstGeom>
          <a:noFill/>
        </p:spPr>
        <p:txBody>
          <a:bodyPr wrap="none" rtlCol="0">
            <a:spAutoFit/>
          </a:bodyPr>
          <a:lstStyle/>
          <a:p>
            <a:pPr algn="l">
              <a:spcAft>
                <a:spcPts val="600"/>
              </a:spcAft>
            </a:pPr>
            <a:r>
              <a:rPr lang="en-US" sz="1800" b="1" err="1">
                <a:solidFill>
                  <a:schemeClr val="accent2"/>
                </a:solidFill>
              </a:rPr>
              <a:t>mcchrystalgroup.com</a:t>
            </a:r>
            <a:endParaRPr lang="en-US" sz="1800" b="1">
              <a:solidFill>
                <a:schemeClr val="accent2"/>
              </a:solidFill>
            </a:endParaRPr>
          </a:p>
        </p:txBody>
      </p:sp>
      <p:sp>
        <p:nvSpPr>
          <p:cNvPr id="11" name="TextBox 10">
            <a:extLst>
              <a:ext uri="{FF2B5EF4-FFF2-40B4-BE49-F238E27FC236}">
                <a16:creationId xmlns:a16="http://schemas.microsoft.com/office/drawing/2014/main" id="{D112F97D-D3C5-5E4F-AD2D-35C65C962E7F}"/>
              </a:ext>
            </a:extLst>
          </p:cNvPr>
          <p:cNvSpPr txBox="1"/>
          <p:nvPr userDrawn="1"/>
        </p:nvSpPr>
        <p:spPr>
          <a:xfrm>
            <a:off x="7342561" y="4194438"/>
            <a:ext cx="2699457" cy="646331"/>
          </a:xfrm>
          <a:prstGeom prst="rect">
            <a:avLst/>
          </a:prstGeom>
          <a:noFill/>
        </p:spPr>
        <p:txBody>
          <a:bodyPr wrap="none" rtlCol="0">
            <a:spAutoFit/>
          </a:bodyPr>
          <a:lstStyle/>
          <a:p>
            <a:pPr algn="l">
              <a:spcAft>
                <a:spcPts val="600"/>
              </a:spcAft>
            </a:pPr>
            <a:r>
              <a:rPr lang="en-US" sz="1800">
                <a:solidFill>
                  <a:schemeClr val="bg1"/>
                </a:solidFill>
              </a:rPr>
              <a:t>333 N. Fairfax Street</a:t>
            </a:r>
            <a:br>
              <a:rPr lang="en-US" sz="1800">
                <a:solidFill>
                  <a:schemeClr val="bg1"/>
                </a:solidFill>
              </a:rPr>
            </a:br>
            <a:r>
              <a:rPr lang="en-US" sz="1800">
                <a:solidFill>
                  <a:schemeClr val="bg1"/>
                </a:solidFill>
              </a:rPr>
              <a:t>Alexandria, VA 22314</a:t>
            </a:r>
          </a:p>
        </p:txBody>
      </p:sp>
      <p:pic>
        <p:nvPicPr>
          <p:cNvPr id="12" name="Picture 11">
            <a:extLst>
              <a:ext uri="{FF2B5EF4-FFF2-40B4-BE49-F238E27FC236}">
                <a16:creationId xmlns:a16="http://schemas.microsoft.com/office/drawing/2014/main" id="{9B2C9076-C800-A34C-B07D-8843C870DD5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8859" y="4164806"/>
            <a:ext cx="644039" cy="644039"/>
          </a:xfrm>
          <a:prstGeom prst="rect">
            <a:avLst/>
          </a:prstGeom>
        </p:spPr>
      </p:pic>
      <p:sp>
        <p:nvSpPr>
          <p:cNvPr id="13" name="TextBox 12">
            <a:extLst>
              <a:ext uri="{FF2B5EF4-FFF2-40B4-BE49-F238E27FC236}">
                <a16:creationId xmlns:a16="http://schemas.microsoft.com/office/drawing/2014/main" id="{D44BED9D-49CE-9A4B-8655-CDDC17EE747A}"/>
              </a:ext>
            </a:extLst>
          </p:cNvPr>
          <p:cNvSpPr txBox="1"/>
          <p:nvPr userDrawn="1"/>
        </p:nvSpPr>
        <p:spPr>
          <a:xfrm>
            <a:off x="1714041" y="4302159"/>
            <a:ext cx="3757119" cy="369332"/>
          </a:xfrm>
          <a:prstGeom prst="rect">
            <a:avLst/>
          </a:prstGeom>
          <a:noFill/>
        </p:spPr>
        <p:txBody>
          <a:bodyPr wrap="none" rtlCol="0">
            <a:spAutoFit/>
          </a:bodyPr>
          <a:lstStyle/>
          <a:p>
            <a:pPr algn="l">
              <a:spcAft>
                <a:spcPts val="600"/>
              </a:spcAft>
            </a:pPr>
            <a:r>
              <a:rPr lang="en-US" sz="1800" err="1">
                <a:solidFill>
                  <a:schemeClr val="bg1"/>
                </a:solidFill>
              </a:rPr>
              <a:t>contact@mcchrystalgroup.com</a:t>
            </a:r>
            <a:endParaRPr lang="en-US" sz="1800">
              <a:solidFill>
                <a:schemeClr val="bg1"/>
              </a:solidFill>
            </a:endParaRPr>
          </a:p>
        </p:txBody>
      </p:sp>
      <p:pic>
        <p:nvPicPr>
          <p:cNvPr id="14" name="Picture 13">
            <a:extLst>
              <a:ext uri="{FF2B5EF4-FFF2-40B4-BE49-F238E27FC236}">
                <a16:creationId xmlns:a16="http://schemas.microsoft.com/office/drawing/2014/main" id="{F595E860-9969-534C-8ECC-FA9DF84A31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859" y="5170911"/>
            <a:ext cx="644039" cy="644039"/>
          </a:xfrm>
          <a:prstGeom prst="rect">
            <a:avLst/>
          </a:prstGeom>
        </p:spPr>
      </p:pic>
      <p:sp>
        <p:nvSpPr>
          <p:cNvPr id="15" name="TextBox 14">
            <a:extLst>
              <a:ext uri="{FF2B5EF4-FFF2-40B4-BE49-F238E27FC236}">
                <a16:creationId xmlns:a16="http://schemas.microsoft.com/office/drawing/2014/main" id="{89423AFE-F467-2E46-82C3-ECDC5D06821A}"/>
              </a:ext>
            </a:extLst>
          </p:cNvPr>
          <p:cNvSpPr txBox="1"/>
          <p:nvPr userDrawn="1"/>
        </p:nvSpPr>
        <p:spPr>
          <a:xfrm>
            <a:off x="1714041" y="5308264"/>
            <a:ext cx="1826141" cy="369332"/>
          </a:xfrm>
          <a:prstGeom prst="rect">
            <a:avLst/>
          </a:prstGeom>
          <a:noFill/>
        </p:spPr>
        <p:txBody>
          <a:bodyPr wrap="none" rtlCol="0">
            <a:spAutoFit/>
          </a:bodyPr>
          <a:lstStyle/>
          <a:p>
            <a:pPr algn="l">
              <a:spcAft>
                <a:spcPts val="600"/>
              </a:spcAft>
            </a:pPr>
            <a:r>
              <a:rPr lang="en-US" sz="1800">
                <a:solidFill>
                  <a:schemeClr val="bg1"/>
                </a:solidFill>
              </a:rPr>
              <a:t>571.312.8637</a:t>
            </a:r>
          </a:p>
        </p:txBody>
      </p:sp>
      <p:pic>
        <p:nvPicPr>
          <p:cNvPr id="16" name="Picture 15">
            <a:extLst>
              <a:ext uri="{FF2B5EF4-FFF2-40B4-BE49-F238E27FC236}">
                <a16:creationId xmlns:a16="http://schemas.microsoft.com/office/drawing/2014/main" id="{0E6483B5-79EC-DD40-A0DA-29C7705831F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617060" y="4164805"/>
            <a:ext cx="644040" cy="644040"/>
          </a:xfrm>
          <a:prstGeom prst="rect">
            <a:avLst/>
          </a:prstGeom>
        </p:spPr>
      </p:pic>
      <p:pic>
        <p:nvPicPr>
          <p:cNvPr id="17" name="Picture 16">
            <a:extLst>
              <a:ext uri="{FF2B5EF4-FFF2-40B4-BE49-F238E27FC236}">
                <a16:creationId xmlns:a16="http://schemas.microsoft.com/office/drawing/2014/main" id="{6687FA5D-53EF-5841-9EB3-C56989293A3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7060" y="5172890"/>
            <a:ext cx="640080" cy="640080"/>
          </a:xfrm>
          <a:prstGeom prst="rect">
            <a:avLst/>
          </a:prstGeom>
        </p:spPr>
      </p:pic>
      <p:sp>
        <p:nvSpPr>
          <p:cNvPr id="18" name="TextBox 17">
            <a:extLst>
              <a:ext uri="{FF2B5EF4-FFF2-40B4-BE49-F238E27FC236}">
                <a16:creationId xmlns:a16="http://schemas.microsoft.com/office/drawing/2014/main" id="{E1DF74A3-473A-B14E-B8E4-E227732EF3A5}"/>
              </a:ext>
            </a:extLst>
          </p:cNvPr>
          <p:cNvSpPr txBox="1"/>
          <p:nvPr userDrawn="1"/>
        </p:nvSpPr>
        <p:spPr>
          <a:xfrm>
            <a:off x="4531309" y="1909937"/>
            <a:ext cx="3129382" cy="584775"/>
          </a:xfrm>
          <a:prstGeom prst="rect">
            <a:avLst/>
          </a:prstGeom>
          <a:noFill/>
        </p:spPr>
        <p:txBody>
          <a:bodyPr wrap="none" rtlCol="0">
            <a:spAutoFit/>
          </a:bodyPr>
          <a:lstStyle/>
          <a:p>
            <a:pPr algn="ctr"/>
            <a:r>
              <a:rPr lang="en-US" sz="1600" b="0" i="1" kern="1200" cap="none">
                <a:solidFill>
                  <a:schemeClr val="bg1"/>
                </a:solidFill>
                <a:effectLst/>
                <a:latin typeface="Verdana" panose="020B0604030504040204" pitchFamily="34" charset="0"/>
                <a:ea typeface="Verdana" panose="020B0604030504040204" pitchFamily="34" charset="0"/>
                <a:cs typeface="Verdana" panose="020B0604030504040204" pitchFamily="34" charset="0"/>
              </a:rPr>
              <a:t>Forging Leaders And Teams </a:t>
            </a:r>
            <a:br>
              <a:rPr lang="en-US" sz="1600" b="0" i="1" kern="1200" cap="none">
                <a:solidFill>
                  <a:schemeClr val="bg1"/>
                </a:solidFill>
                <a:effectLst/>
                <a:latin typeface="Verdana" panose="020B0604030504040204" pitchFamily="34" charset="0"/>
                <a:ea typeface="Verdana" panose="020B0604030504040204" pitchFamily="34" charset="0"/>
                <a:cs typeface="Verdana" panose="020B0604030504040204" pitchFamily="34" charset="0"/>
              </a:rPr>
            </a:br>
            <a:r>
              <a:rPr lang="en-US" sz="1600" b="0" i="1" kern="1200" cap="none">
                <a:solidFill>
                  <a:schemeClr val="bg1"/>
                </a:solidFill>
                <a:effectLst/>
                <a:latin typeface="Verdana" panose="020B0604030504040204" pitchFamily="34" charset="0"/>
                <a:ea typeface="Verdana" panose="020B0604030504040204" pitchFamily="34" charset="0"/>
                <a:cs typeface="Verdana" panose="020B0604030504040204" pitchFamily="34" charset="0"/>
              </a:rPr>
              <a:t>For A Complex World</a:t>
            </a:r>
          </a:p>
        </p:txBody>
      </p:sp>
      <p:cxnSp>
        <p:nvCxnSpPr>
          <p:cNvPr id="19" name="Straight Connector 18">
            <a:extLst>
              <a:ext uri="{FF2B5EF4-FFF2-40B4-BE49-F238E27FC236}">
                <a16:creationId xmlns:a16="http://schemas.microsoft.com/office/drawing/2014/main" id="{60C5068E-ED23-B748-B7CF-D09E0F6A28AE}"/>
              </a:ext>
            </a:extLst>
          </p:cNvPr>
          <p:cNvCxnSpPr/>
          <p:nvPr userDrawn="1"/>
        </p:nvCxnSpPr>
        <p:spPr>
          <a:xfrm>
            <a:off x="5560060" y="1712424"/>
            <a:ext cx="1071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0282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Divider Slide - Blue">
    <p:bg>
      <p:bgPr>
        <a:solidFill>
          <a:srgbClr val="345C87"/>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E6089A2-AA50-DC4F-BD02-60F01EBCA824}"/>
              </a:ext>
            </a:extLst>
          </p:cNvPr>
          <p:cNvPicPr>
            <a:picLocks noChangeAspect="1"/>
          </p:cNvPicPr>
          <p:nvPr/>
        </p:nvPicPr>
        <p:blipFill>
          <a:blip r:embed="rId2"/>
          <a:stretch>
            <a:fillRect/>
          </a:stretch>
        </p:blipFill>
        <p:spPr>
          <a:xfrm>
            <a:off x="0" y="0"/>
            <a:ext cx="12192000" cy="6858000"/>
          </a:xfrm>
          <a:prstGeom prst="rect">
            <a:avLst/>
          </a:prstGeom>
        </p:spPr>
      </p:pic>
      <p:sp>
        <p:nvSpPr>
          <p:cNvPr id="6" name="Title Placeholder 1">
            <a:extLst>
              <a:ext uri="{FF2B5EF4-FFF2-40B4-BE49-F238E27FC236}">
                <a16:creationId xmlns:a16="http://schemas.microsoft.com/office/drawing/2014/main" id="{8D862928-3773-D144-BAC9-A470674E72FF}"/>
              </a:ext>
            </a:extLst>
          </p:cNvPr>
          <p:cNvSpPr>
            <a:spLocks noGrp="1"/>
          </p:cNvSpPr>
          <p:nvPr>
            <p:ph type="title" hasCustomPrompt="1"/>
          </p:nvPr>
        </p:nvSpPr>
        <p:spPr>
          <a:xfrm>
            <a:off x="1700212" y="2126833"/>
            <a:ext cx="9653587" cy="2604336"/>
          </a:xfrm>
          <a:prstGeom prst="rect">
            <a:avLst/>
          </a:prstGeom>
        </p:spPr>
        <p:txBody>
          <a:bodyPr vert="horz" lIns="91440" tIns="45720" rIns="91440" bIns="45720" rtlCol="0" anchor="ctr">
            <a:normAutofit/>
          </a:bodyPr>
          <a:lstStyle>
            <a:lvl1pPr algn="l">
              <a:defRPr sz="5400">
                <a:solidFill>
                  <a:schemeClr val="bg1"/>
                </a:solidFill>
              </a:defRPr>
            </a:lvl1pPr>
          </a:lstStyle>
          <a:p>
            <a:r>
              <a:rPr lang="en-US" dirty="0"/>
              <a:t>Divider Slide</a:t>
            </a:r>
            <a:br>
              <a:rPr lang="en-US" dirty="0"/>
            </a:br>
            <a:r>
              <a:rPr lang="en-US" dirty="0"/>
              <a:t>Title Case</a:t>
            </a:r>
            <a:br>
              <a:rPr lang="en-US" dirty="0"/>
            </a:br>
            <a:r>
              <a:rPr lang="en-US" dirty="0"/>
              <a:t>Three Line Limit</a:t>
            </a:r>
          </a:p>
        </p:txBody>
      </p:sp>
      <p:cxnSp>
        <p:nvCxnSpPr>
          <p:cNvPr id="9" name="Straight Connector 8">
            <a:extLst>
              <a:ext uri="{FF2B5EF4-FFF2-40B4-BE49-F238E27FC236}">
                <a16:creationId xmlns:a16="http://schemas.microsoft.com/office/drawing/2014/main" id="{315D1593-DE91-7440-B170-643A1FCED3EA}"/>
              </a:ext>
            </a:extLst>
          </p:cNvPr>
          <p:cNvCxnSpPr>
            <a:cxnSpLocks/>
          </p:cNvCxnSpPr>
          <p:nvPr/>
        </p:nvCxnSpPr>
        <p:spPr>
          <a:xfrm>
            <a:off x="1466849" y="2126832"/>
            <a:ext cx="0" cy="2604336"/>
          </a:xfrm>
          <a:prstGeom prst="line">
            <a:avLst/>
          </a:prstGeom>
          <a:ln w="38100">
            <a:solidFill>
              <a:srgbClr val="EDB02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99782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3C90B991-4C78-A34F-955D-B1A24AB50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911"/>
            <a:ext cx="5551283" cy="6866443"/>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10852560" y="5678109"/>
            <a:ext cx="1339439" cy="1192248"/>
          </a:xfrm>
          <a:prstGeom prst="rect">
            <a:avLst/>
          </a:prstGeom>
        </p:spPr>
      </p:pic>
      <p:pic>
        <p:nvPicPr>
          <p:cNvPr id="10" name="Picture 9">
            <a:extLst>
              <a:ext uri="{FF2B5EF4-FFF2-40B4-BE49-F238E27FC236}">
                <a16:creationId xmlns:a16="http://schemas.microsoft.com/office/drawing/2014/main" id="{E659FCC1-F670-9E48-91A9-39E3BC8543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7128" y="4842930"/>
            <a:ext cx="3390900" cy="420067"/>
          </a:xfrm>
          <a:prstGeom prst="rect">
            <a:avLst/>
          </a:prstGeom>
        </p:spPr>
      </p:pic>
      <p:cxnSp>
        <p:nvCxnSpPr>
          <p:cNvPr id="11" name="Straight Connector 10">
            <a:extLst>
              <a:ext uri="{FF2B5EF4-FFF2-40B4-BE49-F238E27FC236}">
                <a16:creationId xmlns:a16="http://schemas.microsoft.com/office/drawing/2014/main" id="{29D1A1B6-948C-754A-921C-D15F802BA779}"/>
              </a:ext>
            </a:extLst>
          </p:cNvPr>
          <p:cNvCxnSpPr>
            <a:cxnSpLocks/>
          </p:cNvCxnSpPr>
          <p:nvPr userDrawn="1"/>
        </p:nvCxnSpPr>
        <p:spPr>
          <a:xfrm>
            <a:off x="9967552" y="44904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4242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3">
            <a:extLst>
              <a:ext uri="{FF2B5EF4-FFF2-40B4-BE49-F238E27FC236}">
                <a16:creationId xmlns:a16="http://schemas.microsoft.com/office/drawing/2014/main" id="{F7DC09C6-57C4-174A-9F67-5F9F3E3AB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2296" y="47287"/>
            <a:ext cx="8489703"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826558" y="1882601"/>
            <a:ext cx="9144000" cy="2387600"/>
          </a:xfrm>
        </p:spPr>
        <p:txBody>
          <a:bodyPr anchor="b"/>
          <a:lstStyle>
            <a:lvl1pPr algn="l">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586" y="5059078"/>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933586" y="4706642"/>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339439" cy="1192248"/>
          </a:xfrm>
          <a:prstGeom prst="rect">
            <a:avLst/>
          </a:prstGeom>
        </p:spPr>
      </p:pic>
    </p:spTree>
    <p:extLst>
      <p:ext uri="{BB962C8B-B14F-4D97-AF65-F5344CB8AC3E}">
        <p14:creationId xmlns:p14="http://schemas.microsoft.com/office/powerpoint/2010/main" val="40118389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pic>
        <p:nvPicPr>
          <p:cNvPr id="9" name="Google Shape;13;p2">
            <a:extLst>
              <a:ext uri="{FF2B5EF4-FFF2-40B4-BE49-F238E27FC236}">
                <a16:creationId xmlns:a16="http://schemas.microsoft.com/office/drawing/2014/main" id="{1064A63E-1B38-B041-8510-4D88FA04DD5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 y="492270"/>
            <a:ext cx="3872747" cy="5818883"/>
          </a:xfrm>
          <a:prstGeom prst="rect">
            <a:avLst/>
          </a:prstGeom>
          <a:noFill/>
          <a:ln>
            <a:noFill/>
          </a:ln>
        </p:spPr>
      </p:pic>
      <p:sp>
        <p:nvSpPr>
          <p:cNvPr id="8" name="Google Shape;14;p2">
            <a:extLst>
              <a:ext uri="{FF2B5EF4-FFF2-40B4-BE49-F238E27FC236}">
                <a16:creationId xmlns:a16="http://schemas.microsoft.com/office/drawing/2014/main" id="{D619917C-EE3E-CB48-B603-2FD9FD81D605}"/>
              </a:ext>
            </a:extLst>
          </p:cNvPr>
          <p:cNvSpPr/>
          <p:nvPr userDrawn="1"/>
        </p:nvSpPr>
        <p:spPr>
          <a:xfrm>
            <a:off x="0" y="492270"/>
            <a:ext cx="3872748" cy="5818883"/>
          </a:xfrm>
          <a:prstGeom prst="rect">
            <a:avLst/>
          </a:prstGeom>
          <a:solidFill>
            <a:srgbClr val="073763">
              <a:alpha val="36862"/>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64AC0E8C-41B9-F147-8BE8-E8FC609D7060}"/>
              </a:ext>
            </a:extLst>
          </p:cNvPr>
          <p:cNvSpPr/>
          <p:nvPr userDrawn="1"/>
        </p:nvSpPr>
        <p:spPr>
          <a:xfrm>
            <a:off x="465908" y="2045381"/>
            <a:ext cx="4360439" cy="3027599"/>
          </a:xfrm>
          <a:prstGeom prst="rect">
            <a:avLst/>
          </a:prstGeom>
          <a:solidFill>
            <a:srgbClr val="EAAA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25">
            <a:extLst>
              <a:ext uri="{FF2B5EF4-FFF2-40B4-BE49-F238E27FC236}">
                <a16:creationId xmlns:a16="http://schemas.microsoft.com/office/drawing/2014/main" id="{2B98BB86-2FD4-FC44-8246-C76FA5EF01F8}"/>
              </a:ext>
            </a:extLst>
          </p:cNvPr>
          <p:cNvSpPr>
            <a:spLocks noGrp="1"/>
          </p:cNvSpPr>
          <p:nvPr>
            <p:ph type="body" sz="quarter" idx="10" hasCustomPrompt="1"/>
          </p:nvPr>
        </p:nvSpPr>
        <p:spPr>
          <a:xfrm>
            <a:off x="6453188" y="14575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7" name="Text Placeholder 25">
            <a:extLst>
              <a:ext uri="{FF2B5EF4-FFF2-40B4-BE49-F238E27FC236}">
                <a16:creationId xmlns:a16="http://schemas.microsoft.com/office/drawing/2014/main" id="{64CA00A0-A61D-A04D-AE29-4C04CB93880D}"/>
              </a:ext>
            </a:extLst>
          </p:cNvPr>
          <p:cNvSpPr>
            <a:spLocks noGrp="1"/>
          </p:cNvSpPr>
          <p:nvPr>
            <p:ph type="body" sz="quarter" idx="11" hasCustomPrompt="1"/>
          </p:nvPr>
        </p:nvSpPr>
        <p:spPr>
          <a:xfrm>
            <a:off x="6453188" y="357401"/>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8" name="Text Placeholder 25">
            <a:extLst>
              <a:ext uri="{FF2B5EF4-FFF2-40B4-BE49-F238E27FC236}">
                <a16:creationId xmlns:a16="http://schemas.microsoft.com/office/drawing/2014/main" id="{2FDD35E2-F2C4-3442-A671-E930313BBF9D}"/>
              </a:ext>
            </a:extLst>
          </p:cNvPr>
          <p:cNvSpPr>
            <a:spLocks noGrp="1"/>
          </p:cNvSpPr>
          <p:nvPr>
            <p:ph type="body" sz="quarter" idx="12" hasCustomPrompt="1"/>
          </p:nvPr>
        </p:nvSpPr>
        <p:spPr>
          <a:xfrm>
            <a:off x="6453188" y="2543388"/>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9" name="Text Placeholder 25">
            <a:extLst>
              <a:ext uri="{FF2B5EF4-FFF2-40B4-BE49-F238E27FC236}">
                <a16:creationId xmlns:a16="http://schemas.microsoft.com/office/drawing/2014/main" id="{9DCECE56-3C01-874E-B3E1-A338BF702A65}"/>
              </a:ext>
            </a:extLst>
          </p:cNvPr>
          <p:cNvSpPr>
            <a:spLocks noGrp="1"/>
          </p:cNvSpPr>
          <p:nvPr>
            <p:ph type="body" sz="quarter" idx="13" hasCustomPrompt="1"/>
          </p:nvPr>
        </p:nvSpPr>
        <p:spPr>
          <a:xfrm>
            <a:off x="6453188" y="3657813"/>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0" name="Text Placeholder 25">
            <a:extLst>
              <a:ext uri="{FF2B5EF4-FFF2-40B4-BE49-F238E27FC236}">
                <a16:creationId xmlns:a16="http://schemas.microsoft.com/office/drawing/2014/main" id="{D327ACBD-CB9C-3F4A-B789-CC6F812C3B2A}"/>
              </a:ext>
            </a:extLst>
          </p:cNvPr>
          <p:cNvSpPr>
            <a:spLocks noGrp="1"/>
          </p:cNvSpPr>
          <p:nvPr>
            <p:ph type="body" sz="quarter" idx="14" hasCustomPrompt="1"/>
          </p:nvPr>
        </p:nvSpPr>
        <p:spPr>
          <a:xfrm>
            <a:off x="6453188" y="4729376"/>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1" name="Text Placeholder 25">
            <a:extLst>
              <a:ext uri="{FF2B5EF4-FFF2-40B4-BE49-F238E27FC236}">
                <a16:creationId xmlns:a16="http://schemas.microsoft.com/office/drawing/2014/main" id="{5C0346CF-14AF-0C48-B906-ECA66D2E5A94}"/>
              </a:ext>
            </a:extLst>
          </p:cNvPr>
          <p:cNvSpPr>
            <a:spLocks noGrp="1"/>
          </p:cNvSpPr>
          <p:nvPr>
            <p:ph type="body" sz="quarter" idx="15" hasCustomPrompt="1"/>
          </p:nvPr>
        </p:nvSpPr>
        <p:spPr>
          <a:xfrm>
            <a:off x="6453188" y="58009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2" name="TextBox 31">
            <a:extLst>
              <a:ext uri="{FF2B5EF4-FFF2-40B4-BE49-F238E27FC236}">
                <a16:creationId xmlns:a16="http://schemas.microsoft.com/office/drawing/2014/main" id="{5B00DC2F-BCE5-3249-984D-425A63B0CE5D}"/>
              </a:ext>
            </a:extLst>
          </p:cNvPr>
          <p:cNvSpPr txBox="1"/>
          <p:nvPr userDrawn="1"/>
        </p:nvSpPr>
        <p:spPr>
          <a:xfrm>
            <a:off x="1163188" y="3231878"/>
            <a:ext cx="2965877" cy="646331"/>
          </a:xfrm>
          <a:prstGeom prst="rect">
            <a:avLst/>
          </a:prstGeom>
          <a:noFill/>
        </p:spPr>
        <p:txBody>
          <a:bodyPr wrap="none" rtlCol="0">
            <a:spAutoFit/>
          </a:bodyPr>
          <a:lstStyle/>
          <a:p>
            <a:pPr algn="ctr"/>
            <a:r>
              <a:rPr lang="en-US" sz="3600" b="1" dirty="0">
                <a:solidFill>
                  <a:schemeClr val="bg1"/>
                </a:solidFill>
              </a:rPr>
              <a:t>CONTENTS</a:t>
            </a:r>
            <a:endParaRPr lang="en-US" sz="3200" b="1" dirty="0">
              <a:solidFill>
                <a:schemeClr val="bg1"/>
              </a:solidFill>
            </a:endParaRPr>
          </a:p>
        </p:txBody>
      </p:sp>
    </p:spTree>
    <p:extLst>
      <p:ext uri="{BB962C8B-B14F-4D97-AF65-F5344CB8AC3E}">
        <p14:creationId xmlns:p14="http://schemas.microsoft.com/office/powerpoint/2010/main" val="39698880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6" name="Text Placeholder 5">
            <a:extLst>
              <a:ext uri="{FF2B5EF4-FFF2-40B4-BE49-F238E27FC236}">
                <a16:creationId xmlns:a16="http://schemas.microsoft.com/office/drawing/2014/main" id="{95D6972A-F66C-624F-9CBF-BD7D7014B465}"/>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9835553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8" name="Picture 7">
            <a:extLst>
              <a:ext uri="{FF2B5EF4-FFF2-40B4-BE49-F238E27FC236}">
                <a16:creationId xmlns:a16="http://schemas.microsoft.com/office/drawing/2014/main" id="{095266BB-8EAD-064B-B14F-668F0D8600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17305591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8259479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0CF0CB9-4C05-A941-9042-8358AA0472CE}"/>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2" name="Straight Connector 11">
            <a:extLst>
              <a:ext uri="{FF2B5EF4-FFF2-40B4-BE49-F238E27FC236}">
                <a16:creationId xmlns:a16="http://schemas.microsoft.com/office/drawing/2014/main" id="{5F1EB3CD-3F73-D942-84D8-0160A389C7C8}"/>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DD27FBFA-C2D2-0B41-A252-034408E0ECF6}"/>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4" name="Picture 13">
            <a:extLst>
              <a:ext uri="{FF2B5EF4-FFF2-40B4-BE49-F238E27FC236}">
                <a16:creationId xmlns:a16="http://schemas.microsoft.com/office/drawing/2014/main" id="{98DBD175-46D1-184F-845E-3740B1816F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5056046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9"/>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1"/>
              </a:gs>
              <a:gs pos="40000">
                <a:schemeClr val="accent1">
                  <a:lumMod val="40000"/>
                  <a:lumOff val="60000"/>
                </a:schemeClr>
              </a:gs>
              <a:gs pos="48000">
                <a:schemeClr val="accent1"/>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11" name="Freeform 10"/>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3"/>
              </a:gs>
              <a:gs pos="52000">
                <a:schemeClr val="accent3">
                  <a:lumMod val="40000"/>
                  <a:lumOff val="60000"/>
                </a:schemeClr>
              </a:gs>
              <a:gs pos="66000">
                <a:schemeClr val="accent3"/>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914400" y="1535113"/>
            <a:ext cx="4876800" cy="639762"/>
          </a:xfrm>
        </p:spPr>
        <p:txBody>
          <a:bodyPr anchor="b">
            <a:normAutofit/>
          </a:bodyPr>
          <a:lstStyle>
            <a:lvl1pPr marL="0" indent="0">
              <a:buNone/>
              <a:defRPr sz="2000" b="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400800" y="1535113"/>
            <a:ext cx="4876800" cy="639762"/>
          </a:xfrm>
        </p:spPr>
        <p:txBody>
          <a:bodyPr anchor="b">
            <a:normAutofit/>
          </a:bodyPr>
          <a:lstStyle>
            <a:lvl1pPr marL="0" indent="0">
              <a:buNone/>
              <a:defRPr sz="20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Freeform 11"/>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Freeform 12"/>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Date Placeholder 6"/>
          <p:cNvSpPr>
            <a:spLocks noGrp="1"/>
          </p:cNvSpPr>
          <p:nvPr>
            <p:ph type="dt" sz="half" idx="10"/>
          </p:nvPr>
        </p:nvSpPr>
        <p:spPr/>
        <p:txBody>
          <a:bodyPr/>
          <a:lstStyle/>
          <a:p>
            <a:fld id="{C0710BA7-D226-495B-A757-165737818656}" type="datetime1">
              <a:rPr lang="en-US" smtClean="0"/>
              <a:t>10/16/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001C670-DC88-4376-AA6B-FD9548DDC9F2}" type="slidenum">
              <a:rPr lang="en-US" smtClean="0"/>
              <a:pPr/>
              <a:t>‹#›</a:t>
            </a:fld>
            <a:endParaRPr lang="en-US" dirty="0"/>
          </a:p>
        </p:txBody>
      </p:sp>
      <p:sp>
        <p:nvSpPr>
          <p:cNvPr id="15" name="Content Placeholder 14"/>
          <p:cNvSpPr>
            <a:spLocks noGrp="1"/>
          </p:cNvSpPr>
          <p:nvPr>
            <p:ph sz="quarter" idx="13"/>
          </p:nvPr>
        </p:nvSpPr>
        <p:spPr>
          <a:xfrm>
            <a:off x="914400" y="2209800"/>
            <a:ext cx="4876800" cy="3200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7" name="Content Placeholder 16"/>
          <p:cNvSpPr>
            <a:spLocks noGrp="1"/>
          </p:cNvSpPr>
          <p:nvPr>
            <p:ph sz="quarter" idx="14"/>
          </p:nvPr>
        </p:nvSpPr>
        <p:spPr>
          <a:xfrm>
            <a:off x="6400800" y="2209800"/>
            <a:ext cx="4876800" cy="3200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19165041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7" name="Title 1">
            <a:extLst>
              <a:ext uri="{FF2B5EF4-FFF2-40B4-BE49-F238E27FC236}">
                <a16:creationId xmlns:a16="http://schemas.microsoft.com/office/drawing/2014/main" id="{EE5B502E-4494-C349-9D2B-0F618DF81C8A}"/>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8" name="Straight Connector 7">
            <a:extLst>
              <a:ext uri="{FF2B5EF4-FFF2-40B4-BE49-F238E27FC236}">
                <a16:creationId xmlns:a16="http://schemas.microsoft.com/office/drawing/2014/main" id="{3BE0AA21-91D1-C144-B97C-917195C068DC}"/>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890FB86E-C8D9-B142-BFBB-BA8D2BC2DD6A}"/>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D0062E66-2E60-CE40-820C-CFBC235C1B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275967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17741622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7" name="Title 1">
            <a:extLst>
              <a:ext uri="{FF2B5EF4-FFF2-40B4-BE49-F238E27FC236}">
                <a16:creationId xmlns:a16="http://schemas.microsoft.com/office/drawing/2014/main" id="{B8074ED8-B4B0-2B44-AA89-2A2F36926D96}"/>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8" name="Straight Connector 7">
            <a:extLst>
              <a:ext uri="{FF2B5EF4-FFF2-40B4-BE49-F238E27FC236}">
                <a16:creationId xmlns:a16="http://schemas.microsoft.com/office/drawing/2014/main" id="{F2C5309D-70FF-C945-9EB3-6BA00C511FA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978F7329-B354-3844-B8E1-8C781F56D36D}"/>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34132195-6562-144C-A372-740246DFF6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21339528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_Title 1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3EF6F6A-CBCE-6E4D-AD1D-AFCD8E38B2F9}"/>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A1C3EC81-77F8-134C-A8E4-2E64BE6C41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9ABE412-5FF5-0F47-B6A8-B7F73E9800D2}"/>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2" name="Text Placeholder 11">
            <a:extLst>
              <a:ext uri="{FF2B5EF4-FFF2-40B4-BE49-F238E27FC236}">
                <a16:creationId xmlns:a16="http://schemas.microsoft.com/office/drawing/2014/main" id="{5AF221E1-88A2-8746-9DE7-82DD58467060}"/>
              </a:ext>
            </a:extLst>
          </p:cNvPr>
          <p:cNvSpPr>
            <a:spLocks noGrp="1"/>
          </p:cNvSpPr>
          <p:nvPr>
            <p:ph type="body" sz="quarter" idx="10"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4532669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3_Title 1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5"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1065149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4_Title 1 Column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B56A5-4E3B-9544-A014-4E7CBDDDF31F}"/>
              </a:ext>
            </a:extLst>
          </p:cNvPr>
          <p:cNvSpPr>
            <a:spLocks noGrp="1"/>
          </p:cNvSpPr>
          <p:nvPr>
            <p:ph sz="half" idx="1"/>
          </p:nvPr>
        </p:nvSpPr>
        <p:spPr>
          <a:xfrm>
            <a:off x="342900"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46403F0-0858-074C-B448-DB7F70F04DB4}"/>
              </a:ext>
            </a:extLst>
          </p:cNvPr>
          <p:cNvSpPr>
            <a:spLocks noGrp="1"/>
          </p:cNvSpPr>
          <p:nvPr>
            <p:ph sz="half" idx="14"/>
          </p:nvPr>
        </p:nvSpPr>
        <p:spPr>
          <a:xfrm>
            <a:off x="6215062"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7"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0658183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5_Title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Content Placeholder 2">
            <a:extLst>
              <a:ext uri="{FF2B5EF4-FFF2-40B4-BE49-F238E27FC236}">
                <a16:creationId xmlns:a16="http://schemas.microsoft.com/office/drawing/2014/main" id="{1819B0B4-A2AE-ED43-9EE2-334C7FCB047A}"/>
              </a:ext>
            </a:extLst>
          </p:cNvPr>
          <p:cNvSpPr>
            <a:spLocks noGrp="1"/>
          </p:cNvSpPr>
          <p:nvPr>
            <p:ph idx="1"/>
          </p:nvPr>
        </p:nvSpPr>
        <p:spPr>
          <a:xfrm>
            <a:off x="1143000" y="1331239"/>
            <a:ext cx="10667999" cy="4358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72141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6_Title 2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292409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330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845132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Freeform 5"/>
          <p:cNvSpPr/>
          <p:nvPr/>
        </p:nvSpPr>
        <p:spPr>
          <a:xfrm>
            <a:off x="3" y="5010154"/>
            <a:ext cx="9918700" cy="157162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Lst>
            <a:ahLst/>
            <a:cxnLst>
              <a:cxn ang="0">
                <a:pos x="connsiteX0" y="connsiteY0"/>
              </a:cxn>
              <a:cxn ang="0">
                <a:pos x="connsiteX1" y="connsiteY1"/>
              </a:cxn>
              <a:cxn ang="0">
                <a:pos x="connsiteX2" y="connsiteY2"/>
              </a:cxn>
              <a:cxn ang="0">
                <a:pos x="connsiteX3" y="connsiteY3"/>
              </a:cxn>
            </a:cxnLst>
            <a:rect l="l" t="t" r="r" b="b"/>
            <a:pathLst>
              <a:path w="7415827" h="1571625">
                <a:moveTo>
                  <a:pt x="0" y="0"/>
                </a:moveTo>
                <a:lnTo>
                  <a:pt x="7415827" y="866775"/>
                </a:lnTo>
                <a:lnTo>
                  <a:pt x="0" y="1571625"/>
                </a:lnTo>
                <a:lnTo>
                  <a:pt x="0" y="0"/>
                </a:lnTo>
                <a:close/>
              </a:path>
            </a:pathLst>
          </a:custGeom>
          <a:gradFill>
            <a:gsLst>
              <a:gs pos="0">
                <a:srgbClr val="000000"/>
              </a:gs>
              <a:gs pos="24000">
                <a:srgbClr val="333333"/>
              </a:gs>
              <a:gs pos="90000">
                <a:srgbClr val="0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Freeform 6"/>
          <p:cNvSpPr/>
          <p:nvPr/>
        </p:nvSpPr>
        <p:spPr>
          <a:xfrm>
            <a:off x="0" y="5731670"/>
            <a:ext cx="12196237" cy="1126333"/>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818007 h 1075182"/>
              <a:gd name="connsiteX1" fmla="*/ 9124990 w 9144000"/>
              <a:gd name="connsiteY1" fmla="*/ 0 h 1075182"/>
              <a:gd name="connsiteX2" fmla="*/ 9144000 w 9144000"/>
              <a:gd name="connsiteY2" fmla="*/ 1075182 h 1075182"/>
              <a:gd name="connsiteX3" fmla="*/ 0 w 9144000"/>
              <a:gd name="connsiteY3" fmla="*/ 1065657 h 1075182"/>
              <a:gd name="connsiteX4" fmla="*/ 20 w 9144000"/>
              <a:gd name="connsiteY4" fmla="*/ 818007 h 1075182"/>
              <a:gd name="connsiteX0" fmla="*/ 20 w 9124990"/>
              <a:gd name="connsiteY0" fmla="*/ 818007 h 1065657"/>
              <a:gd name="connsiteX1" fmla="*/ 9124990 w 9124990"/>
              <a:gd name="connsiteY1" fmla="*/ 0 h 1065657"/>
              <a:gd name="connsiteX2" fmla="*/ 8854092 w 9124990"/>
              <a:gd name="connsiteY2" fmla="*/ 585026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9122615 w 9124990"/>
              <a:gd name="connsiteY2" fmla="*/ 1063889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8766171 w 9124990"/>
              <a:gd name="connsiteY2" fmla="*/ 508228 h 1065657"/>
              <a:gd name="connsiteX3" fmla="*/ 0 w 9124990"/>
              <a:gd name="connsiteY3" fmla="*/ 1065657 h 1065657"/>
              <a:gd name="connsiteX4" fmla="*/ 20 w 9124990"/>
              <a:gd name="connsiteY4" fmla="*/ 818007 h 1065657"/>
              <a:gd name="connsiteX0" fmla="*/ 20 w 9128161"/>
              <a:gd name="connsiteY0" fmla="*/ 818007 h 1068407"/>
              <a:gd name="connsiteX1" fmla="*/ 9124990 w 9128161"/>
              <a:gd name="connsiteY1" fmla="*/ 0 h 1068407"/>
              <a:gd name="connsiteX2" fmla="*/ 9127369 w 9128161"/>
              <a:gd name="connsiteY2" fmla="*/ 1068407 h 1068407"/>
              <a:gd name="connsiteX3" fmla="*/ 0 w 9128161"/>
              <a:gd name="connsiteY3" fmla="*/ 1065657 h 1068407"/>
              <a:gd name="connsiteX4" fmla="*/ 20 w 9128161"/>
              <a:gd name="connsiteY4" fmla="*/ 818007 h 106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8161" h="1068407">
                <a:moveTo>
                  <a:pt x="20" y="818007"/>
                </a:moveTo>
                <a:lnTo>
                  <a:pt x="9124990" y="0"/>
                </a:lnTo>
                <a:cubicBezTo>
                  <a:pt x="9124198" y="354630"/>
                  <a:pt x="9128161" y="713777"/>
                  <a:pt x="9127369" y="1068407"/>
                </a:cubicBezTo>
                <a:lnTo>
                  <a:pt x="0" y="1065657"/>
                </a:lnTo>
                <a:cubicBezTo>
                  <a:pt x="7" y="983107"/>
                  <a:pt x="13" y="900557"/>
                  <a:pt x="20" y="818007"/>
                </a:cubicBezTo>
                <a:close/>
              </a:path>
            </a:pathLst>
          </a:custGeom>
          <a:gradFill>
            <a:gsLst>
              <a:gs pos="39000">
                <a:schemeClr val="accent1"/>
              </a:gs>
              <a:gs pos="50000">
                <a:schemeClr val="accent1">
                  <a:lumMod val="40000"/>
                  <a:lumOff val="60000"/>
                </a:schemeClr>
              </a:gs>
              <a:gs pos="58000">
                <a:schemeClr val="accent1"/>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8" name="Freeform 7"/>
          <p:cNvSpPr/>
          <p:nvPr/>
        </p:nvSpPr>
        <p:spPr>
          <a:xfrm>
            <a:off x="2" y="4973413"/>
            <a:ext cx="10233156" cy="928299"/>
          </a:xfrm>
          <a:custGeom>
            <a:avLst/>
            <a:gdLst>
              <a:gd name="connsiteX0" fmla="*/ 0 w 7548466"/>
              <a:gd name="connsiteY0" fmla="*/ 0 h 933061"/>
              <a:gd name="connsiteX1" fmla="*/ 9331 w 7548466"/>
              <a:gd name="connsiteY1" fmla="*/ 65314 h 933061"/>
              <a:gd name="connsiteX2" fmla="*/ 7221894 w 7548466"/>
              <a:gd name="connsiteY2" fmla="*/ 933061 h 933061"/>
              <a:gd name="connsiteX3" fmla="*/ 7548466 w 7548466"/>
              <a:gd name="connsiteY3" fmla="*/ 914400 h 933061"/>
              <a:gd name="connsiteX4" fmla="*/ 0 w 7548466"/>
              <a:gd name="connsiteY4" fmla="*/ 0 h 933061"/>
              <a:gd name="connsiteX0" fmla="*/ 131163 w 7539135"/>
              <a:gd name="connsiteY0" fmla="*/ 0 h 1042598"/>
              <a:gd name="connsiteX1" fmla="*/ 0 w 7539135"/>
              <a:gd name="connsiteY1" fmla="*/ 174851 h 1042598"/>
              <a:gd name="connsiteX2" fmla="*/ 7212563 w 7539135"/>
              <a:gd name="connsiteY2" fmla="*/ 1042598 h 1042598"/>
              <a:gd name="connsiteX3" fmla="*/ 7539135 w 7539135"/>
              <a:gd name="connsiteY3" fmla="*/ 1023937 h 1042598"/>
              <a:gd name="connsiteX4" fmla="*/ 131163 w 7539135"/>
              <a:gd name="connsiteY4" fmla="*/ 0 h 1042598"/>
              <a:gd name="connsiteX0" fmla="*/ 0 w 7407972"/>
              <a:gd name="connsiteY0" fmla="*/ 0 h 1042598"/>
              <a:gd name="connsiteX1" fmla="*/ 85531 w 7407972"/>
              <a:gd name="connsiteY1" fmla="*/ 134370 h 1042598"/>
              <a:gd name="connsiteX2" fmla="*/ 7081400 w 7407972"/>
              <a:gd name="connsiteY2" fmla="*/ 1042598 h 1042598"/>
              <a:gd name="connsiteX3" fmla="*/ 7407972 w 7407972"/>
              <a:gd name="connsiteY3" fmla="*/ 1023937 h 1042598"/>
              <a:gd name="connsiteX4" fmla="*/ 0 w 7407972"/>
              <a:gd name="connsiteY4" fmla="*/ 0 h 1042598"/>
              <a:gd name="connsiteX0" fmla="*/ 131163 w 7539135"/>
              <a:gd name="connsiteY0" fmla="*/ 0 h 1042598"/>
              <a:gd name="connsiteX1" fmla="*/ 0 w 7539135"/>
              <a:gd name="connsiteY1" fmla="*/ 193902 h 1042598"/>
              <a:gd name="connsiteX2" fmla="*/ 7212563 w 7539135"/>
              <a:gd name="connsiteY2" fmla="*/ 1042598 h 1042598"/>
              <a:gd name="connsiteX3" fmla="*/ 7539135 w 7539135"/>
              <a:gd name="connsiteY3" fmla="*/ 1023937 h 1042598"/>
              <a:gd name="connsiteX4" fmla="*/ 131163 w 7539135"/>
              <a:gd name="connsiteY4" fmla="*/ 0 h 1042598"/>
              <a:gd name="connsiteX0" fmla="*/ 59725 w 7539135"/>
              <a:gd name="connsiteY0" fmla="*/ 0 h 892580"/>
              <a:gd name="connsiteX1" fmla="*/ 0 w 7539135"/>
              <a:gd name="connsiteY1" fmla="*/ 43884 h 892580"/>
              <a:gd name="connsiteX2" fmla="*/ 7212563 w 7539135"/>
              <a:gd name="connsiteY2" fmla="*/ 892580 h 892580"/>
              <a:gd name="connsiteX3" fmla="*/ 7539135 w 7539135"/>
              <a:gd name="connsiteY3" fmla="*/ 873919 h 892580"/>
              <a:gd name="connsiteX4" fmla="*/ 59725 w 7539135"/>
              <a:gd name="connsiteY4" fmla="*/ 0 h 892580"/>
              <a:gd name="connsiteX0" fmla="*/ 194 w 7539135"/>
              <a:gd name="connsiteY0" fmla="*/ 0 h 923536"/>
              <a:gd name="connsiteX1" fmla="*/ 0 w 7539135"/>
              <a:gd name="connsiteY1" fmla="*/ 74840 h 923536"/>
              <a:gd name="connsiteX2" fmla="*/ 7212563 w 7539135"/>
              <a:gd name="connsiteY2" fmla="*/ 923536 h 923536"/>
              <a:gd name="connsiteX3" fmla="*/ 7539135 w 7539135"/>
              <a:gd name="connsiteY3" fmla="*/ 904875 h 923536"/>
              <a:gd name="connsiteX4" fmla="*/ 194 w 7539135"/>
              <a:gd name="connsiteY4" fmla="*/ 0 h 923536"/>
              <a:gd name="connsiteX0" fmla="*/ 194 w 7539135"/>
              <a:gd name="connsiteY0" fmla="*/ 0 h 904875"/>
              <a:gd name="connsiteX1" fmla="*/ 0 w 7539135"/>
              <a:gd name="connsiteY1" fmla="*/ 74840 h 904875"/>
              <a:gd name="connsiteX2" fmla="*/ 7212563 w 7539135"/>
              <a:gd name="connsiteY2" fmla="*/ 883055 h 904875"/>
              <a:gd name="connsiteX3" fmla="*/ 7539135 w 7539135"/>
              <a:gd name="connsiteY3" fmla="*/ 904875 h 904875"/>
              <a:gd name="connsiteX4" fmla="*/ 194 w 7539135"/>
              <a:gd name="connsiteY4" fmla="*/ 0 h 904875"/>
              <a:gd name="connsiteX0" fmla="*/ 194 w 7703442"/>
              <a:gd name="connsiteY0" fmla="*/ 0 h 1016794"/>
              <a:gd name="connsiteX1" fmla="*/ 0 w 7703442"/>
              <a:gd name="connsiteY1" fmla="*/ 74840 h 1016794"/>
              <a:gd name="connsiteX2" fmla="*/ 7212563 w 7703442"/>
              <a:gd name="connsiteY2" fmla="*/ 883055 h 1016794"/>
              <a:gd name="connsiteX3" fmla="*/ 7703442 w 7703442"/>
              <a:gd name="connsiteY3" fmla="*/ 1016794 h 1016794"/>
              <a:gd name="connsiteX4" fmla="*/ 194 w 7703442"/>
              <a:gd name="connsiteY4" fmla="*/ 0 h 1016794"/>
              <a:gd name="connsiteX0" fmla="*/ 194 w 7674867"/>
              <a:gd name="connsiteY0" fmla="*/ 0 h 897731"/>
              <a:gd name="connsiteX1" fmla="*/ 0 w 7674867"/>
              <a:gd name="connsiteY1" fmla="*/ 74840 h 897731"/>
              <a:gd name="connsiteX2" fmla="*/ 7212563 w 7674867"/>
              <a:gd name="connsiteY2" fmla="*/ 883055 h 897731"/>
              <a:gd name="connsiteX3" fmla="*/ 7674867 w 7674867"/>
              <a:gd name="connsiteY3" fmla="*/ 897731 h 897731"/>
              <a:gd name="connsiteX4" fmla="*/ 194 w 7674867"/>
              <a:gd name="connsiteY4" fmla="*/ 0 h 897731"/>
              <a:gd name="connsiteX0" fmla="*/ 194 w 7674867"/>
              <a:gd name="connsiteY0" fmla="*/ 0 h 930680"/>
              <a:gd name="connsiteX1" fmla="*/ 0 w 7674867"/>
              <a:gd name="connsiteY1" fmla="*/ 74840 h 930680"/>
              <a:gd name="connsiteX2" fmla="*/ 7293526 w 7674867"/>
              <a:gd name="connsiteY2" fmla="*/ 930680 h 930680"/>
              <a:gd name="connsiteX3" fmla="*/ 7674867 w 7674867"/>
              <a:gd name="connsiteY3" fmla="*/ 897731 h 930680"/>
              <a:gd name="connsiteX4" fmla="*/ 194 w 7674867"/>
              <a:gd name="connsiteY4" fmla="*/ 0 h 930680"/>
              <a:gd name="connsiteX0" fmla="*/ 194 w 7674867"/>
              <a:gd name="connsiteY0" fmla="*/ 0 h 897731"/>
              <a:gd name="connsiteX1" fmla="*/ 0 w 7674867"/>
              <a:gd name="connsiteY1" fmla="*/ 74840 h 897731"/>
              <a:gd name="connsiteX2" fmla="*/ 7293526 w 7674867"/>
              <a:gd name="connsiteY2" fmla="*/ 894961 h 897731"/>
              <a:gd name="connsiteX3" fmla="*/ 7674867 w 7674867"/>
              <a:gd name="connsiteY3" fmla="*/ 897731 h 897731"/>
              <a:gd name="connsiteX4" fmla="*/ 194 w 7674867"/>
              <a:gd name="connsiteY4" fmla="*/ 0 h 897731"/>
              <a:gd name="connsiteX0" fmla="*/ 194 w 7674867"/>
              <a:gd name="connsiteY0" fmla="*/ 0 h 897731"/>
              <a:gd name="connsiteX1" fmla="*/ 0 w 7674867"/>
              <a:gd name="connsiteY1" fmla="*/ 74840 h 897731"/>
              <a:gd name="connsiteX2" fmla="*/ 7238758 w 7674867"/>
              <a:gd name="connsiteY2" fmla="*/ 894961 h 897731"/>
              <a:gd name="connsiteX3" fmla="*/ 7674867 w 7674867"/>
              <a:gd name="connsiteY3" fmla="*/ 897731 h 897731"/>
              <a:gd name="connsiteX4" fmla="*/ 194 w 7674867"/>
              <a:gd name="connsiteY4" fmla="*/ 0 h 897731"/>
              <a:gd name="connsiteX0" fmla="*/ 194 w 7674867"/>
              <a:gd name="connsiteY0" fmla="*/ 0 h 897731"/>
              <a:gd name="connsiteX1" fmla="*/ 0 w 7674867"/>
              <a:gd name="connsiteY1" fmla="*/ 74840 h 897731"/>
              <a:gd name="connsiteX2" fmla="*/ 7298289 w 7674867"/>
              <a:gd name="connsiteY2" fmla="*/ 661599 h 897731"/>
              <a:gd name="connsiteX3" fmla="*/ 7674867 w 7674867"/>
              <a:gd name="connsiteY3" fmla="*/ 897731 h 897731"/>
              <a:gd name="connsiteX4" fmla="*/ 194 w 7674867"/>
              <a:gd name="connsiteY4" fmla="*/ 0 h 897731"/>
              <a:gd name="connsiteX0" fmla="*/ 194 w 7674867"/>
              <a:gd name="connsiteY0" fmla="*/ 0 h 928299"/>
              <a:gd name="connsiteX1" fmla="*/ 0 w 7674867"/>
              <a:gd name="connsiteY1" fmla="*/ 74840 h 928299"/>
              <a:gd name="connsiteX2" fmla="*/ 7298289 w 7674867"/>
              <a:gd name="connsiteY2" fmla="*/ 928299 h 928299"/>
              <a:gd name="connsiteX3" fmla="*/ 7674867 w 7674867"/>
              <a:gd name="connsiteY3" fmla="*/ 897731 h 928299"/>
              <a:gd name="connsiteX4" fmla="*/ 194 w 7674867"/>
              <a:gd name="connsiteY4" fmla="*/ 0 h 928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4867" h="928299">
                <a:moveTo>
                  <a:pt x="194" y="0"/>
                </a:moveTo>
                <a:cubicBezTo>
                  <a:pt x="129" y="24947"/>
                  <a:pt x="65" y="49893"/>
                  <a:pt x="0" y="74840"/>
                </a:cubicBezTo>
                <a:lnTo>
                  <a:pt x="7298289" y="928299"/>
                </a:lnTo>
                <a:lnTo>
                  <a:pt x="7674867" y="897731"/>
                </a:lnTo>
                <a:lnTo>
                  <a:pt x="194"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p:nvSpPr>
        <p:spPr>
          <a:xfrm>
            <a:off x="-3176" y="5696242"/>
            <a:ext cx="12195176" cy="930294"/>
          </a:xfrm>
          <a:custGeom>
            <a:avLst/>
            <a:gdLst>
              <a:gd name="connsiteX0" fmla="*/ 9153331 w 9153331"/>
              <a:gd name="connsiteY0" fmla="*/ 0 h 951723"/>
              <a:gd name="connsiteX1" fmla="*/ 0 w 9153331"/>
              <a:gd name="connsiteY1" fmla="*/ 867747 h 951723"/>
              <a:gd name="connsiteX2" fmla="*/ 0 w 9153331"/>
              <a:gd name="connsiteY2" fmla="*/ 951723 h 951723"/>
              <a:gd name="connsiteX3" fmla="*/ 9153331 w 9153331"/>
              <a:gd name="connsiteY3" fmla="*/ 83976 h 951723"/>
              <a:gd name="connsiteX4" fmla="*/ 9153331 w 9153331"/>
              <a:gd name="connsiteY4" fmla="*/ 0 h 951723"/>
              <a:gd name="connsiteX0" fmla="*/ 9153331 w 9153331"/>
              <a:gd name="connsiteY0" fmla="*/ 0 h 951723"/>
              <a:gd name="connsiteX1" fmla="*/ 107265 w 9153331"/>
              <a:gd name="connsiteY1" fmla="*/ 901085 h 951723"/>
              <a:gd name="connsiteX2" fmla="*/ 0 w 9153331"/>
              <a:gd name="connsiteY2" fmla="*/ 951723 h 951723"/>
              <a:gd name="connsiteX3" fmla="*/ 9153331 w 9153331"/>
              <a:gd name="connsiteY3" fmla="*/ 83976 h 951723"/>
              <a:gd name="connsiteX4" fmla="*/ 9153331 w 9153331"/>
              <a:gd name="connsiteY4" fmla="*/ 0 h 951723"/>
              <a:gd name="connsiteX0" fmla="*/ 9155715 w 9155715"/>
              <a:gd name="connsiteY0" fmla="*/ 0 h 951723"/>
              <a:gd name="connsiteX1" fmla="*/ 0 w 9155715"/>
              <a:gd name="connsiteY1" fmla="*/ 865366 h 951723"/>
              <a:gd name="connsiteX2" fmla="*/ 2384 w 9155715"/>
              <a:gd name="connsiteY2" fmla="*/ 951723 h 951723"/>
              <a:gd name="connsiteX3" fmla="*/ 9155715 w 9155715"/>
              <a:gd name="connsiteY3" fmla="*/ 83976 h 951723"/>
              <a:gd name="connsiteX4" fmla="*/ 9155715 w 9155715"/>
              <a:gd name="connsiteY4" fmla="*/ 0 h 951723"/>
              <a:gd name="connsiteX0" fmla="*/ 9155715 w 9155715"/>
              <a:gd name="connsiteY0" fmla="*/ 0 h 894573"/>
              <a:gd name="connsiteX1" fmla="*/ 0 w 9155715"/>
              <a:gd name="connsiteY1" fmla="*/ 865366 h 894573"/>
              <a:gd name="connsiteX2" fmla="*/ 197847 w 9155715"/>
              <a:gd name="connsiteY2" fmla="*/ 894573 h 894573"/>
              <a:gd name="connsiteX3" fmla="*/ 9155715 w 9155715"/>
              <a:gd name="connsiteY3" fmla="*/ 83976 h 894573"/>
              <a:gd name="connsiteX4" fmla="*/ 9155715 w 9155715"/>
              <a:gd name="connsiteY4" fmla="*/ 0 h 894573"/>
              <a:gd name="connsiteX0" fmla="*/ 9155715 w 9155715"/>
              <a:gd name="connsiteY0" fmla="*/ 0 h 946961"/>
              <a:gd name="connsiteX1" fmla="*/ 0 w 9155715"/>
              <a:gd name="connsiteY1" fmla="*/ 865366 h 946961"/>
              <a:gd name="connsiteX2" fmla="*/ 4768 w 9155715"/>
              <a:gd name="connsiteY2" fmla="*/ 946961 h 946961"/>
              <a:gd name="connsiteX3" fmla="*/ 9155715 w 9155715"/>
              <a:gd name="connsiteY3" fmla="*/ 83976 h 946961"/>
              <a:gd name="connsiteX4" fmla="*/ 9155715 w 9155715"/>
              <a:gd name="connsiteY4" fmla="*/ 0 h 946961"/>
              <a:gd name="connsiteX0" fmla="*/ 9155715 w 9155715"/>
              <a:gd name="connsiteY0" fmla="*/ 0 h 894574"/>
              <a:gd name="connsiteX1" fmla="*/ 0 w 9155715"/>
              <a:gd name="connsiteY1" fmla="*/ 865366 h 894574"/>
              <a:gd name="connsiteX2" fmla="*/ 97732 w 9155715"/>
              <a:gd name="connsiteY2" fmla="*/ 894574 h 894574"/>
              <a:gd name="connsiteX3" fmla="*/ 9155715 w 9155715"/>
              <a:gd name="connsiteY3" fmla="*/ 83976 h 894574"/>
              <a:gd name="connsiteX4" fmla="*/ 9155715 w 9155715"/>
              <a:gd name="connsiteY4" fmla="*/ 0 h 894574"/>
              <a:gd name="connsiteX0" fmla="*/ 9155715 w 9155715"/>
              <a:gd name="connsiteY0" fmla="*/ 0 h 939818"/>
              <a:gd name="connsiteX1" fmla="*/ 0 w 9155715"/>
              <a:gd name="connsiteY1" fmla="*/ 865366 h 939818"/>
              <a:gd name="connsiteX2" fmla="*/ 2384 w 9155715"/>
              <a:gd name="connsiteY2" fmla="*/ 939818 h 939818"/>
              <a:gd name="connsiteX3" fmla="*/ 9155715 w 9155715"/>
              <a:gd name="connsiteY3" fmla="*/ 83976 h 939818"/>
              <a:gd name="connsiteX4" fmla="*/ 9155715 w 9155715"/>
              <a:gd name="connsiteY4" fmla="*/ 0 h 939818"/>
              <a:gd name="connsiteX0" fmla="*/ 9015078 w 9155715"/>
              <a:gd name="connsiteY0" fmla="*/ 0 h 873143"/>
              <a:gd name="connsiteX1" fmla="*/ 0 w 9155715"/>
              <a:gd name="connsiteY1" fmla="*/ 798691 h 873143"/>
              <a:gd name="connsiteX2" fmla="*/ 2384 w 9155715"/>
              <a:gd name="connsiteY2" fmla="*/ 873143 h 873143"/>
              <a:gd name="connsiteX3" fmla="*/ 9155715 w 9155715"/>
              <a:gd name="connsiteY3" fmla="*/ 17301 h 873143"/>
              <a:gd name="connsiteX4" fmla="*/ 9015078 w 9155715"/>
              <a:gd name="connsiteY4" fmla="*/ 0 h 873143"/>
              <a:gd name="connsiteX0" fmla="*/ 9160482 w 9160482"/>
              <a:gd name="connsiteY0" fmla="*/ 0 h 930293"/>
              <a:gd name="connsiteX1" fmla="*/ 0 w 9160482"/>
              <a:gd name="connsiteY1" fmla="*/ 855841 h 930293"/>
              <a:gd name="connsiteX2" fmla="*/ 2384 w 9160482"/>
              <a:gd name="connsiteY2" fmla="*/ 930293 h 930293"/>
              <a:gd name="connsiteX3" fmla="*/ 9155715 w 9160482"/>
              <a:gd name="connsiteY3" fmla="*/ 74451 h 930293"/>
              <a:gd name="connsiteX4" fmla="*/ 9160482 w 9160482"/>
              <a:gd name="connsiteY4" fmla="*/ 0 h 930293"/>
              <a:gd name="connsiteX0" fmla="*/ 9072286 w 9155715"/>
              <a:gd name="connsiteY0" fmla="*/ 0 h 885050"/>
              <a:gd name="connsiteX1" fmla="*/ 0 w 9155715"/>
              <a:gd name="connsiteY1" fmla="*/ 810598 h 885050"/>
              <a:gd name="connsiteX2" fmla="*/ 2384 w 9155715"/>
              <a:gd name="connsiteY2" fmla="*/ 885050 h 885050"/>
              <a:gd name="connsiteX3" fmla="*/ 9155715 w 9155715"/>
              <a:gd name="connsiteY3" fmla="*/ 29208 h 885050"/>
              <a:gd name="connsiteX4" fmla="*/ 9072286 w 9155715"/>
              <a:gd name="connsiteY4" fmla="*/ 0 h 885050"/>
              <a:gd name="connsiteX0" fmla="*/ 9155715 w 9155715"/>
              <a:gd name="connsiteY0" fmla="*/ 0 h 930294"/>
              <a:gd name="connsiteX1" fmla="*/ 0 w 9155715"/>
              <a:gd name="connsiteY1" fmla="*/ 855842 h 930294"/>
              <a:gd name="connsiteX2" fmla="*/ 2384 w 9155715"/>
              <a:gd name="connsiteY2" fmla="*/ 930294 h 930294"/>
              <a:gd name="connsiteX3" fmla="*/ 9155715 w 9155715"/>
              <a:gd name="connsiteY3" fmla="*/ 74452 h 930294"/>
              <a:gd name="connsiteX4" fmla="*/ 9155715 w 9155715"/>
              <a:gd name="connsiteY4" fmla="*/ 0 h 93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5715" h="930294">
                <a:moveTo>
                  <a:pt x="9155715" y="0"/>
                </a:moveTo>
                <a:lnTo>
                  <a:pt x="0" y="855842"/>
                </a:lnTo>
                <a:cubicBezTo>
                  <a:pt x="795" y="884628"/>
                  <a:pt x="1589" y="901508"/>
                  <a:pt x="2384" y="930294"/>
                </a:cubicBezTo>
                <a:lnTo>
                  <a:pt x="9155715" y="74452"/>
                </a:lnTo>
                <a:lnTo>
                  <a:pt x="9155715"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Date Placeholder 2"/>
          <p:cNvSpPr>
            <a:spLocks noGrp="1"/>
          </p:cNvSpPr>
          <p:nvPr>
            <p:ph type="dt" sz="half" idx="10"/>
          </p:nvPr>
        </p:nvSpPr>
        <p:spPr/>
        <p:txBody>
          <a:bodyPr/>
          <a:lstStyle/>
          <a:p>
            <a:fld id="{66FCA505-BFAD-447C-A6C0-75872D0FB81E}" type="datetime1">
              <a:rPr lang="en-US" smtClean="0"/>
              <a:t>10/16/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8_Title 3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3"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18880748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9_Title 3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5905615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0_Title 3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2277224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1_Title 3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1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6"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18069577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2_Title 3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133491" y="1168059"/>
            <a:ext cx="0" cy="5319619"/>
          </a:xfrm>
          <a:prstGeom prst="straightConnector1">
            <a:avLst/>
          </a:prstGeom>
          <a:noFill/>
          <a:ln w="9525"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37671" y="1168059"/>
            <a:ext cx="0" cy="5319619"/>
          </a:xfrm>
          <a:prstGeom prst="straightConnector1">
            <a:avLst/>
          </a:prstGeom>
          <a:noFill/>
          <a:ln w="9525"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2" y="1214438"/>
            <a:ext cx="363088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7"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53872"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5378070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3_Title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8" name="Rectangle 7">
            <a:extLst>
              <a:ext uri="{FF2B5EF4-FFF2-40B4-BE49-F238E27FC236}">
                <a16:creationId xmlns:a16="http://schemas.microsoft.com/office/drawing/2014/main" id="{DB2DCEF8-48BE-0544-90D9-4DF3E5E3BD2C}"/>
              </a:ext>
            </a:extLst>
          </p:cNvPr>
          <p:cNvSpPr/>
          <p:nvPr userDrawn="1"/>
        </p:nvSpPr>
        <p:spPr>
          <a:xfrm>
            <a:off x="6149776" y="0"/>
            <a:ext cx="3013968" cy="675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DC1D01D2-2FAA-5849-A9A6-E74D711A35FE}"/>
              </a:ext>
            </a:extLst>
          </p:cNvPr>
          <p:cNvSpPr>
            <a:spLocks noGrp="1"/>
          </p:cNvSpPr>
          <p:nvPr>
            <p:ph sz="half" idx="1"/>
          </p:nvPr>
        </p:nvSpPr>
        <p:spPr>
          <a:xfrm>
            <a:off x="9391561" y="1214438"/>
            <a:ext cx="2410386"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A0DD0521-9E0F-9D44-8E2D-F32C3E84CBC3}"/>
              </a:ext>
            </a:extLst>
          </p:cNvPr>
          <p:cNvSpPr>
            <a:spLocks noGrp="1"/>
          </p:cNvSpPr>
          <p:nvPr>
            <p:ph sz="half" idx="14"/>
          </p:nvPr>
        </p:nvSpPr>
        <p:spPr>
          <a:xfrm>
            <a:off x="3458371"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90030233-4432-A644-849F-291EF6BC0893}"/>
              </a:ext>
            </a:extLst>
          </p:cNvPr>
          <p:cNvSpPr>
            <a:spLocks noGrp="1"/>
          </p:cNvSpPr>
          <p:nvPr>
            <p:ph sz="half" idx="15"/>
          </p:nvPr>
        </p:nvSpPr>
        <p:spPr>
          <a:xfrm>
            <a:off x="6453796"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4374767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4 Title 4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34105318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5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78858A-98C2-CF43-9793-6C1DDA72EC9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19D351D2-BF5D-E748-B038-FA39B436980E}"/>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24638845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6_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CC5DD53-6762-0344-A27C-11C21E7A59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pic>
        <p:nvPicPr>
          <p:cNvPr id="4" name="Picture 3">
            <a:extLst>
              <a:ext uri="{FF2B5EF4-FFF2-40B4-BE49-F238E27FC236}">
                <a16:creationId xmlns:a16="http://schemas.microsoft.com/office/drawing/2014/main" id="{7B78573B-03F7-7C48-A4AF-C392C7716F79}"/>
              </a:ext>
            </a:extLst>
          </p:cNvPr>
          <p:cNvPicPr>
            <a:picLocks noChangeAspect="1"/>
          </p:cNvPicPr>
          <p:nvPr userDrawn="1"/>
        </p:nvPicPr>
        <p:blipFill>
          <a:blip r:embed="rId3"/>
          <a:stretch>
            <a:fillRect/>
          </a:stretch>
        </p:blipFill>
        <p:spPr>
          <a:xfrm>
            <a:off x="1175326" y="1265118"/>
            <a:ext cx="505746" cy="356616"/>
          </a:xfrm>
          <a:prstGeom prst="rect">
            <a:avLst/>
          </a:prstGeom>
        </p:spPr>
      </p:pic>
      <p:sp>
        <p:nvSpPr>
          <p:cNvPr id="7" name="Text Placeholder 6">
            <a:extLst>
              <a:ext uri="{FF2B5EF4-FFF2-40B4-BE49-F238E27FC236}">
                <a16:creationId xmlns:a16="http://schemas.microsoft.com/office/drawing/2014/main" id="{99D2F255-36C0-7342-8970-9BCE174DF1EB}"/>
              </a:ext>
            </a:extLst>
          </p:cNvPr>
          <p:cNvSpPr>
            <a:spLocks noGrp="1"/>
          </p:cNvSpPr>
          <p:nvPr>
            <p:ph type="body" sz="quarter" idx="10" hasCustomPrompt="1"/>
          </p:nvPr>
        </p:nvSpPr>
        <p:spPr>
          <a:xfrm>
            <a:off x="1897063" y="1272936"/>
            <a:ext cx="7907337" cy="4170482"/>
          </a:xfrm>
        </p:spPr>
        <p:txBody>
          <a:bodyPr/>
          <a:lstStyle>
            <a:lvl1pPr marL="0" indent="0">
              <a:buNone/>
              <a:defRPr sz="2400">
                <a:solidFill>
                  <a:schemeClr val="bg1"/>
                </a:solidFill>
              </a:defRPr>
            </a:lvl1pPr>
          </a:lstStyle>
          <a:p>
            <a:pPr>
              <a:spcAft>
                <a:spcPts val="600"/>
              </a:spcAft>
            </a:pPr>
            <a:r>
              <a:rPr lang="en-US" sz="2400" i="1">
                <a:solidFill>
                  <a:schemeClr val="bg1"/>
                </a:solidFill>
                <a:latin typeface="Verdana" panose="020B0604030504040204" pitchFamily="34" charset="0"/>
                <a:ea typeface="Verdana" panose="020B0604030504040204" pitchFamily="34" charset="0"/>
                <a:cs typeface="Verdana" panose="020B0604030504040204" pitchFamily="34" charset="0"/>
              </a:rPr>
              <a:t>Our partnership with McChrystal Group has been nothing less than transformational for the company and shareholders have been rewarded with significant value creation.</a:t>
            </a:r>
          </a:p>
          <a:p>
            <a:pPr>
              <a:spcAft>
                <a:spcPts val="600"/>
              </a:spcAft>
            </a:pPr>
            <a:r>
              <a:rPr lang="en-US" sz="1600">
                <a:solidFill>
                  <a:schemeClr val="bg1"/>
                </a:solidFill>
                <a:latin typeface="Verdana" panose="020B0604030504040204" pitchFamily="34" charset="0"/>
                <a:ea typeface="Verdana" panose="020B0604030504040204" pitchFamily="34" charset="0"/>
                <a:cs typeface="Verdana" panose="020B0604030504040204" pitchFamily="34" charset="0"/>
              </a:rPr>
              <a:t>- President + Chief Operating Officer</a:t>
            </a:r>
          </a:p>
        </p:txBody>
      </p:sp>
      <p:pic>
        <p:nvPicPr>
          <p:cNvPr id="8" name="Picture 7">
            <a:extLst>
              <a:ext uri="{FF2B5EF4-FFF2-40B4-BE49-F238E27FC236}">
                <a16:creationId xmlns:a16="http://schemas.microsoft.com/office/drawing/2014/main" id="{0325362F-CFCB-7F4A-91E1-D08F09E7E533}"/>
              </a:ext>
            </a:extLst>
          </p:cNvPr>
          <p:cNvPicPr>
            <a:picLocks noChangeAspect="1"/>
          </p:cNvPicPr>
          <p:nvPr userDrawn="1"/>
        </p:nvPicPr>
        <p:blipFill>
          <a:blip r:embed="rId4"/>
          <a:stretch>
            <a:fillRect/>
          </a:stretch>
        </p:blipFill>
        <p:spPr>
          <a:xfrm>
            <a:off x="0" y="6752492"/>
            <a:ext cx="12192000" cy="119576"/>
          </a:xfrm>
          <a:prstGeom prst="rect">
            <a:avLst/>
          </a:prstGeom>
        </p:spPr>
      </p:pic>
    </p:spTree>
    <p:extLst>
      <p:ext uri="{BB962C8B-B14F-4D97-AF65-F5344CB8AC3E}">
        <p14:creationId xmlns:p14="http://schemas.microsoft.com/office/powerpoint/2010/main" val="17926999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7_Copy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1D918F-1987-794A-A0FB-C2F4ACF8B5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28788" cy="3241478"/>
          </a:xfrm>
          <a:prstGeom prst="rect">
            <a:avLst/>
          </a:prstGeom>
        </p:spPr>
      </p:pic>
      <p:sp>
        <p:nvSpPr>
          <p:cNvPr id="5" name="Rectangle 4">
            <a:extLst>
              <a:ext uri="{FF2B5EF4-FFF2-40B4-BE49-F238E27FC236}">
                <a16:creationId xmlns:a16="http://schemas.microsoft.com/office/drawing/2014/main" id="{406AF0BF-96B6-9345-9EE4-663E8A08295C}"/>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6E8FF114-C77A-5141-9305-03B3196A99E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59103" y="2914649"/>
            <a:ext cx="2332896" cy="3965923"/>
          </a:xfrm>
          <a:prstGeom prst="rect">
            <a:avLst/>
          </a:prstGeom>
        </p:spPr>
      </p:pic>
      <p:pic>
        <p:nvPicPr>
          <p:cNvPr id="8" name="Picture 7">
            <a:extLst>
              <a:ext uri="{FF2B5EF4-FFF2-40B4-BE49-F238E27FC236}">
                <a16:creationId xmlns:a16="http://schemas.microsoft.com/office/drawing/2014/main" id="{560BC66C-6DFD-444B-B3EE-986FA761A5FA}"/>
              </a:ext>
            </a:extLst>
          </p:cNvPr>
          <p:cNvPicPr>
            <a:picLocks noChangeAspect="1"/>
          </p:cNvPicPr>
          <p:nvPr userDrawn="1"/>
        </p:nvPicPr>
        <p:blipFill>
          <a:blip r:embed="rId4"/>
          <a:stretch>
            <a:fillRect/>
          </a:stretch>
        </p:blipFill>
        <p:spPr>
          <a:xfrm>
            <a:off x="1937860" y="2708903"/>
            <a:ext cx="8316279" cy="1030226"/>
          </a:xfrm>
          <a:prstGeom prst="rect">
            <a:avLst/>
          </a:prstGeom>
        </p:spPr>
      </p:pic>
      <p:sp>
        <p:nvSpPr>
          <p:cNvPr id="9" name="TextBox 8">
            <a:extLst>
              <a:ext uri="{FF2B5EF4-FFF2-40B4-BE49-F238E27FC236}">
                <a16:creationId xmlns:a16="http://schemas.microsoft.com/office/drawing/2014/main" id="{8AE32C28-F3C6-8A42-B5D0-08B2E2300289}"/>
              </a:ext>
            </a:extLst>
          </p:cNvPr>
          <p:cNvSpPr txBox="1"/>
          <p:nvPr userDrawn="1"/>
        </p:nvSpPr>
        <p:spPr>
          <a:xfrm>
            <a:off x="2797629" y="5848771"/>
            <a:ext cx="6596743" cy="261610"/>
          </a:xfrm>
          <a:prstGeom prst="rect">
            <a:avLst/>
          </a:prstGeom>
          <a:noFill/>
        </p:spPr>
        <p:txBody>
          <a:bodyPr wrap="square" rtlCol="0">
            <a:spAutoFit/>
          </a:bodyPr>
          <a:lstStyle/>
          <a:p>
            <a:pPr algn="ctr">
              <a:defRPr/>
            </a:pPr>
            <a:r>
              <a:rPr lang="en-US" sz="1100" b="0" i="0" dirty="0">
                <a:solidFill>
                  <a:schemeClr val="bg2">
                    <a:lumMod val="50000"/>
                  </a:schemeClr>
                </a:solidFill>
                <a:latin typeface="Verdana Regular"/>
              </a:rPr>
              <a:t>© 2020 McChrystal Group, LLC. All rights reserved.</a:t>
            </a:r>
          </a:p>
        </p:txBody>
      </p:sp>
    </p:spTree>
    <p:extLst>
      <p:ext uri="{BB962C8B-B14F-4D97-AF65-F5344CB8AC3E}">
        <p14:creationId xmlns:p14="http://schemas.microsoft.com/office/powerpoint/2010/main" val="4387115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reeform 4"/>
          <p:cNvSpPr/>
          <p:nvPr/>
        </p:nvSpPr>
        <p:spPr>
          <a:xfrm>
            <a:off x="0" y="5731670"/>
            <a:ext cx="12196237" cy="1126333"/>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818007 h 1075182"/>
              <a:gd name="connsiteX1" fmla="*/ 9124990 w 9144000"/>
              <a:gd name="connsiteY1" fmla="*/ 0 h 1075182"/>
              <a:gd name="connsiteX2" fmla="*/ 9144000 w 9144000"/>
              <a:gd name="connsiteY2" fmla="*/ 1075182 h 1075182"/>
              <a:gd name="connsiteX3" fmla="*/ 0 w 9144000"/>
              <a:gd name="connsiteY3" fmla="*/ 1065657 h 1075182"/>
              <a:gd name="connsiteX4" fmla="*/ 20 w 9144000"/>
              <a:gd name="connsiteY4" fmla="*/ 818007 h 1075182"/>
              <a:gd name="connsiteX0" fmla="*/ 20 w 9124990"/>
              <a:gd name="connsiteY0" fmla="*/ 818007 h 1065657"/>
              <a:gd name="connsiteX1" fmla="*/ 9124990 w 9124990"/>
              <a:gd name="connsiteY1" fmla="*/ 0 h 1065657"/>
              <a:gd name="connsiteX2" fmla="*/ 8854092 w 9124990"/>
              <a:gd name="connsiteY2" fmla="*/ 585026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9122615 w 9124990"/>
              <a:gd name="connsiteY2" fmla="*/ 1063889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8766171 w 9124990"/>
              <a:gd name="connsiteY2" fmla="*/ 508228 h 1065657"/>
              <a:gd name="connsiteX3" fmla="*/ 0 w 9124990"/>
              <a:gd name="connsiteY3" fmla="*/ 1065657 h 1065657"/>
              <a:gd name="connsiteX4" fmla="*/ 20 w 9124990"/>
              <a:gd name="connsiteY4" fmla="*/ 818007 h 1065657"/>
              <a:gd name="connsiteX0" fmla="*/ 20 w 9128161"/>
              <a:gd name="connsiteY0" fmla="*/ 818007 h 1068407"/>
              <a:gd name="connsiteX1" fmla="*/ 9124990 w 9128161"/>
              <a:gd name="connsiteY1" fmla="*/ 0 h 1068407"/>
              <a:gd name="connsiteX2" fmla="*/ 9127369 w 9128161"/>
              <a:gd name="connsiteY2" fmla="*/ 1068407 h 1068407"/>
              <a:gd name="connsiteX3" fmla="*/ 0 w 9128161"/>
              <a:gd name="connsiteY3" fmla="*/ 1065657 h 1068407"/>
              <a:gd name="connsiteX4" fmla="*/ 20 w 9128161"/>
              <a:gd name="connsiteY4" fmla="*/ 818007 h 106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8161" h="1068407">
                <a:moveTo>
                  <a:pt x="20" y="818007"/>
                </a:moveTo>
                <a:lnTo>
                  <a:pt x="9124990" y="0"/>
                </a:lnTo>
                <a:cubicBezTo>
                  <a:pt x="9124198" y="354630"/>
                  <a:pt x="9128161" y="713777"/>
                  <a:pt x="9127369" y="1068407"/>
                </a:cubicBezTo>
                <a:lnTo>
                  <a:pt x="0" y="1065657"/>
                </a:lnTo>
                <a:cubicBezTo>
                  <a:pt x="7" y="983107"/>
                  <a:pt x="13" y="900557"/>
                  <a:pt x="20" y="818007"/>
                </a:cubicBezTo>
                <a:close/>
              </a:path>
            </a:pathLst>
          </a:custGeom>
          <a:gradFill>
            <a:gsLst>
              <a:gs pos="39000">
                <a:schemeClr val="accent3"/>
              </a:gs>
              <a:gs pos="50000">
                <a:schemeClr val="accent3">
                  <a:lumMod val="40000"/>
                  <a:lumOff val="60000"/>
                </a:schemeClr>
              </a:gs>
              <a:gs pos="58000">
                <a:schemeClr val="accent3"/>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6" name="Freeform 5"/>
          <p:cNvSpPr/>
          <p:nvPr/>
        </p:nvSpPr>
        <p:spPr>
          <a:xfrm>
            <a:off x="1" y="5381627"/>
            <a:ext cx="4381499" cy="1207294"/>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6996854"/>
              <a:gd name="connsiteY0" fmla="*/ 0 h 1571625"/>
              <a:gd name="connsiteX1" fmla="*/ 6996854 w 6996854"/>
              <a:gd name="connsiteY1" fmla="*/ 1266825 h 1571625"/>
              <a:gd name="connsiteX2" fmla="*/ 0 w 6996854"/>
              <a:gd name="connsiteY2" fmla="*/ 1571625 h 1571625"/>
              <a:gd name="connsiteX3" fmla="*/ 0 w 6996854"/>
              <a:gd name="connsiteY3" fmla="*/ 0 h 1571625"/>
              <a:gd name="connsiteX0" fmla="*/ 0 w 7583417"/>
              <a:gd name="connsiteY0" fmla="*/ 0 h 800100"/>
              <a:gd name="connsiteX1" fmla="*/ 7583417 w 7583417"/>
              <a:gd name="connsiteY1" fmla="*/ 495300 h 800100"/>
              <a:gd name="connsiteX2" fmla="*/ 586563 w 7583417"/>
              <a:gd name="connsiteY2" fmla="*/ 800100 h 800100"/>
              <a:gd name="connsiteX3" fmla="*/ 0 w 7583417"/>
              <a:gd name="connsiteY3" fmla="*/ 0 h 800100"/>
              <a:gd name="connsiteX0" fmla="*/ 0 w 7017803"/>
              <a:gd name="connsiteY0" fmla="*/ 0 h 1200150"/>
              <a:gd name="connsiteX1" fmla="*/ 7017803 w 7017803"/>
              <a:gd name="connsiteY1" fmla="*/ 895350 h 1200150"/>
              <a:gd name="connsiteX2" fmla="*/ 20949 w 7017803"/>
              <a:gd name="connsiteY2" fmla="*/ 1200150 h 1200150"/>
              <a:gd name="connsiteX3" fmla="*/ 0 w 7017803"/>
              <a:gd name="connsiteY3" fmla="*/ 0 h 1200150"/>
              <a:gd name="connsiteX0" fmla="*/ 0 w 6410292"/>
              <a:gd name="connsiteY0" fmla="*/ 0 h 1752600"/>
              <a:gd name="connsiteX1" fmla="*/ 6410292 w 6410292"/>
              <a:gd name="connsiteY1" fmla="*/ 1752600 h 1752600"/>
              <a:gd name="connsiteX2" fmla="*/ 20949 w 6410292"/>
              <a:gd name="connsiteY2" fmla="*/ 1200150 h 1752600"/>
              <a:gd name="connsiteX3" fmla="*/ 0 w 6410292"/>
              <a:gd name="connsiteY3" fmla="*/ 0 h 1752600"/>
              <a:gd name="connsiteX0" fmla="*/ 0 w 7227290"/>
              <a:gd name="connsiteY0" fmla="*/ 0 h 1200150"/>
              <a:gd name="connsiteX1" fmla="*/ 7227290 w 7227290"/>
              <a:gd name="connsiteY1" fmla="*/ 885825 h 1200150"/>
              <a:gd name="connsiteX2" fmla="*/ 20949 w 7227290"/>
              <a:gd name="connsiteY2" fmla="*/ 1200150 h 1200150"/>
              <a:gd name="connsiteX3" fmla="*/ 0 w 7227290"/>
              <a:gd name="connsiteY3" fmla="*/ 0 h 1200150"/>
              <a:gd name="connsiteX0" fmla="*/ 0 w 7227290"/>
              <a:gd name="connsiteY0" fmla="*/ 0 h 885825"/>
              <a:gd name="connsiteX1" fmla="*/ 7227290 w 7227290"/>
              <a:gd name="connsiteY1" fmla="*/ 885825 h 885825"/>
              <a:gd name="connsiteX2" fmla="*/ 555141 w 7227290"/>
              <a:gd name="connsiteY2" fmla="*/ 862013 h 885825"/>
              <a:gd name="connsiteX3" fmla="*/ 0 w 7227290"/>
              <a:gd name="connsiteY3" fmla="*/ 0 h 885825"/>
              <a:gd name="connsiteX0" fmla="*/ 0 w 7227290"/>
              <a:gd name="connsiteY0" fmla="*/ 0 h 1207294"/>
              <a:gd name="connsiteX1" fmla="*/ 7227290 w 7227290"/>
              <a:gd name="connsiteY1" fmla="*/ 885825 h 1207294"/>
              <a:gd name="connsiteX2" fmla="*/ 0 w 7227290"/>
              <a:gd name="connsiteY2" fmla="*/ 1207294 h 1207294"/>
              <a:gd name="connsiteX3" fmla="*/ 0 w 7227290"/>
              <a:gd name="connsiteY3" fmla="*/ 0 h 1207294"/>
            </a:gdLst>
            <a:ahLst/>
            <a:cxnLst>
              <a:cxn ang="0">
                <a:pos x="connsiteX0" y="connsiteY0"/>
              </a:cxn>
              <a:cxn ang="0">
                <a:pos x="connsiteX1" y="connsiteY1"/>
              </a:cxn>
              <a:cxn ang="0">
                <a:pos x="connsiteX2" y="connsiteY2"/>
              </a:cxn>
              <a:cxn ang="0">
                <a:pos x="connsiteX3" y="connsiteY3"/>
              </a:cxn>
            </a:cxnLst>
            <a:rect l="l" t="t" r="r" b="b"/>
            <a:pathLst>
              <a:path w="7227290" h="1207294">
                <a:moveTo>
                  <a:pt x="0" y="0"/>
                </a:moveTo>
                <a:lnTo>
                  <a:pt x="7227290" y="885825"/>
                </a:lnTo>
                <a:lnTo>
                  <a:pt x="0" y="1207294"/>
                </a:lnTo>
                <a:lnTo>
                  <a:pt x="0" y="0"/>
                </a:lnTo>
                <a:close/>
              </a:path>
            </a:pathLst>
          </a:custGeom>
          <a:gradFill>
            <a:gsLst>
              <a:gs pos="0">
                <a:srgbClr val="000000"/>
              </a:gs>
              <a:gs pos="24000">
                <a:srgbClr val="333333"/>
              </a:gs>
              <a:gs pos="90000">
                <a:srgbClr val="0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Freeform 6"/>
          <p:cNvSpPr/>
          <p:nvPr/>
        </p:nvSpPr>
        <p:spPr>
          <a:xfrm>
            <a:off x="-3176" y="5696242"/>
            <a:ext cx="12195176" cy="930294"/>
          </a:xfrm>
          <a:custGeom>
            <a:avLst/>
            <a:gdLst>
              <a:gd name="connsiteX0" fmla="*/ 9153331 w 9153331"/>
              <a:gd name="connsiteY0" fmla="*/ 0 h 951723"/>
              <a:gd name="connsiteX1" fmla="*/ 0 w 9153331"/>
              <a:gd name="connsiteY1" fmla="*/ 867747 h 951723"/>
              <a:gd name="connsiteX2" fmla="*/ 0 w 9153331"/>
              <a:gd name="connsiteY2" fmla="*/ 951723 h 951723"/>
              <a:gd name="connsiteX3" fmla="*/ 9153331 w 9153331"/>
              <a:gd name="connsiteY3" fmla="*/ 83976 h 951723"/>
              <a:gd name="connsiteX4" fmla="*/ 9153331 w 9153331"/>
              <a:gd name="connsiteY4" fmla="*/ 0 h 951723"/>
              <a:gd name="connsiteX0" fmla="*/ 9153331 w 9153331"/>
              <a:gd name="connsiteY0" fmla="*/ 0 h 951723"/>
              <a:gd name="connsiteX1" fmla="*/ 107265 w 9153331"/>
              <a:gd name="connsiteY1" fmla="*/ 901085 h 951723"/>
              <a:gd name="connsiteX2" fmla="*/ 0 w 9153331"/>
              <a:gd name="connsiteY2" fmla="*/ 951723 h 951723"/>
              <a:gd name="connsiteX3" fmla="*/ 9153331 w 9153331"/>
              <a:gd name="connsiteY3" fmla="*/ 83976 h 951723"/>
              <a:gd name="connsiteX4" fmla="*/ 9153331 w 9153331"/>
              <a:gd name="connsiteY4" fmla="*/ 0 h 951723"/>
              <a:gd name="connsiteX0" fmla="*/ 9155715 w 9155715"/>
              <a:gd name="connsiteY0" fmla="*/ 0 h 951723"/>
              <a:gd name="connsiteX1" fmla="*/ 0 w 9155715"/>
              <a:gd name="connsiteY1" fmla="*/ 865366 h 951723"/>
              <a:gd name="connsiteX2" fmla="*/ 2384 w 9155715"/>
              <a:gd name="connsiteY2" fmla="*/ 951723 h 951723"/>
              <a:gd name="connsiteX3" fmla="*/ 9155715 w 9155715"/>
              <a:gd name="connsiteY3" fmla="*/ 83976 h 951723"/>
              <a:gd name="connsiteX4" fmla="*/ 9155715 w 9155715"/>
              <a:gd name="connsiteY4" fmla="*/ 0 h 951723"/>
              <a:gd name="connsiteX0" fmla="*/ 9155715 w 9155715"/>
              <a:gd name="connsiteY0" fmla="*/ 0 h 894573"/>
              <a:gd name="connsiteX1" fmla="*/ 0 w 9155715"/>
              <a:gd name="connsiteY1" fmla="*/ 865366 h 894573"/>
              <a:gd name="connsiteX2" fmla="*/ 197847 w 9155715"/>
              <a:gd name="connsiteY2" fmla="*/ 894573 h 894573"/>
              <a:gd name="connsiteX3" fmla="*/ 9155715 w 9155715"/>
              <a:gd name="connsiteY3" fmla="*/ 83976 h 894573"/>
              <a:gd name="connsiteX4" fmla="*/ 9155715 w 9155715"/>
              <a:gd name="connsiteY4" fmla="*/ 0 h 894573"/>
              <a:gd name="connsiteX0" fmla="*/ 9155715 w 9155715"/>
              <a:gd name="connsiteY0" fmla="*/ 0 h 946961"/>
              <a:gd name="connsiteX1" fmla="*/ 0 w 9155715"/>
              <a:gd name="connsiteY1" fmla="*/ 865366 h 946961"/>
              <a:gd name="connsiteX2" fmla="*/ 4768 w 9155715"/>
              <a:gd name="connsiteY2" fmla="*/ 946961 h 946961"/>
              <a:gd name="connsiteX3" fmla="*/ 9155715 w 9155715"/>
              <a:gd name="connsiteY3" fmla="*/ 83976 h 946961"/>
              <a:gd name="connsiteX4" fmla="*/ 9155715 w 9155715"/>
              <a:gd name="connsiteY4" fmla="*/ 0 h 946961"/>
              <a:gd name="connsiteX0" fmla="*/ 9155715 w 9155715"/>
              <a:gd name="connsiteY0" fmla="*/ 0 h 894574"/>
              <a:gd name="connsiteX1" fmla="*/ 0 w 9155715"/>
              <a:gd name="connsiteY1" fmla="*/ 865366 h 894574"/>
              <a:gd name="connsiteX2" fmla="*/ 97732 w 9155715"/>
              <a:gd name="connsiteY2" fmla="*/ 894574 h 894574"/>
              <a:gd name="connsiteX3" fmla="*/ 9155715 w 9155715"/>
              <a:gd name="connsiteY3" fmla="*/ 83976 h 894574"/>
              <a:gd name="connsiteX4" fmla="*/ 9155715 w 9155715"/>
              <a:gd name="connsiteY4" fmla="*/ 0 h 894574"/>
              <a:gd name="connsiteX0" fmla="*/ 9155715 w 9155715"/>
              <a:gd name="connsiteY0" fmla="*/ 0 h 939818"/>
              <a:gd name="connsiteX1" fmla="*/ 0 w 9155715"/>
              <a:gd name="connsiteY1" fmla="*/ 865366 h 939818"/>
              <a:gd name="connsiteX2" fmla="*/ 2384 w 9155715"/>
              <a:gd name="connsiteY2" fmla="*/ 939818 h 939818"/>
              <a:gd name="connsiteX3" fmla="*/ 9155715 w 9155715"/>
              <a:gd name="connsiteY3" fmla="*/ 83976 h 939818"/>
              <a:gd name="connsiteX4" fmla="*/ 9155715 w 9155715"/>
              <a:gd name="connsiteY4" fmla="*/ 0 h 939818"/>
              <a:gd name="connsiteX0" fmla="*/ 9015078 w 9155715"/>
              <a:gd name="connsiteY0" fmla="*/ 0 h 873143"/>
              <a:gd name="connsiteX1" fmla="*/ 0 w 9155715"/>
              <a:gd name="connsiteY1" fmla="*/ 798691 h 873143"/>
              <a:gd name="connsiteX2" fmla="*/ 2384 w 9155715"/>
              <a:gd name="connsiteY2" fmla="*/ 873143 h 873143"/>
              <a:gd name="connsiteX3" fmla="*/ 9155715 w 9155715"/>
              <a:gd name="connsiteY3" fmla="*/ 17301 h 873143"/>
              <a:gd name="connsiteX4" fmla="*/ 9015078 w 9155715"/>
              <a:gd name="connsiteY4" fmla="*/ 0 h 873143"/>
              <a:gd name="connsiteX0" fmla="*/ 9160482 w 9160482"/>
              <a:gd name="connsiteY0" fmla="*/ 0 h 930293"/>
              <a:gd name="connsiteX1" fmla="*/ 0 w 9160482"/>
              <a:gd name="connsiteY1" fmla="*/ 855841 h 930293"/>
              <a:gd name="connsiteX2" fmla="*/ 2384 w 9160482"/>
              <a:gd name="connsiteY2" fmla="*/ 930293 h 930293"/>
              <a:gd name="connsiteX3" fmla="*/ 9155715 w 9160482"/>
              <a:gd name="connsiteY3" fmla="*/ 74451 h 930293"/>
              <a:gd name="connsiteX4" fmla="*/ 9160482 w 9160482"/>
              <a:gd name="connsiteY4" fmla="*/ 0 h 930293"/>
              <a:gd name="connsiteX0" fmla="*/ 9072286 w 9155715"/>
              <a:gd name="connsiteY0" fmla="*/ 0 h 885050"/>
              <a:gd name="connsiteX1" fmla="*/ 0 w 9155715"/>
              <a:gd name="connsiteY1" fmla="*/ 810598 h 885050"/>
              <a:gd name="connsiteX2" fmla="*/ 2384 w 9155715"/>
              <a:gd name="connsiteY2" fmla="*/ 885050 h 885050"/>
              <a:gd name="connsiteX3" fmla="*/ 9155715 w 9155715"/>
              <a:gd name="connsiteY3" fmla="*/ 29208 h 885050"/>
              <a:gd name="connsiteX4" fmla="*/ 9072286 w 9155715"/>
              <a:gd name="connsiteY4" fmla="*/ 0 h 885050"/>
              <a:gd name="connsiteX0" fmla="*/ 9155715 w 9155715"/>
              <a:gd name="connsiteY0" fmla="*/ 0 h 930294"/>
              <a:gd name="connsiteX1" fmla="*/ 0 w 9155715"/>
              <a:gd name="connsiteY1" fmla="*/ 855842 h 930294"/>
              <a:gd name="connsiteX2" fmla="*/ 2384 w 9155715"/>
              <a:gd name="connsiteY2" fmla="*/ 930294 h 930294"/>
              <a:gd name="connsiteX3" fmla="*/ 9155715 w 9155715"/>
              <a:gd name="connsiteY3" fmla="*/ 74452 h 930294"/>
              <a:gd name="connsiteX4" fmla="*/ 9155715 w 9155715"/>
              <a:gd name="connsiteY4" fmla="*/ 0 h 93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5715" h="930294">
                <a:moveTo>
                  <a:pt x="9155715" y="0"/>
                </a:moveTo>
                <a:lnTo>
                  <a:pt x="0" y="855842"/>
                </a:lnTo>
                <a:cubicBezTo>
                  <a:pt x="795" y="884628"/>
                  <a:pt x="1589" y="901508"/>
                  <a:pt x="2384" y="930294"/>
                </a:cubicBezTo>
                <a:lnTo>
                  <a:pt x="9155715" y="74452"/>
                </a:lnTo>
                <a:lnTo>
                  <a:pt x="9155715"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Freeform 7"/>
          <p:cNvSpPr/>
          <p:nvPr/>
        </p:nvSpPr>
        <p:spPr>
          <a:xfrm>
            <a:off x="-261" y="5347023"/>
            <a:ext cx="4568308" cy="944725"/>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 name="connsiteX0" fmla="*/ 1 w 7605568"/>
              <a:gd name="connsiteY0" fmla="*/ 0 h 897732"/>
              <a:gd name="connsiteX1" fmla="*/ 0 w 7605568"/>
              <a:gd name="connsiteY1" fmla="*/ 75665 h 897732"/>
              <a:gd name="connsiteX2" fmla="*/ 2830674 w 7605568"/>
              <a:gd name="connsiteY2" fmla="*/ 806612 h 897732"/>
              <a:gd name="connsiteX3" fmla="*/ 7605568 w 7605568"/>
              <a:gd name="connsiteY3" fmla="*/ 897732 h 897732"/>
              <a:gd name="connsiteX4" fmla="*/ 1 w 7605568"/>
              <a:gd name="connsiteY4" fmla="*/ 0 h 897732"/>
              <a:gd name="connsiteX0" fmla="*/ 1 w 2930931"/>
              <a:gd name="connsiteY0" fmla="*/ 0 h 806612"/>
              <a:gd name="connsiteX1" fmla="*/ 0 w 2930931"/>
              <a:gd name="connsiteY1" fmla="*/ 75665 h 806612"/>
              <a:gd name="connsiteX2" fmla="*/ 2830674 w 2930931"/>
              <a:gd name="connsiteY2" fmla="*/ 806612 h 806612"/>
              <a:gd name="connsiteX3" fmla="*/ 2930931 w 2930931"/>
              <a:gd name="connsiteY3" fmla="*/ 785765 h 806612"/>
              <a:gd name="connsiteX4" fmla="*/ 1 w 2930931"/>
              <a:gd name="connsiteY4" fmla="*/ 0 h 806612"/>
              <a:gd name="connsiteX0" fmla="*/ 1 w 3204530"/>
              <a:gd name="connsiteY0" fmla="*/ 0 h 944725"/>
              <a:gd name="connsiteX1" fmla="*/ 0 w 3204530"/>
              <a:gd name="connsiteY1" fmla="*/ 75665 h 944725"/>
              <a:gd name="connsiteX2" fmla="*/ 3204530 w 3204530"/>
              <a:gd name="connsiteY2" fmla="*/ 944725 h 944725"/>
              <a:gd name="connsiteX3" fmla="*/ 2930931 w 3204530"/>
              <a:gd name="connsiteY3" fmla="*/ 785765 h 944725"/>
              <a:gd name="connsiteX4" fmla="*/ 1 w 3204530"/>
              <a:gd name="connsiteY4" fmla="*/ 0 h 944725"/>
              <a:gd name="connsiteX0" fmla="*/ 1 w 3426231"/>
              <a:gd name="connsiteY0" fmla="*/ 0 h 944725"/>
              <a:gd name="connsiteX1" fmla="*/ 0 w 3426231"/>
              <a:gd name="connsiteY1" fmla="*/ 75665 h 944725"/>
              <a:gd name="connsiteX2" fmla="*/ 3204530 w 3426231"/>
              <a:gd name="connsiteY2" fmla="*/ 944725 h 944725"/>
              <a:gd name="connsiteX3" fmla="*/ 3426231 w 3426231"/>
              <a:gd name="connsiteY3" fmla="*/ 923877 h 944725"/>
              <a:gd name="connsiteX4" fmla="*/ 1 w 3426231"/>
              <a:gd name="connsiteY4" fmla="*/ 0 h 944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6231" h="944725">
                <a:moveTo>
                  <a:pt x="1" y="0"/>
                </a:moveTo>
                <a:cubicBezTo>
                  <a:pt x="1" y="25222"/>
                  <a:pt x="0" y="50443"/>
                  <a:pt x="0" y="75665"/>
                </a:cubicBezTo>
                <a:lnTo>
                  <a:pt x="3204530" y="944725"/>
                </a:lnTo>
                <a:lnTo>
                  <a:pt x="3426231" y="923877"/>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Date Placeholder 1"/>
          <p:cNvSpPr>
            <a:spLocks noGrp="1"/>
          </p:cNvSpPr>
          <p:nvPr>
            <p:ph type="dt" sz="half" idx="10"/>
          </p:nvPr>
        </p:nvSpPr>
        <p:spPr/>
        <p:txBody>
          <a:bodyPr/>
          <a:lstStyle/>
          <a:p>
            <a:fld id="{B06ED3A8-2D2B-4914-B609-10A72547825A}" type="datetime1">
              <a:rPr lang="en-US" smtClean="0"/>
              <a:t>10/16/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001C670-DC88-4376-AA6B-FD9548DDC9F2}" type="slidenum">
              <a:rPr lang="en-US" smtClean="0"/>
              <a:pPr/>
              <a:t>‹#›</a:t>
            </a:fld>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28_Copy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A9F628-3794-C345-B071-FBAECDB26368}"/>
              </a:ext>
            </a:extLst>
          </p:cNvPr>
          <p:cNvSpPr/>
          <p:nvPr userDrawn="1"/>
        </p:nvSpPr>
        <p:spPr>
          <a:xfrm>
            <a:off x="0" y="0"/>
            <a:ext cx="12192000" cy="6858000"/>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9401EADD-8FE0-C040-996F-E497BF288A6E}"/>
              </a:ext>
            </a:extLst>
          </p:cNvPr>
          <p:cNvPicPr>
            <a:picLocks noChangeAspect="1"/>
          </p:cNvPicPr>
          <p:nvPr userDrawn="1"/>
        </p:nvPicPr>
        <p:blipFill>
          <a:blip r:embed="rId2"/>
          <a:stretch>
            <a:fillRect/>
          </a:stretch>
        </p:blipFill>
        <p:spPr>
          <a:xfrm>
            <a:off x="1978149" y="2830262"/>
            <a:ext cx="8238370" cy="1197864"/>
          </a:xfrm>
          <a:prstGeom prst="rect">
            <a:avLst/>
          </a:prstGeom>
        </p:spPr>
      </p:pic>
      <p:sp>
        <p:nvSpPr>
          <p:cNvPr id="12" name="TextBox 11">
            <a:extLst>
              <a:ext uri="{FF2B5EF4-FFF2-40B4-BE49-F238E27FC236}">
                <a16:creationId xmlns:a16="http://schemas.microsoft.com/office/drawing/2014/main" id="{268EDF5E-5A3B-9C41-B6A8-B58EE0129260}"/>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20 McChrystal Group, LLC. All rights reserved.</a:t>
            </a:r>
          </a:p>
        </p:txBody>
      </p:sp>
    </p:spTree>
    <p:extLst>
      <p:ext uri="{BB962C8B-B14F-4D97-AF65-F5344CB8AC3E}">
        <p14:creationId xmlns:p14="http://schemas.microsoft.com/office/powerpoint/2010/main" val="21017969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9_Copyright">
    <p:bg>
      <p:bgPr>
        <a:solidFill>
          <a:srgbClr val="345C8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EFCF42-5A72-8D48-AAF9-7C079B60EEFA}"/>
              </a:ext>
            </a:extLst>
          </p:cNvPr>
          <p:cNvPicPr>
            <a:picLocks noChangeAspect="1"/>
          </p:cNvPicPr>
          <p:nvPr/>
        </p:nvPicPr>
        <p:blipFill>
          <a:blip r:embed="rId2"/>
          <a:stretch>
            <a:fillRect/>
          </a:stretch>
        </p:blipFill>
        <p:spPr>
          <a:xfrm>
            <a:off x="0" y="12700"/>
            <a:ext cx="12192000" cy="6858000"/>
          </a:xfrm>
          <a:prstGeom prst="rect">
            <a:avLst/>
          </a:prstGeom>
        </p:spPr>
      </p:pic>
      <p:pic>
        <p:nvPicPr>
          <p:cNvPr id="4" name="Picture 3">
            <a:extLst>
              <a:ext uri="{FF2B5EF4-FFF2-40B4-BE49-F238E27FC236}">
                <a16:creationId xmlns:a16="http://schemas.microsoft.com/office/drawing/2014/main" id="{AC439395-5C7A-F64B-8E6A-A567EE8B06C4}"/>
              </a:ext>
            </a:extLst>
          </p:cNvPr>
          <p:cNvPicPr>
            <a:picLocks noChangeAspect="1"/>
          </p:cNvPicPr>
          <p:nvPr/>
        </p:nvPicPr>
        <p:blipFill>
          <a:blip r:embed="rId3"/>
          <a:stretch>
            <a:fillRect/>
          </a:stretch>
        </p:blipFill>
        <p:spPr>
          <a:xfrm>
            <a:off x="1978149" y="2830262"/>
            <a:ext cx="8238370" cy="1197864"/>
          </a:xfrm>
          <a:prstGeom prst="rect">
            <a:avLst/>
          </a:prstGeom>
        </p:spPr>
      </p:pic>
      <p:sp>
        <p:nvSpPr>
          <p:cNvPr id="6" name="TextBox 5">
            <a:extLst>
              <a:ext uri="{FF2B5EF4-FFF2-40B4-BE49-F238E27FC236}">
                <a16:creationId xmlns:a16="http://schemas.microsoft.com/office/drawing/2014/main" id="{B9AFC3F0-E454-194C-B96D-19DFB54419E4}"/>
              </a:ext>
            </a:extLst>
          </p:cNvPr>
          <p:cNvSpPr txBox="1"/>
          <p:nvPr userDrawn="1"/>
        </p:nvSpPr>
        <p:spPr>
          <a:xfrm>
            <a:off x="2266288" y="5020869"/>
            <a:ext cx="6596743" cy="261610"/>
          </a:xfrm>
          <a:prstGeom prst="rect">
            <a:avLst/>
          </a:prstGeom>
          <a:noFill/>
        </p:spPr>
        <p:txBody>
          <a:bodyPr wrap="square" rtlCol="0">
            <a:spAutoFit/>
          </a:bodyPr>
          <a:lstStyle/>
          <a:p>
            <a:pPr algn="ctr">
              <a:defRPr/>
            </a:pPr>
            <a:r>
              <a:rPr lang="en-US" sz="1100" b="0" i="0" dirty="0">
                <a:solidFill>
                  <a:schemeClr val="bg1"/>
                </a:solidFill>
                <a:latin typeface="Verdana Regular"/>
              </a:rPr>
              <a:t>© 2020 McChrystal Group, LLC. All rights reserved.</a:t>
            </a:r>
          </a:p>
        </p:txBody>
      </p:sp>
    </p:spTree>
    <p:extLst>
      <p:ext uri="{BB962C8B-B14F-4D97-AF65-F5344CB8AC3E}">
        <p14:creationId xmlns:p14="http://schemas.microsoft.com/office/powerpoint/2010/main" val="28012335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1_Contact">
    <p:bg>
      <p:bgPr>
        <a:solidFill>
          <a:srgbClr val="345C87"/>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5DE4D6-6C09-5841-8B2C-36313AE534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4826464"/>
          </a:xfrm>
          <a:prstGeom prst="rect">
            <a:avLst/>
          </a:prstGeom>
        </p:spPr>
      </p:pic>
      <p:pic>
        <p:nvPicPr>
          <p:cNvPr id="7" name="Picture 6">
            <a:extLst>
              <a:ext uri="{FF2B5EF4-FFF2-40B4-BE49-F238E27FC236}">
                <a16:creationId xmlns:a16="http://schemas.microsoft.com/office/drawing/2014/main" id="{1318F09F-16CC-7C46-827A-D1568533C66A}"/>
              </a:ext>
            </a:extLst>
          </p:cNvPr>
          <p:cNvPicPr>
            <a:picLocks noChangeAspect="1"/>
          </p:cNvPicPr>
          <p:nvPr userDrawn="1"/>
        </p:nvPicPr>
        <p:blipFill>
          <a:blip r:embed="rId3"/>
          <a:stretch>
            <a:fillRect/>
          </a:stretch>
        </p:blipFill>
        <p:spPr>
          <a:xfrm>
            <a:off x="0" y="3091003"/>
            <a:ext cx="12192000" cy="76553"/>
          </a:xfrm>
          <a:prstGeom prst="rect">
            <a:avLst/>
          </a:prstGeom>
        </p:spPr>
      </p:pic>
      <p:pic>
        <p:nvPicPr>
          <p:cNvPr id="8" name="Picture 7">
            <a:extLst>
              <a:ext uri="{FF2B5EF4-FFF2-40B4-BE49-F238E27FC236}">
                <a16:creationId xmlns:a16="http://schemas.microsoft.com/office/drawing/2014/main" id="{35827918-924E-5E48-86E8-25C5129D88D2}"/>
              </a:ext>
            </a:extLst>
          </p:cNvPr>
          <p:cNvPicPr>
            <a:picLocks noChangeAspect="1"/>
          </p:cNvPicPr>
          <p:nvPr userDrawn="1"/>
        </p:nvPicPr>
        <p:blipFill>
          <a:blip r:embed="rId4"/>
          <a:stretch>
            <a:fillRect/>
          </a:stretch>
        </p:blipFill>
        <p:spPr>
          <a:xfrm>
            <a:off x="3639057" y="772266"/>
            <a:ext cx="4913886" cy="714482"/>
          </a:xfrm>
          <a:prstGeom prst="rect">
            <a:avLst/>
          </a:prstGeom>
        </p:spPr>
      </p:pic>
      <p:sp>
        <p:nvSpPr>
          <p:cNvPr id="9" name="Rectangle 8">
            <a:extLst>
              <a:ext uri="{FF2B5EF4-FFF2-40B4-BE49-F238E27FC236}">
                <a16:creationId xmlns:a16="http://schemas.microsoft.com/office/drawing/2014/main" id="{82187ABD-3D8D-5945-8300-A91C28655E0F}"/>
              </a:ext>
            </a:extLst>
          </p:cNvPr>
          <p:cNvSpPr/>
          <p:nvPr userDrawn="1"/>
        </p:nvSpPr>
        <p:spPr>
          <a:xfrm>
            <a:off x="0" y="3129280"/>
            <a:ext cx="12192000" cy="3728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6BF90293-B3F5-FB44-9409-80EA2D3DD375}"/>
              </a:ext>
            </a:extLst>
          </p:cNvPr>
          <p:cNvSpPr txBox="1"/>
          <p:nvPr userDrawn="1"/>
        </p:nvSpPr>
        <p:spPr>
          <a:xfrm>
            <a:off x="7342561" y="5323653"/>
            <a:ext cx="2991525" cy="369332"/>
          </a:xfrm>
          <a:prstGeom prst="rect">
            <a:avLst/>
          </a:prstGeom>
          <a:noFill/>
        </p:spPr>
        <p:txBody>
          <a:bodyPr wrap="none" rtlCol="0">
            <a:spAutoFit/>
          </a:bodyPr>
          <a:lstStyle/>
          <a:p>
            <a:pPr algn="l">
              <a:spcAft>
                <a:spcPts val="600"/>
              </a:spcAft>
            </a:pPr>
            <a:r>
              <a:rPr lang="en-US" sz="1800" b="1" dirty="0">
                <a:solidFill>
                  <a:schemeClr val="accent2"/>
                </a:solidFill>
              </a:rPr>
              <a:t>mcchrystalgroup.com</a:t>
            </a:r>
          </a:p>
        </p:txBody>
      </p:sp>
      <p:sp>
        <p:nvSpPr>
          <p:cNvPr id="11" name="TextBox 10">
            <a:extLst>
              <a:ext uri="{FF2B5EF4-FFF2-40B4-BE49-F238E27FC236}">
                <a16:creationId xmlns:a16="http://schemas.microsoft.com/office/drawing/2014/main" id="{D112F97D-D3C5-5E4F-AD2D-35C65C962E7F}"/>
              </a:ext>
            </a:extLst>
          </p:cNvPr>
          <p:cNvSpPr txBox="1"/>
          <p:nvPr userDrawn="1"/>
        </p:nvSpPr>
        <p:spPr>
          <a:xfrm>
            <a:off x="7342561" y="4194438"/>
            <a:ext cx="2699457" cy="646331"/>
          </a:xfrm>
          <a:prstGeom prst="rect">
            <a:avLst/>
          </a:prstGeom>
          <a:noFill/>
        </p:spPr>
        <p:txBody>
          <a:bodyPr wrap="none" rtlCol="0">
            <a:spAutoFit/>
          </a:bodyPr>
          <a:lstStyle/>
          <a:p>
            <a:pPr algn="l">
              <a:spcAft>
                <a:spcPts val="600"/>
              </a:spcAft>
            </a:pPr>
            <a:r>
              <a:rPr lang="en-US" sz="1800" dirty="0">
                <a:solidFill>
                  <a:schemeClr val="bg1"/>
                </a:solidFill>
              </a:rPr>
              <a:t>333 N. Fairfax Street</a:t>
            </a:r>
            <a:br>
              <a:rPr lang="en-US" sz="1800" dirty="0">
                <a:solidFill>
                  <a:schemeClr val="bg1"/>
                </a:solidFill>
              </a:rPr>
            </a:br>
            <a:r>
              <a:rPr lang="en-US" sz="1800" dirty="0">
                <a:solidFill>
                  <a:schemeClr val="bg1"/>
                </a:solidFill>
              </a:rPr>
              <a:t>Alexandria, VA 22314</a:t>
            </a:r>
          </a:p>
        </p:txBody>
      </p:sp>
      <p:pic>
        <p:nvPicPr>
          <p:cNvPr id="12" name="Picture 11">
            <a:extLst>
              <a:ext uri="{FF2B5EF4-FFF2-40B4-BE49-F238E27FC236}">
                <a16:creationId xmlns:a16="http://schemas.microsoft.com/office/drawing/2014/main" id="{9B2C9076-C800-A34C-B07D-8843C870DD5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8859" y="4164806"/>
            <a:ext cx="644039" cy="644039"/>
          </a:xfrm>
          <a:prstGeom prst="rect">
            <a:avLst/>
          </a:prstGeom>
        </p:spPr>
      </p:pic>
      <p:sp>
        <p:nvSpPr>
          <p:cNvPr id="13" name="TextBox 12">
            <a:extLst>
              <a:ext uri="{FF2B5EF4-FFF2-40B4-BE49-F238E27FC236}">
                <a16:creationId xmlns:a16="http://schemas.microsoft.com/office/drawing/2014/main" id="{D44BED9D-49CE-9A4B-8655-CDDC17EE747A}"/>
              </a:ext>
            </a:extLst>
          </p:cNvPr>
          <p:cNvSpPr txBox="1"/>
          <p:nvPr userDrawn="1"/>
        </p:nvSpPr>
        <p:spPr>
          <a:xfrm>
            <a:off x="1714041" y="4302159"/>
            <a:ext cx="3757119" cy="369332"/>
          </a:xfrm>
          <a:prstGeom prst="rect">
            <a:avLst/>
          </a:prstGeom>
          <a:noFill/>
        </p:spPr>
        <p:txBody>
          <a:bodyPr wrap="none" rtlCol="0">
            <a:spAutoFit/>
          </a:bodyPr>
          <a:lstStyle/>
          <a:p>
            <a:pPr algn="l">
              <a:spcAft>
                <a:spcPts val="600"/>
              </a:spcAft>
            </a:pPr>
            <a:r>
              <a:rPr lang="en-US" sz="1800" dirty="0">
                <a:solidFill>
                  <a:schemeClr val="bg1"/>
                </a:solidFill>
              </a:rPr>
              <a:t>contact@mcchrystalgroup.com</a:t>
            </a:r>
          </a:p>
        </p:txBody>
      </p:sp>
      <p:pic>
        <p:nvPicPr>
          <p:cNvPr id="14" name="Picture 13">
            <a:extLst>
              <a:ext uri="{FF2B5EF4-FFF2-40B4-BE49-F238E27FC236}">
                <a16:creationId xmlns:a16="http://schemas.microsoft.com/office/drawing/2014/main" id="{F595E860-9969-534C-8ECC-FA9DF84A31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859" y="5170911"/>
            <a:ext cx="644039" cy="644039"/>
          </a:xfrm>
          <a:prstGeom prst="rect">
            <a:avLst/>
          </a:prstGeom>
        </p:spPr>
      </p:pic>
      <p:sp>
        <p:nvSpPr>
          <p:cNvPr id="15" name="TextBox 14">
            <a:extLst>
              <a:ext uri="{FF2B5EF4-FFF2-40B4-BE49-F238E27FC236}">
                <a16:creationId xmlns:a16="http://schemas.microsoft.com/office/drawing/2014/main" id="{89423AFE-F467-2E46-82C3-ECDC5D06821A}"/>
              </a:ext>
            </a:extLst>
          </p:cNvPr>
          <p:cNvSpPr txBox="1"/>
          <p:nvPr userDrawn="1"/>
        </p:nvSpPr>
        <p:spPr>
          <a:xfrm>
            <a:off x="1714041" y="5308264"/>
            <a:ext cx="1826141" cy="369332"/>
          </a:xfrm>
          <a:prstGeom prst="rect">
            <a:avLst/>
          </a:prstGeom>
          <a:noFill/>
        </p:spPr>
        <p:txBody>
          <a:bodyPr wrap="none" rtlCol="0">
            <a:spAutoFit/>
          </a:bodyPr>
          <a:lstStyle/>
          <a:p>
            <a:pPr algn="l">
              <a:spcAft>
                <a:spcPts val="600"/>
              </a:spcAft>
            </a:pPr>
            <a:r>
              <a:rPr lang="en-US" sz="1800" dirty="0">
                <a:solidFill>
                  <a:schemeClr val="bg1"/>
                </a:solidFill>
              </a:rPr>
              <a:t>571.312.8637</a:t>
            </a:r>
          </a:p>
        </p:txBody>
      </p:sp>
      <p:pic>
        <p:nvPicPr>
          <p:cNvPr id="16" name="Picture 15">
            <a:extLst>
              <a:ext uri="{FF2B5EF4-FFF2-40B4-BE49-F238E27FC236}">
                <a16:creationId xmlns:a16="http://schemas.microsoft.com/office/drawing/2014/main" id="{0E6483B5-79EC-DD40-A0DA-29C7705831F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617060" y="4164805"/>
            <a:ext cx="644040" cy="644040"/>
          </a:xfrm>
          <a:prstGeom prst="rect">
            <a:avLst/>
          </a:prstGeom>
        </p:spPr>
      </p:pic>
      <p:pic>
        <p:nvPicPr>
          <p:cNvPr id="17" name="Picture 16">
            <a:extLst>
              <a:ext uri="{FF2B5EF4-FFF2-40B4-BE49-F238E27FC236}">
                <a16:creationId xmlns:a16="http://schemas.microsoft.com/office/drawing/2014/main" id="{6687FA5D-53EF-5841-9EB3-C56989293A3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17060" y="5172890"/>
            <a:ext cx="640080" cy="640080"/>
          </a:xfrm>
          <a:prstGeom prst="rect">
            <a:avLst/>
          </a:prstGeom>
        </p:spPr>
      </p:pic>
      <p:sp>
        <p:nvSpPr>
          <p:cNvPr id="18" name="TextBox 17">
            <a:extLst>
              <a:ext uri="{FF2B5EF4-FFF2-40B4-BE49-F238E27FC236}">
                <a16:creationId xmlns:a16="http://schemas.microsoft.com/office/drawing/2014/main" id="{E1DF74A3-473A-B14E-B8E4-E227732EF3A5}"/>
              </a:ext>
            </a:extLst>
          </p:cNvPr>
          <p:cNvSpPr txBox="1"/>
          <p:nvPr userDrawn="1"/>
        </p:nvSpPr>
        <p:spPr>
          <a:xfrm>
            <a:off x="4531309" y="1909937"/>
            <a:ext cx="3129382" cy="584775"/>
          </a:xfrm>
          <a:prstGeom prst="rect">
            <a:avLst/>
          </a:prstGeom>
          <a:noFill/>
        </p:spPr>
        <p:txBody>
          <a:bodyPr wrap="none" rtlCol="0">
            <a:spAutoFit/>
          </a:bodyPr>
          <a:lstStyle/>
          <a:p>
            <a:pPr algn="ctr"/>
            <a: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orging Leaders And Teams </a:t>
            </a:r>
            <a:b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br>
            <a:r>
              <a:rPr lang="en-US" sz="1600" b="0" i="1" kern="1200" cap="none"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or A Complex World</a:t>
            </a:r>
          </a:p>
        </p:txBody>
      </p:sp>
      <p:cxnSp>
        <p:nvCxnSpPr>
          <p:cNvPr id="19" name="Straight Connector 18">
            <a:extLst>
              <a:ext uri="{FF2B5EF4-FFF2-40B4-BE49-F238E27FC236}">
                <a16:creationId xmlns:a16="http://schemas.microsoft.com/office/drawing/2014/main" id="{60C5068E-ED23-B748-B7CF-D09E0F6A28AE}"/>
              </a:ext>
            </a:extLst>
          </p:cNvPr>
          <p:cNvCxnSpPr/>
          <p:nvPr userDrawn="1"/>
        </p:nvCxnSpPr>
        <p:spPr>
          <a:xfrm>
            <a:off x="5560060" y="1712424"/>
            <a:ext cx="10718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4419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3077" name="think-cell Slide" r:id="rId4" imgW="393" imgH="394" progId="TCLayout.ActiveDocument.1">
                  <p:embed/>
                </p:oleObj>
              </mc:Choice>
              <mc:Fallback>
                <p:oleObj name="think-cell Slide" r:id="rId4" imgW="393" imgH="394" progId="TCLayout.ActiveDocument.1">
                  <p:embed/>
                  <p:pic>
                    <p:nvPicPr>
                      <p:cNvPr id="3" name="Object 2" hidden="1"/>
                      <p:cNvPicPr/>
                      <p:nvPr/>
                    </p:nvPicPr>
                    <p:blipFill>
                      <a:blip r:embed="rId5"/>
                      <a:stretch>
                        <a:fillRect/>
                      </a:stretch>
                    </p:blipFill>
                    <p:spPr>
                      <a:xfrm>
                        <a:off x="2162" y="1622"/>
                        <a:ext cx="2159" cy="1619"/>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dirty="0"/>
              <a:t>Click to edit Master title style</a:t>
            </a:r>
          </a:p>
        </p:txBody>
      </p:sp>
      <p:sp>
        <p:nvSpPr>
          <p:cNvPr id="8" name="Slide Number"/>
          <p:cNvSpPr txBox="1">
            <a:spLocks/>
          </p:cNvSpPr>
          <p:nvPr userDrawn="1"/>
        </p:nvSpPr>
        <p:spPr>
          <a:xfrm>
            <a:off x="11652053" y="6640500"/>
            <a:ext cx="1811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5" name="doc id" hidden="1"/>
          <p:cNvSpPr>
            <a:spLocks noChangeArrowheads="1"/>
          </p:cNvSpPr>
          <p:nvPr userDrawn="1"/>
        </p:nvSpPr>
        <p:spPr bwMode="auto">
          <a:xfrm>
            <a:off x="10607058" y="51833"/>
            <a:ext cx="128257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en-US" sz="612" baseline="0" dirty="0">
              <a:solidFill>
                <a:srgbClr val="C5C5C5"/>
              </a:solidFill>
              <a:latin typeface="+mn-lt"/>
              <a:ea typeface="+mn-ea"/>
            </a:endParaRP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70475" y="6175394"/>
            <a:ext cx="787627" cy="590685"/>
          </a:xfrm>
          <a:prstGeom prst="rect">
            <a:avLst/>
          </a:prstGeom>
        </p:spPr>
      </p:pic>
    </p:spTree>
    <p:extLst>
      <p:ext uri="{BB962C8B-B14F-4D97-AF65-F5344CB8AC3E}">
        <p14:creationId xmlns:p14="http://schemas.microsoft.com/office/powerpoint/2010/main" val="24911380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964021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entr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01" name="think-cell Slide" r:id="rId5" imgW="501" imgH="502" progId="TCLayout.ActiveDocument.1">
                  <p:embed/>
                </p:oleObj>
              </mc:Choice>
              <mc:Fallback>
                <p:oleObj name="think-cell Slide" r:id="rId5" imgW="501" imgH="502" progId="TCLayout.ActiveDocument.1">
                  <p:embed/>
                  <p:pic>
                    <p:nvPicPr>
                      <p:cNvPr id="5" name="Object 4"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300" b="0" i="0" baseline="0" dirty="0">
              <a:latin typeface="Calibri" panose="020F0502020204030204" pitchFamily="34" charset="0"/>
              <a:ea typeface="+mj-ea"/>
              <a:cs typeface="+mj-cs"/>
              <a:sym typeface="Calibri" panose="020F0502020204030204" pitchFamily="34" charset="0"/>
            </a:endParaRPr>
          </a:p>
        </p:txBody>
      </p:sp>
      <p:sp>
        <p:nvSpPr>
          <p:cNvPr id="3" name="Slide Number"/>
          <p:cNvSpPr txBox="1">
            <a:spLocks/>
          </p:cNvSpPr>
          <p:nvPr userDrawn="1"/>
        </p:nvSpPr>
        <p:spPr>
          <a:xfrm>
            <a:off x="11766692" y="6566785"/>
            <a:ext cx="342760" cy="129537"/>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825" baseline="0" smtClean="0">
                <a:solidFill>
                  <a:srgbClr val="808080"/>
                </a:solidFill>
                <a:latin typeface="+mn-lt"/>
              </a:rPr>
              <a:pPr/>
              <a:t>‹#›</a:t>
            </a:fld>
            <a:endParaRPr lang="en-US" sz="825" baseline="0" dirty="0">
              <a:solidFill>
                <a:srgbClr val="808080"/>
              </a:solidFill>
              <a:latin typeface="+mn-lt"/>
            </a:endParaRPr>
          </a:p>
        </p:txBody>
      </p:sp>
      <p:sp>
        <p:nvSpPr>
          <p:cNvPr id="7" name="Slide Number Placeholder 2">
            <a:extLst>
              <a:ext uri="{FF2B5EF4-FFF2-40B4-BE49-F238E27FC236}">
                <a16:creationId xmlns:a16="http://schemas.microsoft.com/office/drawing/2014/main" id="{43817159-F08B-4911-8A04-533366322450}"/>
              </a:ext>
            </a:extLst>
          </p:cNvPr>
          <p:cNvSpPr>
            <a:spLocks noGrp="1"/>
          </p:cNvSpPr>
          <p:nvPr>
            <p:ph type="sldNum" sz="quarter" idx="12"/>
          </p:nvPr>
        </p:nvSpPr>
        <p:spPr>
          <a:xfrm>
            <a:off x="11642968" y="6339667"/>
            <a:ext cx="342760" cy="365125"/>
          </a:xfrm>
        </p:spPr>
        <p:txBody>
          <a:bodyPr/>
          <a:lstStyle/>
          <a:p>
            <a:fld id="{35DA1DD0-1E4B-BC46-916D-CA887B975016}" type="slidenum">
              <a:rPr lang="en-US" smtClean="0"/>
              <a:t>‹#›</a:t>
            </a:fld>
            <a:endParaRPr lang="en-US" dirty="0"/>
          </a:p>
        </p:txBody>
      </p:sp>
      <p:pic>
        <p:nvPicPr>
          <p:cNvPr id="10" name="Picture 9">
            <a:extLst>
              <a:ext uri="{FF2B5EF4-FFF2-40B4-BE49-F238E27FC236}">
                <a16:creationId xmlns:a16="http://schemas.microsoft.com/office/drawing/2014/main" id="{23BDBC17-BEE0-4E86-B4C0-D18525A1B83C}"/>
              </a:ext>
            </a:extLst>
          </p:cNvPr>
          <p:cNvPicPr>
            <a:picLocks/>
          </p:cNvPicPr>
          <p:nvPr userDrawn="1"/>
        </p:nvPicPr>
        <p:blipFill>
          <a:blip r:embed="rId7"/>
          <a:stretch>
            <a:fillRect/>
          </a:stretch>
        </p:blipFill>
        <p:spPr>
          <a:xfrm>
            <a:off x="11027664" y="365760"/>
            <a:ext cx="914400" cy="914400"/>
          </a:xfrm>
          <a:prstGeom prst="rect">
            <a:avLst/>
          </a:prstGeom>
        </p:spPr>
      </p:pic>
      <p:sp>
        <p:nvSpPr>
          <p:cNvPr id="11" name="Picture Placeholder 22">
            <a:extLst>
              <a:ext uri="{FF2B5EF4-FFF2-40B4-BE49-F238E27FC236}">
                <a16:creationId xmlns:a16="http://schemas.microsoft.com/office/drawing/2014/main" id="{84510635-44C0-48D1-BB87-309D4DBF4272}"/>
              </a:ext>
            </a:extLst>
          </p:cNvPr>
          <p:cNvSpPr>
            <a:spLocks noGrp="1"/>
          </p:cNvSpPr>
          <p:nvPr>
            <p:ph type="pic" sz="quarter" idx="14"/>
          </p:nvPr>
        </p:nvSpPr>
        <p:spPr>
          <a:xfrm>
            <a:off x="2603369" y="3161078"/>
            <a:ext cx="6985262" cy="3543714"/>
          </a:xfrm>
          <a:ln>
            <a:solidFill>
              <a:schemeClr val="bg2">
                <a:lumMod val="75000"/>
              </a:schemeClr>
            </a:solidFill>
          </a:ln>
        </p:spPr>
        <p:txBody>
          <a:bodyPr anchor="ctr"/>
          <a:lstStyle>
            <a:lvl1pPr marL="0" indent="0" algn="ctr">
              <a:buNone/>
              <a:defRPr/>
            </a:lvl1pPr>
          </a:lstStyle>
          <a:p>
            <a:endParaRPr lang="en-US" dirty="0"/>
          </a:p>
        </p:txBody>
      </p:sp>
      <p:sp>
        <p:nvSpPr>
          <p:cNvPr id="13" name="Arrow: Down 12">
            <a:extLst>
              <a:ext uri="{FF2B5EF4-FFF2-40B4-BE49-F238E27FC236}">
                <a16:creationId xmlns:a16="http://schemas.microsoft.com/office/drawing/2014/main" id="{CF730393-1E0A-4626-B3BB-683456451999}"/>
              </a:ext>
            </a:extLst>
          </p:cNvPr>
          <p:cNvSpPr/>
          <p:nvPr userDrawn="1"/>
        </p:nvSpPr>
        <p:spPr>
          <a:xfrm>
            <a:off x="12712116" y="1256327"/>
            <a:ext cx="164837" cy="216188"/>
          </a:xfrm>
          <a:prstGeom prst="downArrow">
            <a:avLst>
              <a:gd name="adj1" fmla="val 35714"/>
              <a:gd name="adj2" fmla="val 4612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Down 13">
            <a:extLst>
              <a:ext uri="{FF2B5EF4-FFF2-40B4-BE49-F238E27FC236}">
                <a16:creationId xmlns:a16="http://schemas.microsoft.com/office/drawing/2014/main" id="{02F40098-18C6-449A-9344-9E732AD96021}"/>
              </a:ext>
            </a:extLst>
          </p:cNvPr>
          <p:cNvSpPr/>
          <p:nvPr userDrawn="1"/>
        </p:nvSpPr>
        <p:spPr>
          <a:xfrm rot="16200000">
            <a:off x="12712117" y="1633832"/>
            <a:ext cx="164837" cy="216188"/>
          </a:xfrm>
          <a:prstGeom prst="downArrow">
            <a:avLst>
              <a:gd name="adj1" fmla="val 35714"/>
              <a:gd name="adj2" fmla="val 4612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Down 14">
            <a:extLst>
              <a:ext uri="{FF2B5EF4-FFF2-40B4-BE49-F238E27FC236}">
                <a16:creationId xmlns:a16="http://schemas.microsoft.com/office/drawing/2014/main" id="{8F9D087A-CC2B-4636-91E5-694F0975FB68}"/>
              </a:ext>
            </a:extLst>
          </p:cNvPr>
          <p:cNvSpPr/>
          <p:nvPr userDrawn="1"/>
        </p:nvSpPr>
        <p:spPr>
          <a:xfrm rot="10800000">
            <a:off x="12712115" y="2011337"/>
            <a:ext cx="164837" cy="216188"/>
          </a:xfrm>
          <a:prstGeom prst="downArrow">
            <a:avLst>
              <a:gd name="adj1" fmla="val 35714"/>
              <a:gd name="adj2" fmla="val 4612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FD1F7C4A-CF28-4295-9383-358111E6F030}"/>
              </a:ext>
            </a:extLst>
          </p:cNvPr>
          <p:cNvSpPr>
            <a:spLocks noGrp="1"/>
          </p:cNvSpPr>
          <p:nvPr>
            <p:ph type="title"/>
          </p:nvPr>
        </p:nvSpPr>
        <p:spPr>
          <a:xfrm>
            <a:off x="359955" y="365129"/>
            <a:ext cx="11231155" cy="682625"/>
          </a:xfrm>
        </p:spPr>
        <p:txBody>
          <a:bodyPr/>
          <a:lstStyle>
            <a:lvl1pPr>
              <a:defRPr b="1">
                <a:solidFill>
                  <a:schemeClr val="accent1"/>
                </a:solidFill>
              </a:defRPr>
            </a:lvl1pPr>
          </a:lstStyle>
          <a:p>
            <a:r>
              <a:rPr lang="en-US" dirty="0"/>
              <a:t>Central (Region F)</a:t>
            </a:r>
          </a:p>
        </p:txBody>
      </p:sp>
    </p:spTree>
    <p:extLst>
      <p:ext uri="{BB962C8B-B14F-4D97-AF65-F5344CB8AC3E}">
        <p14:creationId xmlns:p14="http://schemas.microsoft.com/office/powerpoint/2010/main" val="32030166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3C90B991-4C78-A34F-955D-B1A24AB50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911"/>
            <a:ext cx="5551283" cy="6866443"/>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4889241" y="1711163"/>
            <a:ext cx="6708785" cy="2387600"/>
          </a:xfrm>
        </p:spPr>
        <p:txBody>
          <a:bodyPr anchor="b">
            <a:noAutofit/>
          </a:bodyPr>
          <a:lstStyle>
            <a:lvl1pPr algn="r">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10800000">
            <a:off x="10852560" y="5678109"/>
            <a:ext cx="1339439" cy="1192248"/>
          </a:xfrm>
          <a:prstGeom prst="rect">
            <a:avLst/>
          </a:prstGeom>
        </p:spPr>
      </p:pic>
      <p:pic>
        <p:nvPicPr>
          <p:cNvPr id="10" name="Picture 9">
            <a:extLst>
              <a:ext uri="{FF2B5EF4-FFF2-40B4-BE49-F238E27FC236}">
                <a16:creationId xmlns:a16="http://schemas.microsoft.com/office/drawing/2014/main" id="{E659FCC1-F670-9E48-91A9-39E3BC8543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07128" y="4842930"/>
            <a:ext cx="3390900" cy="420067"/>
          </a:xfrm>
          <a:prstGeom prst="rect">
            <a:avLst/>
          </a:prstGeom>
        </p:spPr>
      </p:pic>
      <p:cxnSp>
        <p:nvCxnSpPr>
          <p:cNvPr id="11" name="Straight Connector 10">
            <a:extLst>
              <a:ext uri="{FF2B5EF4-FFF2-40B4-BE49-F238E27FC236}">
                <a16:creationId xmlns:a16="http://schemas.microsoft.com/office/drawing/2014/main" id="{29D1A1B6-948C-754A-921C-D15F802BA779}"/>
              </a:ext>
            </a:extLst>
          </p:cNvPr>
          <p:cNvCxnSpPr>
            <a:cxnSpLocks/>
          </p:cNvCxnSpPr>
          <p:nvPr userDrawn="1"/>
        </p:nvCxnSpPr>
        <p:spPr>
          <a:xfrm>
            <a:off x="9967552" y="44904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93187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459C26-2813-CB4C-BFE7-50E6EC194BCE}"/>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3">
            <a:extLst>
              <a:ext uri="{FF2B5EF4-FFF2-40B4-BE49-F238E27FC236}">
                <a16:creationId xmlns:a16="http://schemas.microsoft.com/office/drawing/2014/main" id="{F7DC09C6-57C4-174A-9F67-5F9F3E3AB4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02296" y="47287"/>
            <a:ext cx="8489703" cy="6858000"/>
          </a:xfrm>
          <a:prstGeom prst="rect">
            <a:avLst/>
          </a:prstGeom>
        </p:spPr>
      </p:pic>
      <p:sp>
        <p:nvSpPr>
          <p:cNvPr id="2" name="Title 1">
            <a:extLst>
              <a:ext uri="{FF2B5EF4-FFF2-40B4-BE49-F238E27FC236}">
                <a16:creationId xmlns:a16="http://schemas.microsoft.com/office/drawing/2014/main" id="{0C53DB1C-E391-7442-B4AA-5AC68146A7CB}"/>
              </a:ext>
            </a:extLst>
          </p:cNvPr>
          <p:cNvSpPr>
            <a:spLocks noGrp="1"/>
          </p:cNvSpPr>
          <p:nvPr>
            <p:ph type="ctrTitle" hasCustomPrompt="1"/>
          </p:nvPr>
        </p:nvSpPr>
        <p:spPr>
          <a:xfrm>
            <a:off x="826558" y="1882601"/>
            <a:ext cx="9144000" cy="2387600"/>
          </a:xfrm>
        </p:spPr>
        <p:txBody>
          <a:bodyPr anchor="b"/>
          <a:lstStyle>
            <a:lvl1pPr algn="l">
              <a:defRPr sz="6000">
                <a:solidFill>
                  <a:schemeClr val="bg2">
                    <a:lumMod val="50000"/>
                  </a:schemeClr>
                </a:solidFill>
              </a:defRPr>
            </a:lvl1pPr>
          </a:lstStyle>
          <a:p>
            <a:r>
              <a:rPr lang="en-US"/>
              <a:t>Click to Edit Master Title Style</a:t>
            </a:r>
          </a:p>
        </p:txBody>
      </p:sp>
      <p:sp>
        <p:nvSpPr>
          <p:cNvPr id="3" name="Subtitle 2">
            <a:extLst>
              <a:ext uri="{FF2B5EF4-FFF2-40B4-BE49-F238E27FC236}">
                <a16:creationId xmlns:a16="http://schemas.microsoft.com/office/drawing/2014/main" id="{3FB16882-2A1B-C543-ACC1-3BED041E1192}"/>
              </a:ext>
            </a:extLst>
          </p:cNvPr>
          <p:cNvSpPr>
            <a:spLocks noGrp="1"/>
          </p:cNvSpPr>
          <p:nvPr>
            <p:ph type="subTitle" idx="1" hasCustomPrompt="1"/>
          </p:nvPr>
        </p:nvSpPr>
        <p:spPr>
          <a:xfrm>
            <a:off x="7070500" y="675075"/>
            <a:ext cx="4527527" cy="418649"/>
          </a:xfrm>
        </p:spPr>
        <p:txBody>
          <a:bodyPr>
            <a:normAutofit/>
          </a:bodyPr>
          <a:lstStyle>
            <a:lvl1pPr marL="0" indent="0" algn="r">
              <a:buNone/>
              <a:defRPr sz="18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ONTH 20XX</a:t>
            </a:r>
          </a:p>
        </p:txBody>
      </p:sp>
      <p:pic>
        <p:nvPicPr>
          <p:cNvPr id="13" name="Picture 12">
            <a:extLst>
              <a:ext uri="{FF2B5EF4-FFF2-40B4-BE49-F238E27FC236}">
                <a16:creationId xmlns:a16="http://schemas.microsoft.com/office/drawing/2014/main" id="{ACF610A4-8B87-954E-B92A-A16D7460FA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3586" y="5059078"/>
            <a:ext cx="3390900" cy="420067"/>
          </a:xfrm>
          <a:prstGeom prst="rect">
            <a:avLst/>
          </a:prstGeom>
        </p:spPr>
      </p:pic>
      <p:cxnSp>
        <p:nvCxnSpPr>
          <p:cNvPr id="14" name="Straight Connector 13">
            <a:extLst>
              <a:ext uri="{FF2B5EF4-FFF2-40B4-BE49-F238E27FC236}">
                <a16:creationId xmlns:a16="http://schemas.microsoft.com/office/drawing/2014/main" id="{9A72AE22-FC87-414B-8DFB-DF3C5B5CEAD7}"/>
              </a:ext>
            </a:extLst>
          </p:cNvPr>
          <p:cNvCxnSpPr>
            <a:cxnSpLocks/>
          </p:cNvCxnSpPr>
          <p:nvPr userDrawn="1"/>
        </p:nvCxnSpPr>
        <p:spPr>
          <a:xfrm>
            <a:off x="933586" y="4706642"/>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53F210CF-389A-164F-A37C-C36685B2A8E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339439" cy="1192248"/>
          </a:xfrm>
          <a:prstGeom prst="rect">
            <a:avLst/>
          </a:prstGeom>
        </p:spPr>
      </p:pic>
    </p:spTree>
    <p:extLst>
      <p:ext uri="{BB962C8B-B14F-4D97-AF65-F5344CB8AC3E}">
        <p14:creationId xmlns:p14="http://schemas.microsoft.com/office/powerpoint/2010/main" val="93057045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pic>
        <p:nvPicPr>
          <p:cNvPr id="9" name="Google Shape;13;p2">
            <a:extLst>
              <a:ext uri="{FF2B5EF4-FFF2-40B4-BE49-F238E27FC236}">
                <a16:creationId xmlns:a16="http://schemas.microsoft.com/office/drawing/2014/main" id="{1064A63E-1B38-B041-8510-4D88FA04DD58}"/>
              </a:ext>
            </a:extLst>
          </p:cNvPr>
          <p:cNvPicPr preferRelativeResize="0"/>
          <p:nvPr userDrawn="1"/>
        </p:nvPicPr>
        <p:blipFill rotWithShape="1">
          <a:blip r:embed="rId2" cstate="screen">
            <a:alphaModFix/>
            <a:extLst>
              <a:ext uri="{28A0092B-C50C-407E-A947-70E740481C1C}">
                <a14:useLocalDpi xmlns:a14="http://schemas.microsoft.com/office/drawing/2010/main"/>
              </a:ext>
            </a:extLst>
          </a:blip>
          <a:srcRect/>
          <a:stretch/>
        </p:blipFill>
        <p:spPr>
          <a:xfrm>
            <a:off x="1" y="492270"/>
            <a:ext cx="3872747" cy="5818883"/>
          </a:xfrm>
          <a:prstGeom prst="rect">
            <a:avLst/>
          </a:prstGeom>
          <a:noFill/>
          <a:ln>
            <a:noFill/>
          </a:ln>
        </p:spPr>
      </p:pic>
      <p:sp>
        <p:nvSpPr>
          <p:cNvPr id="8" name="Google Shape;14;p2">
            <a:extLst>
              <a:ext uri="{FF2B5EF4-FFF2-40B4-BE49-F238E27FC236}">
                <a16:creationId xmlns:a16="http://schemas.microsoft.com/office/drawing/2014/main" id="{D619917C-EE3E-CB48-B603-2FD9FD81D605}"/>
              </a:ext>
            </a:extLst>
          </p:cNvPr>
          <p:cNvSpPr/>
          <p:nvPr userDrawn="1"/>
        </p:nvSpPr>
        <p:spPr>
          <a:xfrm>
            <a:off x="0" y="492270"/>
            <a:ext cx="3872748" cy="5818883"/>
          </a:xfrm>
          <a:prstGeom prst="rect">
            <a:avLst/>
          </a:prstGeom>
          <a:solidFill>
            <a:srgbClr val="073763">
              <a:alpha val="36862"/>
            </a:srgbClr>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0" name="Rectangle 9">
            <a:extLst>
              <a:ext uri="{FF2B5EF4-FFF2-40B4-BE49-F238E27FC236}">
                <a16:creationId xmlns:a16="http://schemas.microsoft.com/office/drawing/2014/main" id="{64AC0E8C-41B9-F147-8BE8-E8FC609D7060}"/>
              </a:ext>
            </a:extLst>
          </p:cNvPr>
          <p:cNvSpPr/>
          <p:nvPr userDrawn="1"/>
        </p:nvSpPr>
        <p:spPr>
          <a:xfrm>
            <a:off x="465908" y="2045381"/>
            <a:ext cx="4360439" cy="3027599"/>
          </a:xfrm>
          <a:prstGeom prst="rect">
            <a:avLst/>
          </a:prstGeom>
          <a:solidFill>
            <a:srgbClr val="EAAA0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C1AA2BAD-2917-3A4C-BA66-9F02830329E2}"/>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25">
            <a:extLst>
              <a:ext uri="{FF2B5EF4-FFF2-40B4-BE49-F238E27FC236}">
                <a16:creationId xmlns:a16="http://schemas.microsoft.com/office/drawing/2014/main" id="{2B98BB86-2FD4-FC44-8246-C76FA5EF01F8}"/>
              </a:ext>
            </a:extLst>
          </p:cNvPr>
          <p:cNvSpPr>
            <a:spLocks noGrp="1"/>
          </p:cNvSpPr>
          <p:nvPr>
            <p:ph type="body" sz="quarter" idx="10" hasCustomPrompt="1"/>
          </p:nvPr>
        </p:nvSpPr>
        <p:spPr>
          <a:xfrm>
            <a:off x="6453188" y="14575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7" name="Text Placeholder 25">
            <a:extLst>
              <a:ext uri="{FF2B5EF4-FFF2-40B4-BE49-F238E27FC236}">
                <a16:creationId xmlns:a16="http://schemas.microsoft.com/office/drawing/2014/main" id="{64CA00A0-A61D-A04D-AE29-4C04CB93880D}"/>
              </a:ext>
            </a:extLst>
          </p:cNvPr>
          <p:cNvSpPr>
            <a:spLocks noGrp="1"/>
          </p:cNvSpPr>
          <p:nvPr>
            <p:ph type="body" sz="quarter" idx="11" hasCustomPrompt="1"/>
          </p:nvPr>
        </p:nvSpPr>
        <p:spPr>
          <a:xfrm>
            <a:off x="6453188" y="357401"/>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8" name="Text Placeholder 25">
            <a:extLst>
              <a:ext uri="{FF2B5EF4-FFF2-40B4-BE49-F238E27FC236}">
                <a16:creationId xmlns:a16="http://schemas.microsoft.com/office/drawing/2014/main" id="{2FDD35E2-F2C4-3442-A671-E930313BBF9D}"/>
              </a:ext>
            </a:extLst>
          </p:cNvPr>
          <p:cNvSpPr>
            <a:spLocks noGrp="1"/>
          </p:cNvSpPr>
          <p:nvPr>
            <p:ph type="body" sz="quarter" idx="12" hasCustomPrompt="1"/>
          </p:nvPr>
        </p:nvSpPr>
        <p:spPr>
          <a:xfrm>
            <a:off x="6453188" y="2543388"/>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29" name="Text Placeholder 25">
            <a:extLst>
              <a:ext uri="{FF2B5EF4-FFF2-40B4-BE49-F238E27FC236}">
                <a16:creationId xmlns:a16="http://schemas.microsoft.com/office/drawing/2014/main" id="{9DCECE56-3C01-874E-B3E1-A338BF702A65}"/>
              </a:ext>
            </a:extLst>
          </p:cNvPr>
          <p:cNvSpPr>
            <a:spLocks noGrp="1"/>
          </p:cNvSpPr>
          <p:nvPr>
            <p:ph type="body" sz="quarter" idx="13" hasCustomPrompt="1"/>
          </p:nvPr>
        </p:nvSpPr>
        <p:spPr>
          <a:xfrm>
            <a:off x="6453188" y="3657813"/>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0" name="Text Placeholder 25">
            <a:extLst>
              <a:ext uri="{FF2B5EF4-FFF2-40B4-BE49-F238E27FC236}">
                <a16:creationId xmlns:a16="http://schemas.microsoft.com/office/drawing/2014/main" id="{D327ACBD-CB9C-3F4A-B789-CC6F812C3B2A}"/>
              </a:ext>
            </a:extLst>
          </p:cNvPr>
          <p:cNvSpPr>
            <a:spLocks noGrp="1"/>
          </p:cNvSpPr>
          <p:nvPr>
            <p:ph type="body" sz="quarter" idx="14" hasCustomPrompt="1"/>
          </p:nvPr>
        </p:nvSpPr>
        <p:spPr>
          <a:xfrm>
            <a:off x="6453188" y="4729376"/>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1" name="Text Placeholder 25">
            <a:extLst>
              <a:ext uri="{FF2B5EF4-FFF2-40B4-BE49-F238E27FC236}">
                <a16:creationId xmlns:a16="http://schemas.microsoft.com/office/drawing/2014/main" id="{5C0346CF-14AF-0C48-B906-ECA66D2E5A94}"/>
              </a:ext>
            </a:extLst>
          </p:cNvPr>
          <p:cNvSpPr>
            <a:spLocks noGrp="1"/>
          </p:cNvSpPr>
          <p:nvPr>
            <p:ph type="body" sz="quarter" idx="15" hasCustomPrompt="1"/>
          </p:nvPr>
        </p:nvSpPr>
        <p:spPr>
          <a:xfrm>
            <a:off x="6453188" y="5800939"/>
            <a:ext cx="5181600" cy="755248"/>
          </a:xfrm>
        </p:spPr>
        <p:txBody>
          <a:bodyPr anchor="ctr">
            <a:normAutofit/>
          </a:bodyPr>
          <a:lstStyle>
            <a:lvl1pPr marL="0" indent="0">
              <a:buNone/>
              <a:defRPr sz="2000">
                <a:solidFill>
                  <a:schemeClr val="bg2">
                    <a:lumMod val="25000"/>
                  </a:schemeClr>
                </a:solidFill>
              </a:defRPr>
            </a:lvl1pPr>
          </a:lstStyle>
          <a:p>
            <a:pPr lvl="0"/>
            <a:r>
              <a:rPr lang="en-US"/>
              <a:t>Section Title</a:t>
            </a:r>
          </a:p>
        </p:txBody>
      </p:sp>
      <p:sp>
        <p:nvSpPr>
          <p:cNvPr id="32" name="TextBox 31">
            <a:extLst>
              <a:ext uri="{FF2B5EF4-FFF2-40B4-BE49-F238E27FC236}">
                <a16:creationId xmlns:a16="http://schemas.microsoft.com/office/drawing/2014/main" id="{5B00DC2F-BCE5-3249-984D-425A63B0CE5D}"/>
              </a:ext>
            </a:extLst>
          </p:cNvPr>
          <p:cNvSpPr txBox="1"/>
          <p:nvPr userDrawn="1"/>
        </p:nvSpPr>
        <p:spPr>
          <a:xfrm>
            <a:off x="1163188" y="3231878"/>
            <a:ext cx="2965877" cy="646331"/>
          </a:xfrm>
          <a:prstGeom prst="rect">
            <a:avLst/>
          </a:prstGeom>
          <a:noFill/>
        </p:spPr>
        <p:txBody>
          <a:bodyPr wrap="none" rtlCol="0">
            <a:spAutoFit/>
          </a:bodyPr>
          <a:lstStyle/>
          <a:p>
            <a:pPr algn="ctr"/>
            <a:r>
              <a:rPr lang="en-US" sz="3600" b="1" dirty="0">
                <a:solidFill>
                  <a:schemeClr val="bg1"/>
                </a:solidFill>
              </a:rPr>
              <a:t>CONTENTS</a:t>
            </a:r>
            <a:endParaRPr lang="en-US" sz="3200" b="1" dirty="0">
              <a:solidFill>
                <a:schemeClr val="bg1"/>
              </a:solidFill>
            </a:endParaRPr>
          </a:p>
        </p:txBody>
      </p:sp>
    </p:spTree>
    <p:extLst>
      <p:ext uri="{BB962C8B-B14F-4D97-AF65-F5344CB8AC3E}">
        <p14:creationId xmlns:p14="http://schemas.microsoft.com/office/powerpoint/2010/main" val="41032389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6" name="Text Placeholder 5">
            <a:extLst>
              <a:ext uri="{FF2B5EF4-FFF2-40B4-BE49-F238E27FC236}">
                <a16:creationId xmlns:a16="http://schemas.microsoft.com/office/drawing/2014/main" id="{95D6972A-F66C-624F-9CBF-BD7D7014B465}"/>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804604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Freeform 7"/>
          <p:cNvSpPr/>
          <p:nvPr/>
        </p:nvSpPr>
        <p:spPr>
          <a:xfrm>
            <a:off x="3" y="5010154"/>
            <a:ext cx="9918700" cy="157162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Lst>
            <a:ahLst/>
            <a:cxnLst>
              <a:cxn ang="0">
                <a:pos x="connsiteX0" y="connsiteY0"/>
              </a:cxn>
              <a:cxn ang="0">
                <a:pos x="connsiteX1" y="connsiteY1"/>
              </a:cxn>
              <a:cxn ang="0">
                <a:pos x="connsiteX2" y="connsiteY2"/>
              </a:cxn>
              <a:cxn ang="0">
                <a:pos x="connsiteX3" y="connsiteY3"/>
              </a:cxn>
            </a:cxnLst>
            <a:rect l="l" t="t" r="r" b="b"/>
            <a:pathLst>
              <a:path w="7415827" h="1571625">
                <a:moveTo>
                  <a:pt x="0" y="0"/>
                </a:moveTo>
                <a:lnTo>
                  <a:pt x="7415827" y="866775"/>
                </a:lnTo>
                <a:lnTo>
                  <a:pt x="0" y="1571625"/>
                </a:lnTo>
                <a:lnTo>
                  <a:pt x="0" y="0"/>
                </a:lnTo>
                <a:close/>
              </a:path>
            </a:pathLst>
          </a:custGeom>
          <a:gradFill>
            <a:gsLst>
              <a:gs pos="0">
                <a:srgbClr val="000000"/>
              </a:gs>
              <a:gs pos="24000">
                <a:srgbClr val="333333"/>
              </a:gs>
              <a:gs pos="90000">
                <a:srgbClr val="0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reeform 8"/>
          <p:cNvSpPr/>
          <p:nvPr/>
        </p:nvSpPr>
        <p:spPr>
          <a:xfrm>
            <a:off x="0" y="5731670"/>
            <a:ext cx="12196237" cy="1126333"/>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818007 h 1075182"/>
              <a:gd name="connsiteX1" fmla="*/ 9124990 w 9144000"/>
              <a:gd name="connsiteY1" fmla="*/ 0 h 1075182"/>
              <a:gd name="connsiteX2" fmla="*/ 9144000 w 9144000"/>
              <a:gd name="connsiteY2" fmla="*/ 1075182 h 1075182"/>
              <a:gd name="connsiteX3" fmla="*/ 0 w 9144000"/>
              <a:gd name="connsiteY3" fmla="*/ 1065657 h 1075182"/>
              <a:gd name="connsiteX4" fmla="*/ 20 w 9144000"/>
              <a:gd name="connsiteY4" fmla="*/ 818007 h 1075182"/>
              <a:gd name="connsiteX0" fmla="*/ 20 w 9124990"/>
              <a:gd name="connsiteY0" fmla="*/ 818007 h 1065657"/>
              <a:gd name="connsiteX1" fmla="*/ 9124990 w 9124990"/>
              <a:gd name="connsiteY1" fmla="*/ 0 h 1065657"/>
              <a:gd name="connsiteX2" fmla="*/ 8854092 w 9124990"/>
              <a:gd name="connsiteY2" fmla="*/ 585026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9122615 w 9124990"/>
              <a:gd name="connsiteY2" fmla="*/ 1063889 h 1065657"/>
              <a:gd name="connsiteX3" fmla="*/ 0 w 9124990"/>
              <a:gd name="connsiteY3" fmla="*/ 1065657 h 1065657"/>
              <a:gd name="connsiteX4" fmla="*/ 20 w 9124990"/>
              <a:gd name="connsiteY4" fmla="*/ 818007 h 1065657"/>
              <a:gd name="connsiteX0" fmla="*/ 20 w 9124990"/>
              <a:gd name="connsiteY0" fmla="*/ 818007 h 1065657"/>
              <a:gd name="connsiteX1" fmla="*/ 9124990 w 9124990"/>
              <a:gd name="connsiteY1" fmla="*/ 0 h 1065657"/>
              <a:gd name="connsiteX2" fmla="*/ 8766171 w 9124990"/>
              <a:gd name="connsiteY2" fmla="*/ 508228 h 1065657"/>
              <a:gd name="connsiteX3" fmla="*/ 0 w 9124990"/>
              <a:gd name="connsiteY3" fmla="*/ 1065657 h 1065657"/>
              <a:gd name="connsiteX4" fmla="*/ 20 w 9124990"/>
              <a:gd name="connsiteY4" fmla="*/ 818007 h 1065657"/>
              <a:gd name="connsiteX0" fmla="*/ 20 w 9128161"/>
              <a:gd name="connsiteY0" fmla="*/ 818007 h 1068407"/>
              <a:gd name="connsiteX1" fmla="*/ 9124990 w 9128161"/>
              <a:gd name="connsiteY1" fmla="*/ 0 h 1068407"/>
              <a:gd name="connsiteX2" fmla="*/ 9127369 w 9128161"/>
              <a:gd name="connsiteY2" fmla="*/ 1068407 h 1068407"/>
              <a:gd name="connsiteX3" fmla="*/ 0 w 9128161"/>
              <a:gd name="connsiteY3" fmla="*/ 1065657 h 1068407"/>
              <a:gd name="connsiteX4" fmla="*/ 20 w 9128161"/>
              <a:gd name="connsiteY4" fmla="*/ 818007 h 1068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8161" h="1068407">
                <a:moveTo>
                  <a:pt x="20" y="818007"/>
                </a:moveTo>
                <a:lnTo>
                  <a:pt x="9124990" y="0"/>
                </a:lnTo>
                <a:cubicBezTo>
                  <a:pt x="9124198" y="354630"/>
                  <a:pt x="9128161" y="713777"/>
                  <a:pt x="9127369" y="1068407"/>
                </a:cubicBezTo>
                <a:lnTo>
                  <a:pt x="0" y="1065657"/>
                </a:lnTo>
                <a:cubicBezTo>
                  <a:pt x="7" y="983107"/>
                  <a:pt x="13" y="900557"/>
                  <a:pt x="20" y="818007"/>
                </a:cubicBezTo>
                <a:close/>
              </a:path>
            </a:pathLst>
          </a:custGeom>
          <a:gradFill>
            <a:gsLst>
              <a:gs pos="39000">
                <a:schemeClr val="accent1"/>
              </a:gs>
              <a:gs pos="50000">
                <a:schemeClr val="accent1">
                  <a:lumMod val="40000"/>
                  <a:lumOff val="60000"/>
                </a:schemeClr>
              </a:gs>
              <a:gs pos="58000">
                <a:schemeClr val="accent1"/>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2" name="Title 1"/>
          <p:cNvSpPr>
            <a:spLocks noGrp="1"/>
          </p:cNvSpPr>
          <p:nvPr>
            <p:ph type="title"/>
          </p:nvPr>
        </p:nvSpPr>
        <p:spPr>
          <a:xfrm>
            <a:off x="902208" y="609600"/>
            <a:ext cx="4511040" cy="914400"/>
          </a:xfrm>
        </p:spPr>
        <p:txBody>
          <a:bodyPr anchor="b">
            <a:noAutofit/>
          </a:bodyPr>
          <a:lstStyle>
            <a:lvl1pPr algn="l">
              <a:defRPr sz="2200" b="0" i="0" cap="none" baseline="0">
                <a:solidFill>
                  <a:schemeClr val="tx2"/>
                </a:solidFill>
              </a:defRPr>
            </a:lvl1pPr>
          </a:lstStyle>
          <a:p>
            <a:r>
              <a:rPr lang="en-US" smtClean="0"/>
              <a:t>Click to edit Master title style</a:t>
            </a:r>
            <a:endParaRPr lang="en-US" dirty="0"/>
          </a:p>
        </p:txBody>
      </p:sp>
      <p:sp>
        <p:nvSpPr>
          <p:cNvPr id="10" name="Freeform 9"/>
          <p:cNvSpPr/>
          <p:nvPr/>
        </p:nvSpPr>
        <p:spPr>
          <a:xfrm>
            <a:off x="2" y="4973413"/>
            <a:ext cx="10233156" cy="928299"/>
          </a:xfrm>
          <a:custGeom>
            <a:avLst/>
            <a:gdLst>
              <a:gd name="connsiteX0" fmla="*/ 0 w 7548466"/>
              <a:gd name="connsiteY0" fmla="*/ 0 h 933061"/>
              <a:gd name="connsiteX1" fmla="*/ 9331 w 7548466"/>
              <a:gd name="connsiteY1" fmla="*/ 65314 h 933061"/>
              <a:gd name="connsiteX2" fmla="*/ 7221894 w 7548466"/>
              <a:gd name="connsiteY2" fmla="*/ 933061 h 933061"/>
              <a:gd name="connsiteX3" fmla="*/ 7548466 w 7548466"/>
              <a:gd name="connsiteY3" fmla="*/ 914400 h 933061"/>
              <a:gd name="connsiteX4" fmla="*/ 0 w 7548466"/>
              <a:gd name="connsiteY4" fmla="*/ 0 h 933061"/>
              <a:gd name="connsiteX0" fmla="*/ 131163 w 7539135"/>
              <a:gd name="connsiteY0" fmla="*/ 0 h 1042598"/>
              <a:gd name="connsiteX1" fmla="*/ 0 w 7539135"/>
              <a:gd name="connsiteY1" fmla="*/ 174851 h 1042598"/>
              <a:gd name="connsiteX2" fmla="*/ 7212563 w 7539135"/>
              <a:gd name="connsiteY2" fmla="*/ 1042598 h 1042598"/>
              <a:gd name="connsiteX3" fmla="*/ 7539135 w 7539135"/>
              <a:gd name="connsiteY3" fmla="*/ 1023937 h 1042598"/>
              <a:gd name="connsiteX4" fmla="*/ 131163 w 7539135"/>
              <a:gd name="connsiteY4" fmla="*/ 0 h 1042598"/>
              <a:gd name="connsiteX0" fmla="*/ 0 w 7407972"/>
              <a:gd name="connsiteY0" fmla="*/ 0 h 1042598"/>
              <a:gd name="connsiteX1" fmla="*/ 85531 w 7407972"/>
              <a:gd name="connsiteY1" fmla="*/ 134370 h 1042598"/>
              <a:gd name="connsiteX2" fmla="*/ 7081400 w 7407972"/>
              <a:gd name="connsiteY2" fmla="*/ 1042598 h 1042598"/>
              <a:gd name="connsiteX3" fmla="*/ 7407972 w 7407972"/>
              <a:gd name="connsiteY3" fmla="*/ 1023937 h 1042598"/>
              <a:gd name="connsiteX4" fmla="*/ 0 w 7407972"/>
              <a:gd name="connsiteY4" fmla="*/ 0 h 1042598"/>
              <a:gd name="connsiteX0" fmla="*/ 131163 w 7539135"/>
              <a:gd name="connsiteY0" fmla="*/ 0 h 1042598"/>
              <a:gd name="connsiteX1" fmla="*/ 0 w 7539135"/>
              <a:gd name="connsiteY1" fmla="*/ 193902 h 1042598"/>
              <a:gd name="connsiteX2" fmla="*/ 7212563 w 7539135"/>
              <a:gd name="connsiteY2" fmla="*/ 1042598 h 1042598"/>
              <a:gd name="connsiteX3" fmla="*/ 7539135 w 7539135"/>
              <a:gd name="connsiteY3" fmla="*/ 1023937 h 1042598"/>
              <a:gd name="connsiteX4" fmla="*/ 131163 w 7539135"/>
              <a:gd name="connsiteY4" fmla="*/ 0 h 1042598"/>
              <a:gd name="connsiteX0" fmla="*/ 59725 w 7539135"/>
              <a:gd name="connsiteY0" fmla="*/ 0 h 892580"/>
              <a:gd name="connsiteX1" fmla="*/ 0 w 7539135"/>
              <a:gd name="connsiteY1" fmla="*/ 43884 h 892580"/>
              <a:gd name="connsiteX2" fmla="*/ 7212563 w 7539135"/>
              <a:gd name="connsiteY2" fmla="*/ 892580 h 892580"/>
              <a:gd name="connsiteX3" fmla="*/ 7539135 w 7539135"/>
              <a:gd name="connsiteY3" fmla="*/ 873919 h 892580"/>
              <a:gd name="connsiteX4" fmla="*/ 59725 w 7539135"/>
              <a:gd name="connsiteY4" fmla="*/ 0 h 892580"/>
              <a:gd name="connsiteX0" fmla="*/ 194 w 7539135"/>
              <a:gd name="connsiteY0" fmla="*/ 0 h 923536"/>
              <a:gd name="connsiteX1" fmla="*/ 0 w 7539135"/>
              <a:gd name="connsiteY1" fmla="*/ 74840 h 923536"/>
              <a:gd name="connsiteX2" fmla="*/ 7212563 w 7539135"/>
              <a:gd name="connsiteY2" fmla="*/ 923536 h 923536"/>
              <a:gd name="connsiteX3" fmla="*/ 7539135 w 7539135"/>
              <a:gd name="connsiteY3" fmla="*/ 904875 h 923536"/>
              <a:gd name="connsiteX4" fmla="*/ 194 w 7539135"/>
              <a:gd name="connsiteY4" fmla="*/ 0 h 923536"/>
              <a:gd name="connsiteX0" fmla="*/ 194 w 7539135"/>
              <a:gd name="connsiteY0" fmla="*/ 0 h 904875"/>
              <a:gd name="connsiteX1" fmla="*/ 0 w 7539135"/>
              <a:gd name="connsiteY1" fmla="*/ 74840 h 904875"/>
              <a:gd name="connsiteX2" fmla="*/ 7212563 w 7539135"/>
              <a:gd name="connsiteY2" fmla="*/ 883055 h 904875"/>
              <a:gd name="connsiteX3" fmla="*/ 7539135 w 7539135"/>
              <a:gd name="connsiteY3" fmla="*/ 904875 h 904875"/>
              <a:gd name="connsiteX4" fmla="*/ 194 w 7539135"/>
              <a:gd name="connsiteY4" fmla="*/ 0 h 904875"/>
              <a:gd name="connsiteX0" fmla="*/ 194 w 7703442"/>
              <a:gd name="connsiteY0" fmla="*/ 0 h 1016794"/>
              <a:gd name="connsiteX1" fmla="*/ 0 w 7703442"/>
              <a:gd name="connsiteY1" fmla="*/ 74840 h 1016794"/>
              <a:gd name="connsiteX2" fmla="*/ 7212563 w 7703442"/>
              <a:gd name="connsiteY2" fmla="*/ 883055 h 1016794"/>
              <a:gd name="connsiteX3" fmla="*/ 7703442 w 7703442"/>
              <a:gd name="connsiteY3" fmla="*/ 1016794 h 1016794"/>
              <a:gd name="connsiteX4" fmla="*/ 194 w 7703442"/>
              <a:gd name="connsiteY4" fmla="*/ 0 h 1016794"/>
              <a:gd name="connsiteX0" fmla="*/ 194 w 7674867"/>
              <a:gd name="connsiteY0" fmla="*/ 0 h 897731"/>
              <a:gd name="connsiteX1" fmla="*/ 0 w 7674867"/>
              <a:gd name="connsiteY1" fmla="*/ 74840 h 897731"/>
              <a:gd name="connsiteX2" fmla="*/ 7212563 w 7674867"/>
              <a:gd name="connsiteY2" fmla="*/ 883055 h 897731"/>
              <a:gd name="connsiteX3" fmla="*/ 7674867 w 7674867"/>
              <a:gd name="connsiteY3" fmla="*/ 897731 h 897731"/>
              <a:gd name="connsiteX4" fmla="*/ 194 w 7674867"/>
              <a:gd name="connsiteY4" fmla="*/ 0 h 897731"/>
              <a:gd name="connsiteX0" fmla="*/ 194 w 7674867"/>
              <a:gd name="connsiteY0" fmla="*/ 0 h 930680"/>
              <a:gd name="connsiteX1" fmla="*/ 0 w 7674867"/>
              <a:gd name="connsiteY1" fmla="*/ 74840 h 930680"/>
              <a:gd name="connsiteX2" fmla="*/ 7293526 w 7674867"/>
              <a:gd name="connsiteY2" fmla="*/ 930680 h 930680"/>
              <a:gd name="connsiteX3" fmla="*/ 7674867 w 7674867"/>
              <a:gd name="connsiteY3" fmla="*/ 897731 h 930680"/>
              <a:gd name="connsiteX4" fmla="*/ 194 w 7674867"/>
              <a:gd name="connsiteY4" fmla="*/ 0 h 930680"/>
              <a:gd name="connsiteX0" fmla="*/ 194 w 7674867"/>
              <a:gd name="connsiteY0" fmla="*/ 0 h 897731"/>
              <a:gd name="connsiteX1" fmla="*/ 0 w 7674867"/>
              <a:gd name="connsiteY1" fmla="*/ 74840 h 897731"/>
              <a:gd name="connsiteX2" fmla="*/ 7293526 w 7674867"/>
              <a:gd name="connsiteY2" fmla="*/ 894961 h 897731"/>
              <a:gd name="connsiteX3" fmla="*/ 7674867 w 7674867"/>
              <a:gd name="connsiteY3" fmla="*/ 897731 h 897731"/>
              <a:gd name="connsiteX4" fmla="*/ 194 w 7674867"/>
              <a:gd name="connsiteY4" fmla="*/ 0 h 897731"/>
              <a:gd name="connsiteX0" fmla="*/ 194 w 7674867"/>
              <a:gd name="connsiteY0" fmla="*/ 0 h 897731"/>
              <a:gd name="connsiteX1" fmla="*/ 0 w 7674867"/>
              <a:gd name="connsiteY1" fmla="*/ 74840 h 897731"/>
              <a:gd name="connsiteX2" fmla="*/ 7238758 w 7674867"/>
              <a:gd name="connsiteY2" fmla="*/ 894961 h 897731"/>
              <a:gd name="connsiteX3" fmla="*/ 7674867 w 7674867"/>
              <a:gd name="connsiteY3" fmla="*/ 897731 h 897731"/>
              <a:gd name="connsiteX4" fmla="*/ 194 w 7674867"/>
              <a:gd name="connsiteY4" fmla="*/ 0 h 897731"/>
              <a:gd name="connsiteX0" fmla="*/ 194 w 7674867"/>
              <a:gd name="connsiteY0" fmla="*/ 0 h 897731"/>
              <a:gd name="connsiteX1" fmla="*/ 0 w 7674867"/>
              <a:gd name="connsiteY1" fmla="*/ 74840 h 897731"/>
              <a:gd name="connsiteX2" fmla="*/ 7298289 w 7674867"/>
              <a:gd name="connsiteY2" fmla="*/ 661599 h 897731"/>
              <a:gd name="connsiteX3" fmla="*/ 7674867 w 7674867"/>
              <a:gd name="connsiteY3" fmla="*/ 897731 h 897731"/>
              <a:gd name="connsiteX4" fmla="*/ 194 w 7674867"/>
              <a:gd name="connsiteY4" fmla="*/ 0 h 897731"/>
              <a:gd name="connsiteX0" fmla="*/ 194 w 7674867"/>
              <a:gd name="connsiteY0" fmla="*/ 0 h 928299"/>
              <a:gd name="connsiteX1" fmla="*/ 0 w 7674867"/>
              <a:gd name="connsiteY1" fmla="*/ 74840 h 928299"/>
              <a:gd name="connsiteX2" fmla="*/ 7298289 w 7674867"/>
              <a:gd name="connsiteY2" fmla="*/ 928299 h 928299"/>
              <a:gd name="connsiteX3" fmla="*/ 7674867 w 7674867"/>
              <a:gd name="connsiteY3" fmla="*/ 897731 h 928299"/>
              <a:gd name="connsiteX4" fmla="*/ 194 w 7674867"/>
              <a:gd name="connsiteY4" fmla="*/ 0 h 928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4867" h="928299">
                <a:moveTo>
                  <a:pt x="194" y="0"/>
                </a:moveTo>
                <a:cubicBezTo>
                  <a:pt x="129" y="24947"/>
                  <a:pt x="65" y="49893"/>
                  <a:pt x="0" y="74840"/>
                </a:cubicBezTo>
                <a:lnTo>
                  <a:pt x="7298289" y="928299"/>
                </a:lnTo>
                <a:lnTo>
                  <a:pt x="7674867" y="897731"/>
                </a:lnTo>
                <a:lnTo>
                  <a:pt x="194"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Freeform 10"/>
          <p:cNvSpPr/>
          <p:nvPr/>
        </p:nvSpPr>
        <p:spPr>
          <a:xfrm>
            <a:off x="-3176" y="5696242"/>
            <a:ext cx="12195176" cy="930294"/>
          </a:xfrm>
          <a:custGeom>
            <a:avLst/>
            <a:gdLst>
              <a:gd name="connsiteX0" fmla="*/ 9153331 w 9153331"/>
              <a:gd name="connsiteY0" fmla="*/ 0 h 951723"/>
              <a:gd name="connsiteX1" fmla="*/ 0 w 9153331"/>
              <a:gd name="connsiteY1" fmla="*/ 867747 h 951723"/>
              <a:gd name="connsiteX2" fmla="*/ 0 w 9153331"/>
              <a:gd name="connsiteY2" fmla="*/ 951723 h 951723"/>
              <a:gd name="connsiteX3" fmla="*/ 9153331 w 9153331"/>
              <a:gd name="connsiteY3" fmla="*/ 83976 h 951723"/>
              <a:gd name="connsiteX4" fmla="*/ 9153331 w 9153331"/>
              <a:gd name="connsiteY4" fmla="*/ 0 h 951723"/>
              <a:gd name="connsiteX0" fmla="*/ 9153331 w 9153331"/>
              <a:gd name="connsiteY0" fmla="*/ 0 h 951723"/>
              <a:gd name="connsiteX1" fmla="*/ 107265 w 9153331"/>
              <a:gd name="connsiteY1" fmla="*/ 901085 h 951723"/>
              <a:gd name="connsiteX2" fmla="*/ 0 w 9153331"/>
              <a:gd name="connsiteY2" fmla="*/ 951723 h 951723"/>
              <a:gd name="connsiteX3" fmla="*/ 9153331 w 9153331"/>
              <a:gd name="connsiteY3" fmla="*/ 83976 h 951723"/>
              <a:gd name="connsiteX4" fmla="*/ 9153331 w 9153331"/>
              <a:gd name="connsiteY4" fmla="*/ 0 h 951723"/>
              <a:gd name="connsiteX0" fmla="*/ 9155715 w 9155715"/>
              <a:gd name="connsiteY0" fmla="*/ 0 h 951723"/>
              <a:gd name="connsiteX1" fmla="*/ 0 w 9155715"/>
              <a:gd name="connsiteY1" fmla="*/ 865366 h 951723"/>
              <a:gd name="connsiteX2" fmla="*/ 2384 w 9155715"/>
              <a:gd name="connsiteY2" fmla="*/ 951723 h 951723"/>
              <a:gd name="connsiteX3" fmla="*/ 9155715 w 9155715"/>
              <a:gd name="connsiteY3" fmla="*/ 83976 h 951723"/>
              <a:gd name="connsiteX4" fmla="*/ 9155715 w 9155715"/>
              <a:gd name="connsiteY4" fmla="*/ 0 h 951723"/>
              <a:gd name="connsiteX0" fmla="*/ 9155715 w 9155715"/>
              <a:gd name="connsiteY0" fmla="*/ 0 h 894573"/>
              <a:gd name="connsiteX1" fmla="*/ 0 w 9155715"/>
              <a:gd name="connsiteY1" fmla="*/ 865366 h 894573"/>
              <a:gd name="connsiteX2" fmla="*/ 197847 w 9155715"/>
              <a:gd name="connsiteY2" fmla="*/ 894573 h 894573"/>
              <a:gd name="connsiteX3" fmla="*/ 9155715 w 9155715"/>
              <a:gd name="connsiteY3" fmla="*/ 83976 h 894573"/>
              <a:gd name="connsiteX4" fmla="*/ 9155715 w 9155715"/>
              <a:gd name="connsiteY4" fmla="*/ 0 h 894573"/>
              <a:gd name="connsiteX0" fmla="*/ 9155715 w 9155715"/>
              <a:gd name="connsiteY0" fmla="*/ 0 h 946961"/>
              <a:gd name="connsiteX1" fmla="*/ 0 w 9155715"/>
              <a:gd name="connsiteY1" fmla="*/ 865366 h 946961"/>
              <a:gd name="connsiteX2" fmla="*/ 4768 w 9155715"/>
              <a:gd name="connsiteY2" fmla="*/ 946961 h 946961"/>
              <a:gd name="connsiteX3" fmla="*/ 9155715 w 9155715"/>
              <a:gd name="connsiteY3" fmla="*/ 83976 h 946961"/>
              <a:gd name="connsiteX4" fmla="*/ 9155715 w 9155715"/>
              <a:gd name="connsiteY4" fmla="*/ 0 h 946961"/>
              <a:gd name="connsiteX0" fmla="*/ 9155715 w 9155715"/>
              <a:gd name="connsiteY0" fmla="*/ 0 h 894574"/>
              <a:gd name="connsiteX1" fmla="*/ 0 w 9155715"/>
              <a:gd name="connsiteY1" fmla="*/ 865366 h 894574"/>
              <a:gd name="connsiteX2" fmla="*/ 97732 w 9155715"/>
              <a:gd name="connsiteY2" fmla="*/ 894574 h 894574"/>
              <a:gd name="connsiteX3" fmla="*/ 9155715 w 9155715"/>
              <a:gd name="connsiteY3" fmla="*/ 83976 h 894574"/>
              <a:gd name="connsiteX4" fmla="*/ 9155715 w 9155715"/>
              <a:gd name="connsiteY4" fmla="*/ 0 h 894574"/>
              <a:gd name="connsiteX0" fmla="*/ 9155715 w 9155715"/>
              <a:gd name="connsiteY0" fmla="*/ 0 h 939818"/>
              <a:gd name="connsiteX1" fmla="*/ 0 w 9155715"/>
              <a:gd name="connsiteY1" fmla="*/ 865366 h 939818"/>
              <a:gd name="connsiteX2" fmla="*/ 2384 w 9155715"/>
              <a:gd name="connsiteY2" fmla="*/ 939818 h 939818"/>
              <a:gd name="connsiteX3" fmla="*/ 9155715 w 9155715"/>
              <a:gd name="connsiteY3" fmla="*/ 83976 h 939818"/>
              <a:gd name="connsiteX4" fmla="*/ 9155715 w 9155715"/>
              <a:gd name="connsiteY4" fmla="*/ 0 h 939818"/>
              <a:gd name="connsiteX0" fmla="*/ 9015078 w 9155715"/>
              <a:gd name="connsiteY0" fmla="*/ 0 h 873143"/>
              <a:gd name="connsiteX1" fmla="*/ 0 w 9155715"/>
              <a:gd name="connsiteY1" fmla="*/ 798691 h 873143"/>
              <a:gd name="connsiteX2" fmla="*/ 2384 w 9155715"/>
              <a:gd name="connsiteY2" fmla="*/ 873143 h 873143"/>
              <a:gd name="connsiteX3" fmla="*/ 9155715 w 9155715"/>
              <a:gd name="connsiteY3" fmla="*/ 17301 h 873143"/>
              <a:gd name="connsiteX4" fmla="*/ 9015078 w 9155715"/>
              <a:gd name="connsiteY4" fmla="*/ 0 h 873143"/>
              <a:gd name="connsiteX0" fmla="*/ 9160482 w 9160482"/>
              <a:gd name="connsiteY0" fmla="*/ 0 h 930293"/>
              <a:gd name="connsiteX1" fmla="*/ 0 w 9160482"/>
              <a:gd name="connsiteY1" fmla="*/ 855841 h 930293"/>
              <a:gd name="connsiteX2" fmla="*/ 2384 w 9160482"/>
              <a:gd name="connsiteY2" fmla="*/ 930293 h 930293"/>
              <a:gd name="connsiteX3" fmla="*/ 9155715 w 9160482"/>
              <a:gd name="connsiteY3" fmla="*/ 74451 h 930293"/>
              <a:gd name="connsiteX4" fmla="*/ 9160482 w 9160482"/>
              <a:gd name="connsiteY4" fmla="*/ 0 h 930293"/>
              <a:gd name="connsiteX0" fmla="*/ 9072286 w 9155715"/>
              <a:gd name="connsiteY0" fmla="*/ 0 h 885050"/>
              <a:gd name="connsiteX1" fmla="*/ 0 w 9155715"/>
              <a:gd name="connsiteY1" fmla="*/ 810598 h 885050"/>
              <a:gd name="connsiteX2" fmla="*/ 2384 w 9155715"/>
              <a:gd name="connsiteY2" fmla="*/ 885050 h 885050"/>
              <a:gd name="connsiteX3" fmla="*/ 9155715 w 9155715"/>
              <a:gd name="connsiteY3" fmla="*/ 29208 h 885050"/>
              <a:gd name="connsiteX4" fmla="*/ 9072286 w 9155715"/>
              <a:gd name="connsiteY4" fmla="*/ 0 h 885050"/>
              <a:gd name="connsiteX0" fmla="*/ 9155715 w 9155715"/>
              <a:gd name="connsiteY0" fmla="*/ 0 h 930294"/>
              <a:gd name="connsiteX1" fmla="*/ 0 w 9155715"/>
              <a:gd name="connsiteY1" fmla="*/ 855842 h 930294"/>
              <a:gd name="connsiteX2" fmla="*/ 2384 w 9155715"/>
              <a:gd name="connsiteY2" fmla="*/ 930294 h 930294"/>
              <a:gd name="connsiteX3" fmla="*/ 9155715 w 9155715"/>
              <a:gd name="connsiteY3" fmla="*/ 74452 h 930294"/>
              <a:gd name="connsiteX4" fmla="*/ 9155715 w 9155715"/>
              <a:gd name="connsiteY4" fmla="*/ 0 h 930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5715" h="930294">
                <a:moveTo>
                  <a:pt x="9155715" y="0"/>
                </a:moveTo>
                <a:lnTo>
                  <a:pt x="0" y="855842"/>
                </a:lnTo>
                <a:cubicBezTo>
                  <a:pt x="795" y="884628"/>
                  <a:pt x="1589" y="901508"/>
                  <a:pt x="2384" y="930294"/>
                </a:cubicBezTo>
                <a:lnTo>
                  <a:pt x="9155715" y="74452"/>
                </a:lnTo>
                <a:lnTo>
                  <a:pt x="9155715"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Date Placeholder 4"/>
          <p:cNvSpPr>
            <a:spLocks noGrp="1"/>
          </p:cNvSpPr>
          <p:nvPr>
            <p:ph type="dt" sz="half" idx="10"/>
          </p:nvPr>
        </p:nvSpPr>
        <p:spPr/>
        <p:txBody>
          <a:bodyPr/>
          <a:lstStyle/>
          <a:p>
            <a:fld id="{44A584DA-436B-44D3-9FC5-402F9F16BEBD}" type="datetime1">
              <a:rPr lang="en-US" smtClean="0"/>
              <a:t>10/1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01C670-DC88-4376-AA6B-FD9548DDC9F2}" type="slidenum">
              <a:rPr lang="en-US" smtClean="0"/>
              <a:pPr/>
              <a:t>‹#›</a:t>
            </a:fld>
            <a:endParaRPr lang="en-US" dirty="0"/>
          </a:p>
        </p:txBody>
      </p:sp>
      <p:sp>
        <p:nvSpPr>
          <p:cNvPr id="13" name="Content Placeholder 12"/>
          <p:cNvSpPr>
            <a:spLocks noGrp="1"/>
          </p:cNvSpPr>
          <p:nvPr>
            <p:ph sz="quarter" idx="13"/>
          </p:nvPr>
        </p:nvSpPr>
        <p:spPr>
          <a:xfrm>
            <a:off x="6096000" y="609600"/>
            <a:ext cx="5181600" cy="4191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Text Placeholder 13"/>
          <p:cNvSpPr>
            <a:spLocks noGrp="1"/>
          </p:cNvSpPr>
          <p:nvPr>
            <p:ph type="body" sz="quarter" idx="14"/>
          </p:nvPr>
        </p:nvSpPr>
        <p:spPr>
          <a:xfrm>
            <a:off x="901699" y="1527048"/>
            <a:ext cx="4511040" cy="3291840"/>
          </a:xfrm>
        </p:spPr>
        <p:txBody>
          <a:bodyPr>
            <a:normAutofit/>
          </a:bodyPr>
          <a:lstStyle>
            <a:lvl1pPr marL="0" indent="0">
              <a:buFontTx/>
              <a:buNone/>
              <a:defRPr sz="1600"/>
            </a:lvl1pPr>
            <a:lvl2pPr>
              <a:buFontTx/>
              <a:buNone/>
              <a:defRPr/>
            </a:lvl2pPr>
            <a:lvl3pPr>
              <a:buFontTx/>
              <a:buNone/>
              <a:defRPr/>
            </a:lvl3pPr>
            <a:lvl4pPr>
              <a:buFontTx/>
              <a:buNone/>
              <a:defRPr/>
            </a:lvl4pPr>
            <a:lvl5pPr>
              <a:buFontTx/>
              <a:buNone/>
              <a:defRPr/>
            </a:lvl5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FDF1B9-C609-924C-99B1-7C7D715EDC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2700"/>
            <a:ext cx="12192000" cy="6858000"/>
          </a:xfrm>
          <a:prstGeom prst="rect">
            <a:avLst/>
          </a:prstGeom>
        </p:spPr>
      </p:pic>
      <p:sp>
        <p:nvSpPr>
          <p:cNvPr id="13" name="Title 1">
            <a:extLst>
              <a:ext uri="{FF2B5EF4-FFF2-40B4-BE49-F238E27FC236}">
                <a16:creationId xmlns:a16="http://schemas.microsoft.com/office/drawing/2014/main" id="{9BBA2DAB-BFA5-6F4A-9FFF-D3C5B00754C5}"/>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4" name="Straight Connector 13">
            <a:extLst>
              <a:ext uri="{FF2B5EF4-FFF2-40B4-BE49-F238E27FC236}">
                <a16:creationId xmlns:a16="http://schemas.microsoft.com/office/drawing/2014/main" id="{2E193867-9B0F-C64D-B4D4-FFA53A252DDE}"/>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CD0F1771-AB77-2445-8011-A3839580F6EC}"/>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8" name="Picture 7">
            <a:extLst>
              <a:ext uri="{FF2B5EF4-FFF2-40B4-BE49-F238E27FC236}">
                <a16:creationId xmlns:a16="http://schemas.microsoft.com/office/drawing/2014/main" id="{095266BB-8EAD-064B-B14F-668F0D8600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15994913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86646568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_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66894D-1BFB-BF4F-BB68-A4CE5A1BB5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0CF0CB9-4C05-A941-9042-8358AA0472CE}"/>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2" name="Straight Connector 11">
            <a:extLst>
              <a:ext uri="{FF2B5EF4-FFF2-40B4-BE49-F238E27FC236}">
                <a16:creationId xmlns:a16="http://schemas.microsoft.com/office/drawing/2014/main" id="{5F1EB3CD-3F73-D942-84D8-0160A389C7C8}"/>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DD27FBFA-C2D2-0B41-A252-034408E0ECF6}"/>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4" name="Picture 13">
            <a:extLst>
              <a:ext uri="{FF2B5EF4-FFF2-40B4-BE49-F238E27FC236}">
                <a16:creationId xmlns:a16="http://schemas.microsoft.com/office/drawing/2014/main" id="{98DBD175-46D1-184F-845E-3740B1816F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13897681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1064115" y="2301874"/>
            <a:ext cx="2136285" cy="1492935"/>
          </a:xfrm>
        </p:spPr>
        <p:txBody>
          <a:bodyPr>
            <a:noAutofit/>
          </a:bodyPr>
          <a:lstStyle>
            <a:lvl1pPr marL="0" indent="0">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4514699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9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B1038A-CE81-3A43-8775-67FAADDAC0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12700"/>
            <a:ext cx="12185904" cy="6858000"/>
          </a:xfrm>
          <a:prstGeom prst="rect">
            <a:avLst/>
          </a:prstGeom>
        </p:spPr>
      </p:pic>
      <p:sp>
        <p:nvSpPr>
          <p:cNvPr id="7" name="Title 1">
            <a:extLst>
              <a:ext uri="{FF2B5EF4-FFF2-40B4-BE49-F238E27FC236}">
                <a16:creationId xmlns:a16="http://schemas.microsoft.com/office/drawing/2014/main" id="{EE5B502E-4494-C349-9D2B-0F618DF81C8A}"/>
              </a:ext>
            </a:extLst>
          </p:cNvPr>
          <p:cNvSpPr>
            <a:spLocks noGrp="1"/>
          </p:cNvSpPr>
          <p:nvPr>
            <p:ph type="title" hasCustomPrompt="1"/>
          </p:nvPr>
        </p:nvSpPr>
        <p:spPr>
          <a:xfrm>
            <a:off x="1127615" y="4010026"/>
            <a:ext cx="7089286" cy="598702"/>
          </a:xfrm>
        </p:spPr>
        <p:txBody>
          <a:bodyPr anchor="t">
            <a:noAutofit/>
          </a:bodyPr>
          <a:lstStyle>
            <a:lvl1pPr>
              <a:defRPr sz="4800"/>
            </a:lvl1pPr>
          </a:lstStyle>
          <a:p>
            <a:r>
              <a:rPr lang="en-US"/>
              <a:t>Section Divider</a:t>
            </a:r>
          </a:p>
        </p:txBody>
      </p:sp>
      <p:cxnSp>
        <p:nvCxnSpPr>
          <p:cNvPr id="8" name="Straight Connector 7">
            <a:extLst>
              <a:ext uri="{FF2B5EF4-FFF2-40B4-BE49-F238E27FC236}">
                <a16:creationId xmlns:a16="http://schemas.microsoft.com/office/drawing/2014/main" id="{3BE0AA21-91D1-C144-B97C-917195C068DC}"/>
              </a:ext>
            </a:extLst>
          </p:cNvPr>
          <p:cNvCxnSpPr>
            <a:cxnSpLocks/>
          </p:cNvCxnSpPr>
          <p:nvPr userDrawn="1"/>
        </p:nvCxnSpPr>
        <p:spPr>
          <a:xfrm>
            <a:off x="1127615" y="36649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890FB86E-C8D9-B142-BFBB-BA8D2BC2DD6A}"/>
              </a:ext>
            </a:extLst>
          </p:cNvPr>
          <p:cNvSpPr>
            <a:spLocks noGrp="1"/>
          </p:cNvSpPr>
          <p:nvPr>
            <p:ph type="body" sz="quarter" idx="10" hasCustomPrompt="1"/>
          </p:nvPr>
        </p:nvSpPr>
        <p:spPr>
          <a:xfrm>
            <a:off x="1127615" y="4787389"/>
            <a:ext cx="7432675" cy="609600"/>
          </a:xfrm>
        </p:spPr>
        <p:txBody>
          <a:bodyPr anchor="t">
            <a:normAutofit/>
          </a:bodyPr>
          <a:lstStyle>
            <a:lvl1pPr marL="0" indent="0">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D0062E66-2E60-CE40-820C-CFBC235C1B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15" y="2983533"/>
            <a:ext cx="3390900" cy="420067"/>
          </a:xfrm>
          <a:prstGeom prst="rect">
            <a:avLst/>
          </a:prstGeom>
        </p:spPr>
      </p:pic>
    </p:spTree>
    <p:extLst>
      <p:ext uri="{BB962C8B-B14F-4D97-AF65-F5344CB8AC3E}">
        <p14:creationId xmlns:p14="http://schemas.microsoft.com/office/powerpoint/2010/main" val="406377177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0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2" name="Title 1">
            <a:extLst>
              <a:ext uri="{FF2B5EF4-FFF2-40B4-BE49-F238E27FC236}">
                <a16:creationId xmlns:a16="http://schemas.microsoft.com/office/drawing/2014/main" id="{23DB6654-BFF0-F846-A658-9C55A0447043}"/>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10" name="Straight Connector 9">
            <a:extLst>
              <a:ext uri="{FF2B5EF4-FFF2-40B4-BE49-F238E27FC236}">
                <a16:creationId xmlns:a16="http://schemas.microsoft.com/office/drawing/2014/main" id="{EEA64F81-9AEF-324F-A486-941CB02F1B4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FED172E8-22B9-5B47-9831-5E6131E03F90}"/>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sp>
        <p:nvSpPr>
          <p:cNvPr id="11" name="Text Placeholder 5">
            <a:extLst>
              <a:ext uri="{FF2B5EF4-FFF2-40B4-BE49-F238E27FC236}">
                <a16:creationId xmlns:a16="http://schemas.microsoft.com/office/drawing/2014/main" id="{839C39C6-17EC-2241-840C-43E145908FAE}"/>
              </a:ext>
            </a:extLst>
          </p:cNvPr>
          <p:cNvSpPr>
            <a:spLocks noGrp="1"/>
          </p:cNvSpPr>
          <p:nvPr>
            <p:ph type="body" sz="quarter" idx="11" hasCustomPrompt="1"/>
          </p:nvPr>
        </p:nvSpPr>
        <p:spPr>
          <a:xfrm>
            <a:off x="9141805" y="2035174"/>
            <a:ext cx="2136285" cy="1492935"/>
          </a:xfrm>
        </p:spPr>
        <p:txBody>
          <a:bodyPr>
            <a:noAutofit/>
          </a:bodyPr>
          <a:lstStyle>
            <a:lvl1pPr marL="0" indent="0" algn="r">
              <a:buNone/>
              <a:defRPr sz="8800" b="1">
                <a:solidFill>
                  <a:schemeClr val="bg1">
                    <a:lumMod val="85000"/>
                  </a:schemeClr>
                </a:solidFill>
              </a:defRPr>
            </a:lvl1pPr>
          </a:lstStyle>
          <a:p>
            <a:pPr lvl="0"/>
            <a:r>
              <a:rPr lang="en-US"/>
              <a:t>01</a:t>
            </a:r>
          </a:p>
        </p:txBody>
      </p:sp>
    </p:spTree>
    <p:extLst>
      <p:ext uri="{BB962C8B-B14F-4D97-AF65-F5344CB8AC3E}">
        <p14:creationId xmlns:p14="http://schemas.microsoft.com/office/powerpoint/2010/main" val="32640018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1_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C98275-964A-BA46-B7DF-16894D84F2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 y="0"/>
            <a:ext cx="12185904" cy="6858000"/>
          </a:xfrm>
          <a:prstGeom prst="rect">
            <a:avLst/>
          </a:prstGeom>
        </p:spPr>
      </p:pic>
      <p:sp>
        <p:nvSpPr>
          <p:cNvPr id="7" name="Title 1">
            <a:extLst>
              <a:ext uri="{FF2B5EF4-FFF2-40B4-BE49-F238E27FC236}">
                <a16:creationId xmlns:a16="http://schemas.microsoft.com/office/drawing/2014/main" id="{B8074ED8-B4B0-2B44-AA89-2A2F36926D96}"/>
              </a:ext>
            </a:extLst>
          </p:cNvPr>
          <p:cNvSpPr>
            <a:spLocks noGrp="1"/>
          </p:cNvSpPr>
          <p:nvPr>
            <p:ph type="title" hasCustomPrompt="1"/>
          </p:nvPr>
        </p:nvSpPr>
        <p:spPr>
          <a:xfrm>
            <a:off x="4188804" y="3743326"/>
            <a:ext cx="7089286" cy="598702"/>
          </a:xfrm>
        </p:spPr>
        <p:txBody>
          <a:bodyPr anchor="t">
            <a:noAutofit/>
          </a:bodyPr>
          <a:lstStyle>
            <a:lvl1pPr algn="r">
              <a:defRPr sz="4800"/>
            </a:lvl1pPr>
          </a:lstStyle>
          <a:p>
            <a:r>
              <a:rPr lang="en-US"/>
              <a:t>Section Divider</a:t>
            </a:r>
          </a:p>
        </p:txBody>
      </p:sp>
      <p:cxnSp>
        <p:nvCxnSpPr>
          <p:cNvPr id="8" name="Straight Connector 7">
            <a:extLst>
              <a:ext uri="{FF2B5EF4-FFF2-40B4-BE49-F238E27FC236}">
                <a16:creationId xmlns:a16="http://schemas.microsoft.com/office/drawing/2014/main" id="{F2C5309D-70FF-C945-9EB3-6BA00C511FA3}"/>
              </a:ext>
            </a:extLst>
          </p:cNvPr>
          <p:cNvCxnSpPr>
            <a:cxnSpLocks/>
          </p:cNvCxnSpPr>
          <p:nvPr userDrawn="1"/>
        </p:nvCxnSpPr>
        <p:spPr>
          <a:xfrm>
            <a:off x="9647614" y="3398294"/>
            <a:ext cx="1630476" cy="0"/>
          </a:xfrm>
          <a:prstGeom prst="line">
            <a:avLst/>
          </a:prstGeom>
          <a:ln w="50800">
            <a:solidFill>
              <a:srgbClr val="EAAA00"/>
            </a:solidFill>
          </a:ln>
        </p:spPr>
        <p:style>
          <a:lnRef idx="1">
            <a:schemeClr val="accent1"/>
          </a:lnRef>
          <a:fillRef idx="0">
            <a:schemeClr val="accent1"/>
          </a:fillRef>
          <a:effectRef idx="0">
            <a:schemeClr val="accent1"/>
          </a:effectRef>
          <a:fontRef idx="minor">
            <a:schemeClr val="tx1"/>
          </a:fontRef>
        </p:style>
      </p:cxnSp>
      <p:sp>
        <p:nvSpPr>
          <p:cNvPr id="9" name="Text Placeholder 5">
            <a:extLst>
              <a:ext uri="{FF2B5EF4-FFF2-40B4-BE49-F238E27FC236}">
                <a16:creationId xmlns:a16="http://schemas.microsoft.com/office/drawing/2014/main" id="{978F7329-B354-3844-B8E1-8C781F56D36D}"/>
              </a:ext>
            </a:extLst>
          </p:cNvPr>
          <p:cNvSpPr>
            <a:spLocks noGrp="1"/>
          </p:cNvSpPr>
          <p:nvPr>
            <p:ph type="body" sz="quarter" idx="10" hasCustomPrompt="1"/>
          </p:nvPr>
        </p:nvSpPr>
        <p:spPr>
          <a:xfrm>
            <a:off x="3845415" y="4520689"/>
            <a:ext cx="7432675" cy="609600"/>
          </a:xfrm>
        </p:spPr>
        <p:txBody>
          <a:bodyPr anchor="t">
            <a:normAutofit/>
          </a:bodyPr>
          <a:lstStyle>
            <a:lvl1pPr marL="0" indent="0" algn="r">
              <a:buNone/>
              <a:defRPr sz="1800">
                <a:solidFill>
                  <a:schemeClr val="bg1">
                    <a:lumMod val="50000"/>
                  </a:schemeClr>
                </a:solidFill>
              </a:defRPr>
            </a:lvl1pPr>
          </a:lstStyle>
          <a:p>
            <a:pPr lvl="0"/>
            <a:r>
              <a:rPr lang="en-US"/>
              <a:t>This is where your subheading goes.</a:t>
            </a:r>
          </a:p>
        </p:txBody>
      </p:sp>
      <p:pic>
        <p:nvPicPr>
          <p:cNvPr id="12" name="Picture 11">
            <a:extLst>
              <a:ext uri="{FF2B5EF4-FFF2-40B4-BE49-F238E27FC236}">
                <a16:creationId xmlns:a16="http://schemas.microsoft.com/office/drawing/2014/main" id="{34132195-6562-144C-A372-740246DFF6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7190" y="2745407"/>
            <a:ext cx="3390900" cy="420067"/>
          </a:xfrm>
          <a:prstGeom prst="rect">
            <a:avLst/>
          </a:prstGeom>
        </p:spPr>
      </p:pic>
    </p:spTree>
    <p:extLst>
      <p:ext uri="{BB962C8B-B14F-4D97-AF65-F5344CB8AC3E}">
        <p14:creationId xmlns:p14="http://schemas.microsoft.com/office/powerpoint/2010/main" val="24085898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2_Title 1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3EF6F6A-CBCE-6E4D-AD1D-AFCD8E38B2F9}"/>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A1C3EC81-77F8-134C-A8E4-2E64BE6C41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9ABE412-5FF5-0F47-B6A8-B7F73E9800D2}"/>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2" name="Text Placeholder 11">
            <a:extLst>
              <a:ext uri="{FF2B5EF4-FFF2-40B4-BE49-F238E27FC236}">
                <a16:creationId xmlns:a16="http://schemas.microsoft.com/office/drawing/2014/main" id="{5AF221E1-88A2-8746-9DE7-82DD58467060}"/>
              </a:ext>
            </a:extLst>
          </p:cNvPr>
          <p:cNvSpPr>
            <a:spLocks noGrp="1"/>
          </p:cNvSpPr>
          <p:nvPr>
            <p:ph type="body" sz="quarter" idx="10"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5410547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3_Title 1 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5"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0338568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4_Title 1 Column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B56A5-4E3B-9544-A014-4E7CBDDDF31F}"/>
              </a:ext>
            </a:extLst>
          </p:cNvPr>
          <p:cNvSpPr>
            <a:spLocks noGrp="1"/>
          </p:cNvSpPr>
          <p:nvPr>
            <p:ph sz="half" idx="1"/>
          </p:nvPr>
        </p:nvSpPr>
        <p:spPr>
          <a:xfrm>
            <a:off x="342900"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46403F0-0858-074C-B448-DB7F70F04DB4}"/>
              </a:ext>
            </a:extLst>
          </p:cNvPr>
          <p:cNvSpPr>
            <a:spLocks noGrp="1"/>
          </p:cNvSpPr>
          <p:nvPr>
            <p:ph sz="half" idx="14"/>
          </p:nvPr>
        </p:nvSpPr>
        <p:spPr>
          <a:xfrm>
            <a:off x="6215062" y="1439046"/>
            <a:ext cx="5586886" cy="5020056"/>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393DF375-4509-814F-BD11-A6D81E2FB8FE}"/>
              </a:ext>
            </a:extLst>
          </p:cNvPr>
          <p:cNvSpPr/>
          <p:nvPr userDrawn="1"/>
        </p:nvSpPr>
        <p:spPr>
          <a:xfrm>
            <a:off x="242883" y="393702"/>
            <a:ext cx="400051" cy="4704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35C8FA2B-5386-2243-A4F5-D730A1DB4039}"/>
              </a:ext>
            </a:extLst>
          </p:cNvPr>
          <p:cNvSpPr>
            <a:spLocks noGrp="1"/>
          </p:cNvSpPr>
          <p:nvPr>
            <p:ph type="title" hasCustomPrompt="1"/>
          </p:nvPr>
        </p:nvSpPr>
        <p:spPr>
          <a:xfrm>
            <a:off x="342900" y="365126"/>
            <a:ext cx="11468100" cy="598702"/>
          </a:xfrm>
        </p:spPr>
        <p:txBody>
          <a:bodyPr/>
          <a:lstStyle>
            <a:lvl1pPr algn="ctr">
              <a:defRPr b="1"/>
            </a:lvl1pPr>
          </a:lstStyle>
          <a:p>
            <a:r>
              <a:rPr lang="en-US"/>
              <a:t>Title of Slide</a:t>
            </a:r>
          </a:p>
        </p:txBody>
      </p:sp>
      <p:sp>
        <p:nvSpPr>
          <p:cNvPr id="10" name="Text Placeholder 11">
            <a:extLst>
              <a:ext uri="{FF2B5EF4-FFF2-40B4-BE49-F238E27FC236}">
                <a16:creationId xmlns:a16="http://schemas.microsoft.com/office/drawing/2014/main" id="{59985EC9-6386-584E-9E99-503708BCC302}"/>
              </a:ext>
            </a:extLst>
          </p:cNvPr>
          <p:cNvSpPr>
            <a:spLocks noGrp="1"/>
          </p:cNvSpPr>
          <p:nvPr>
            <p:ph type="body" sz="quarter" idx="13" hasCustomPrompt="1"/>
          </p:nvPr>
        </p:nvSpPr>
        <p:spPr>
          <a:xfrm>
            <a:off x="342900" y="884957"/>
            <a:ext cx="11464925" cy="368300"/>
          </a:xfrm>
        </p:spPr>
        <p:txBody>
          <a:bodyPr>
            <a:normAutofit/>
          </a:bodyPr>
          <a:lstStyle>
            <a:lvl1pPr marL="0" indent="0" algn="ctr">
              <a:buNone/>
              <a:defRPr sz="1800">
                <a:solidFill>
                  <a:schemeClr val="bg1">
                    <a:lumMod val="50000"/>
                  </a:schemeClr>
                </a:solidFill>
              </a:defRPr>
            </a:lvl1pPr>
          </a:lstStyle>
          <a:p>
            <a:pPr lvl="0"/>
            <a:r>
              <a:rPr lang="en-US"/>
              <a:t>This is where your subheading goes.</a:t>
            </a:r>
          </a:p>
        </p:txBody>
      </p:sp>
      <p:sp>
        <p:nvSpPr>
          <p:cNvPr id="7"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2528404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Freeform 7"/>
          <p:cNvSpPr/>
          <p:nvPr/>
        </p:nvSpPr>
        <p:spPr>
          <a:xfrm>
            <a:off x="2409854" y="6148043"/>
            <a:ext cx="9785321" cy="711996"/>
          </a:xfrm>
          <a:custGeom>
            <a:avLst/>
            <a:gdLst>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666750 h 2114550"/>
              <a:gd name="connsiteX1" fmla="*/ 9144000 w 9144000"/>
              <a:gd name="connsiteY1" fmla="*/ 0 h 2114550"/>
              <a:gd name="connsiteX2" fmla="*/ 9144000 w 9144000"/>
              <a:gd name="connsiteY2" fmla="*/ 914400 h 2114550"/>
              <a:gd name="connsiteX3" fmla="*/ 6334125 w 9144000"/>
              <a:gd name="connsiteY3" fmla="*/ 2114550 h 2114550"/>
              <a:gd name="connsiteX4" fmla="*/ 0 w 9144000"/>
              <a:gd name="connsiteY4" fmla="*/ 1047750 h 2114550"/>
              <a:gd name="connsiteX5" fmla="*/ 9525 w 9144000"/>
              <a:gd name="connsiteY5" fmla="*/ 666750 h 2114550"/>
              <a:gd name="connsiteX0" fmla="*/ 9525 w 9144000"/>
              <a:gd name="connsiteY0" fmla="*/ 9525 h 1457325"/>
              <a:gd name="connsiteX1" fmla="*/ 9144000 w 9144000"/>
              <a:gd name="connsiteY1" fmla="*/ 0 h 1457325"/>
              <a:gd name="connsiteX2" fmla="*/ 9144000 w 9144000"/>
              <a:gd name="connsiteY2" fmla="*/ 257175 h 1457325"/>
              <a:gd name="connsiteX3" fmla="*/ 6334125 w 9144000"/>
              <a:gd name="connsiteY3" fmla="*/ 1457325 h 1457325"/>
              <a:gd name="connsiteX4" fmla="*/ 0 w 9144000"/>
              <a:gd name="connsiteY4" fmla="*/ 390525 h 1457325"/>
              <a:gd name="connsiteX5" fmla="*/ 9525 w 9144000"/>
              <a:gd name="connsiteY5" fmla="*/ 9525 h 1457325"/>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6334125 w 9144000"/>
              <a:gd name="connsiteY4" fmla="*/ 1457325 h 1581150"/>
              <a:gd name="connsiteX5" fmla="*/ 0 w 9144000"/>
              <a:gd name="connsiteY5" fmla="*/ 390525 h 1581150"/>
              <a:gd name="connsiteX6" fmla="*/ 9525 w 9144000"/>
              <a:gd name="connsiteY6"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390525 h 1581150"/>
              <a:gd name="connsiteX5" fmla="*/ 9525 w 9144000"/>
              <a:gd name="connsiteY5" fmla="*/ 9525 h 1581150"/>
              <a:gd name="connsiteX0" fmla="*/ 9525 w 9144000"/>
              <a:gd name="connsiteY0" fmla="*/ 952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9525 w 9144000"/>
              <a:gd name="connsiteY5" fmla="*/ 9525 h 1581150"/>
              <a:gd name="connsiteX0" fmla="*/ 342207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342207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0 w 9144000"/>
              <a:gd name="connsiteY4" fmla="*/ 1571625 h 1581150"/>
              <a:gd name="connsiteX5" fmla="*/ 20 w 9144000"/>
              <a:gd name="connsiteY5" fmla="*/ 1323975 h 1581150"/>
              <a:gd name="connsiteX0" fmla="*/ 20 w 9144000"/>
              <a:gd name="connsiteY0" fmla="*/ 1323975 h 1581150"/>
              <a:gd name="connsiteX1" fmla="*/ 9144000 w 9144000"/>
              <a:gd name="connsiteY1" fmla="*/ 0 h 1581150"/>
              <a:gd name="connsiteX2" fmla="*/ 9144000 w 9144000"/>
              <a:gd name="connsiteY2" fmla="*/ 257175 h 1581150"/>
              <a:gd name="connsiteX3" fmla="*/ 9144000 w 9144000"/>
              <a:gd name="connsiteY3" fmla="*/ 1581150 h 1581150"/>
              <a:gd name="connsiteX4" fmla="*/ 9134495 w 9144000"/>
              <a:gd name="connsiteY4" fmla="*/ 1572115 h 1581150"/>
              <a:gd name="connsiteX5" fmla="*/ 0 w 9144000"/>
              <a:gd name="connsiteY5" fmla="*/ 1571625 h 1581150"/>
              <a:gd name="connsiteX6" fmla="*/ 20 w 9144000"/>
              <a:gd name="connsiteY6" fmla="*/ 1323975 h 1581150"/>
              <a:gd name="connsiteX0" fmla="*/ 20 w 9144000"/>
              <a:gd name="connsiteY0" fmla="*/ 1323975 h 1581150"/>
              <a:gd name="connsiteX1" fmla="*/ 9144000 w 9144000"/>
              <a:gd name="connsiteY1" fmla="*/ 0 h 1581150"/>
              <a:gd name="connsiteX2" fmla="*/ 9144000 w 9144000"/>
              <a:gd name="connsiteY2" fmla="*/ 1581150 h 1581150"/>
              <a:gd name="connsiteX3" fmla="*/ 9134495 w 9144000"/>
              <a:gd name="connsiteY3" fmla="*/ 1572115 h 1581150"/>
              <a:gd name="connsiteX4" fmla="*/ 0 w 9144000"/>
              <a:gd name="connsiteY4" fmla="*/ 1571625 h 1581150"/>
              <a:gd name="connsiteX5" fmla="*/ 20 w 9144000"/>
              <a:gd name="connsiteY5" fmla="*/ 1323975 h 1581150"/>
              <a:gd name="connsiteX0" fmla="*/ 20 w 9144000"/>
              <a:gd name="connsiteY0" fmla="*/ 456601 h 713776"/>
              <a:gd name="connsiteX1" fmla="*/ 8611709 w 9144000"/>
              <a:gd name="connsiteY1" fmla="*/ 0 h 713776"/>
              <a:gd name="connsiteX2" fmla="*/ 9144000 w 9144000"/>
              <a:gd name="connsiteY2" fmla="*/ 713776 h 713776"/>
              <a:gd name="connsiteX3" fmla="*/ 9134495 w 9144000"/>
              <a:gd name="connsiteY3" fmla="*/ 704741 h 713776"/>
              <a:gd name="connsiteX4" fmla="*/ 0 w 9144000"/>
              <a:gd name="connsiteY4" fmla="*/ 704251 h 713776"/>
              <a:gd name="connsiteX5" fmla="*/ 20 w 9144000"/>
              <a:gd name="connsiteY5" fmla="*/ 456601 h 713776"/>
              <a:gd name="connsiteX0" fmla="*/ 20 w 9144000"/>
              <a:gd name="connsiteY0" fmla="*/ 818007 h 1075182"/>
              <a:gd name="connsiteX1" fmla="*/ 9124990 w 9144000"/>
              <a:gd name="connsiteY1" fmla="*/ 0 h 1075182"/>
              <a:gd name="connsiteX2" fmla="*/ 9144000 w 9144000"/>
              <a:gd name="connsiteY2" fmla="*/ 1075182 h 1075182"/>
              <a:gd name="connsiteX3" fmla="*/ 9134495 w 9144000"/>
              <a:gd name="connsiteY3" fmla="*/ 1066147 h 1075182"/>
              <a:gd name="connsiteX4" fmla="*/ 0 w 9144000"/>
              <a:gd name="connsiteY4" fmla="*/ 1065657 h 1075182"/>
              <a:gd name="connsiteX5" fmla="*/ 20 w 9144000"/>
              <a:gd name="connsiteY5" fmla="*/ 818007 h 1075182"/>
              <a:gd name="connsiteX0" fmla="*/ 20 w 9144000"/>
              <a:gd name="connsiteY0" fmla="*/ 176512 h 433687"/>
              <a:gd name="connsiteX1" fmla="*/ 8782802 w 9144000"/>
              <a:gd name="connsiteY1" fmla="*/ 0 h 433687"/>
              <a:gd name="connsiteX2" fmla="*/ 9144000 w 9144000"/>
              <a:gd name="connsiteY2" fmla="*/ 433687 h 433687"/>
              <a:gd name="connsiteX3" fmla="*/ 9134495 w 9144000"/>
              <a:gd name="connsiteY3" fmla="*/ 424652 h 433687"/>
              <a:gd name="connsiteX4" fmla="*/ 0 w 9144000"/>
              <a:gd name="connsiteY4" fmla="*/ 424162 h 433687"/>
              <a:gd name="connsiteX5" fmla="*/ 20 w 9144000"/>
              <a:gd name="connsiteY5" fmla="*/ 176512 h 433687"/>
              <a:gd name="connsiteX0" fmla="*/ 20 w 9144000"/>
              <a:gd name="connsiteY0" fmla="*/ 411426 h 668601"/>
              <a:gd name="connsiteX1" fmla="*/ 9124989 w 9144000"/>
              <a:gd name="connsiteY1" fmla="*/ 0 h 668601"/>
              <a:gd name="connsiteX2" fmla="*/ 9144000 w 9144000"/>
              <a:gd name="connsiteY2" fmla="*/ 668601 h 668601"/>
              <a:gd name="connsiteX3" fmla="*/ 9134495 w 9144000"/>
              <a:gd name="connsiteY3" fmla="*/ 659566 h 668601"/>
              <a:gd name="connsiteX4" fmla="*/ 0 w 9144000"/>
              <a:gd name="connsiteY4" fmla="*/ 659076 h 668601"/>
              <a:gd name="connsiteX5" fmla="*/ 20 w 9144000"/>
              <a:gd name="connsiteY5" fmla="*/ 411426 h 668601"/>
              <a:gd name="connsiteX0" fmla="*/ 20 w 9144000"/>
              <a:gd name="connsiteY0" fmla="*/ 998711 h 1081261"/>
              <a:gd name="connsiteX1" fmla="*/ 9124989 w 9144000"/>
              <a:gd name="connsiteY1" fmla="*/ 0 h 1081261"/>
              <a:gd name="connsiteX2" fmla="*/ 9144000 w 9144000"/>
              <a:gd name="connsiteY2" fmla="*/ 668601 h 1081261"/>
              <a:gd name="connsiteX3" fmla="*/ 9134495 w 9144000"/>
              <a:gd name="connsiteY3" fmla="*/ 659566 h 1081261"/>
              <a:gd name="connsiteX4" fmla="*/ 0 w 9144000"/>
              <a:gd name="connsiteY4" fmla="*/ 659076 h 1081261"/>
              <a:gd name="connsiteX5" fmla="*/ 20 w 9144000"/>
              <a:gd name="connsiteY5" fmla="*/ 998711 h 1081261"/>
              <a:gd name="connsiteX0" fmla="*/ 2243247 w 9144000"/>
              <a:gd name="connsiteY0" fmla="*/ 619235 h 701785"/>
              <a:gd name="connsiteX1" fmla="*/ 9124989 w 9144000"/>
              <a:gd name="connsiteY1" fmla="*/ 0 h 701785"/>
              <a:gd name="connsiteX2" fmla="*/ 9144000 w 9144000"/>
              <a:gd name="connsiteY2" fmla="*/ 668601 h 701785"/>
              <a:gd name="connsiteX3" fmla="*/ 9134495 w 9144000"/>
              <a:gd name="connsiteY3" fmla="*/ 659566 h 701785"/>
              <a:gd name="connsiteX4" fmla="*/ 0 w 9144000"/>
              <a:gd name="connsiteY4" fmla="*/ 659076 h 701785"/>
              <a:gd name="connsiteX5" fmla="*/ 2243247 w 9144000"/>
              <a:gd name="connsiteY5" fmla="*/ 619235 h 701785"/>
              <a:gd name="connsiteX0" fmla="*/ 7 w 6900760"/>
              <a:gd name="connsiteY0" fmla="*/ 619235 h 1354783"/>
              <a:gd name="connsiteX1" fmla="*/ 6881749 w 6900760"/>
              <a:gd name="connsiteY1" fmla="*/ 0 h 1354783"/>
              <a:gd name="connsiteX2" fmla="*/ 6900760 w 6900760"/>
              <a:gd name="connsiteY2" fmla="*/ 668601 h 1354783"/>
              <a:gd name="connsiteX3" fmla="*/ 6891255 w 6900760"/>
              <a:gd name="connsiteY3" fmla="*/ 659566 h 1354783"/>
              <a:gd name="connsiteX4" fmla="*/ 684361 w 6900760"/>
              <a:gd name="connsiteY4" fmla="*/ 1354783 h 1354783"/>
              <a:gd name="connsiteX5" fmla="*/ 7 w 6900760"/>
              <a:gd name="connsiteY5" fmla="*/ 619235 h 1354783"/>
              <a:gd name="connsiteX0" fmla="*/ 0 w 6900753"/>
              <a:gd name="connsiteY0" fmla="*/ 619235 h 668601"/>
              <a:gd name="connsiteX1" fmla="*/ 6881742 w 6900753"/>
              <a:gd name="connsiteY1" fmla="*/ 0 h 668601"/>
              <a:gd name="connsiteX2" fmla="*/ 6900753 w 6900753"/>
              <a:gd name="connsiteY2" fmla="*/ 668601 h 668601"/>
              <a:gd name="connsiteX3" fmla="*/ 6891248 w 6900753"/>
              <a:gd name="connsiteY3" fmla="*/ 659566 h 668601"/>
              <a:gd name="connsiteX4" fmla="*/ 0 w 6900753"/>
              <a:gd name="connsiteY4" fmla="*/ 619235 h 668601"/>
              <a:gd name="connsiteX0" fmla="*/ 0 w 6263905"/>
              <a:gd name="connsiteY0" fmla="*/ 1197485 h 1197485"/>
              <a:gd name="connsiteX1" fmla="*/ 6244894 w 6263905"/>
              <a:gd name="connsiteY1" fmla="*/ 0 h 1197485"/>
              <a:gd name="connsiteX2" fmla="*/ 6263905 w 6263905"/>
              <a:gd name="connsiteY2" fmla="*/ 668601 h 1197485"/>
              <a:gd name="connsiteX3" fmla="*/ 6254400 w 6263905"/>
              <a:gd name="connsiteY3" fmla="*/ 659566 h 1197485"/>
              <a:gd name="connsiteX4" fmla="*/ 0 w 6263905"/>
              <a:gd name="connsiteY4" fmla="*/ 1197485 h 1197485"/>
              <a:gd name="connsiteX0" fmla="*/ 0 w 7318982"/>
              <a:gd name="connsiteY0" fmla="*/ 673446 h 673446"/>
              <a:gd name="connsiteX1" fmla="*/ 7299971 w 7318982"/>
              <a:gd name="connsiteY1" fmla="*/ 0 h 673446"/>
              <a:gd name="connsiteX2" fmla="*/ 7318982 w 7318982"/>
              <a:gd name="connsiteY2" fmla="*/ 668601 h 673446"/>
              <a:gd name="connsiteX3" fmla="*/ 7309477 w 7318982"/>
              <a:gd name="connsiteY3" fmla="*/ 659566 h 673446"/>
              <a:gd name="connsiteX4" fmla="*/ 0 w 7318982"/>
              <a:gd name="connsiteY4" fmla="*/ 673446 h 673446"/>
              <a:gd name="connsiteX0" fmla="*/ 0 w 7318982"/>
              <a:gd name="connsiteY0" fmla="*/ 673446 h 673446"/>
              <a:gd name="connsiteX1" fmla="*/ 7299971 w 7318982"/>
              <a:gd name="connsiteY1" fmla="*/ 0 h 673446"/>
              <a:gd name="connsiteX2" fmla="*/ 7318982 w 7318982"/>
              <a:gd name="connsiteY2" fmla="*/ 668601 h 673446"/>
              <a:gd name="connsiteX3" fmla="*/ 0 w 7318982"/>
              <a:gd name="connsiteY3" fmla="*/ 673446 h 673446"/>
              <a:gd name="connsiteX0" fmla="*/ 0 w 7318982"/>
              <a:gd name="connsiteY0" fmla="*/ 526624 h 526624"/>
              <a:gd name="connsiteX1" fmla="*/ 7166898 w 7318982"/>
              <a:gd name="connsiteY1" fmla="*/ 0 h 526624"/>
              <a:gd name="connsiteX2" fmla="*/ 7318982 w 7318982"/>
              <a:gd name="connsiteY2" fmla="*/ 521779 h 526624"/>
              <a:gd name="connsiteX3" fmla="*/ 0 w 7318982"/>
              <a:gd name="connsiteY3" fmla="*/ 526624 h 526624"/>
              <a:gd name="connsiteX0" fmla="*/ 0 w 7323733"/>
              <a:gd name="connsiteY0" fmla="*/ 673445 h 673445"/>
              <a:gd name="connsiteX1" fmla="*/ 7323733 w 7323733"/>
              <a:gd name="connsiteY1" fmla="*/ 0 h 673445"/>
              <a:gd name="connsiteX2" fmla="*/ 7318982 w 7323733"/>
              <a:gd name="connsiteY2" fmla="*/ 668600 h 673445"/>
              <a:gd name="connsiteX3" fmla="*/ 0 w 7323733"/>
              <a:gd name="connsiteY3" fmla="*/ 673445 h 673445"/>
              <a:gd name="connsiteX0" fmla="*/ 0 w 7323733"/>
              <a:gd name="connsiteY0" fmla="*/ 673445 h 673445"/>
              <a:gd name="connsiteX1" fmla="*/ 7323733 w 7323733"/>
              <a:gd name="connsiteY1" fmla="*/ 0 h 673445"/>
              <a:gd name="connsiteX2" fmla="*/ 7145512 w 7323733"/>
              <a:gd name="connsiteY2" fmla="*/ 352371 h 673445"/>
              <a:gd name="connsiteX3" fmla="*/ 0 w 7323733"/>
              <a:gd name="connsiteY3" fmla="*/ 673445 h 673445"/>
              <a:gd name="connsiteX0" fmla="*/ 0 w 7323733"/>
              <a:gd name="connsiteY0" fmla="*/ 673445 h 675378"/>
              <a:gd name="connsiteX1" fmla="*/ 7323733 w 7323733"/>
              <a:gd name="connsiteY1" fmla="*/ 0 h 675378"/>
              <a:gd name="connsiteX2" fmla="*/ 7318982 w 7323733"/>
              <a:gd name="connsiteY2" fmla="*/ 675378 h 675378"/>
              <a:gd name="connsiteX3" fmla="*/ 0 w 7323733"/>
              <a:gd name="connsiteY3" fmla="*/ 673445 h 675378"/>
              <a:gd name="connsiteX0" fmla="*/ 0 w 7323733"/>
              <a:gd name="connsiteY0" fmla="*/ 673445 h 673445"/>
              <a:gd name="connsiteX1" fmla="*/ 7323733 w 7323733"/>
              <a:gd name="connsiteY1" fmla="*/ 0 h 673445"/>
              <a:gd name="connsiteX2" fmla="*/ 7202544 w 7323733"/>
              <a:gd name="connsiteY2" fmla="*/ 490158 h 673445"/>
              <a:gd name="connsiteX3" fmla="*/ 0 w 7323733"/>
              <a:gd name="connsiteY3" fmla="*/ 673445 h 673445"/>
              <a:gd name="connsiteX0" fmla="*/ 0 w 7323733"/>
              <a:gd name="connsiteY0" fmla="*/ 673445 h 675379"/>
              <a:gd name="connsiteX1" fmla="*/ 7323733 w 7323733"/>
              <a:gd name="connsiteY1" fmla="*/ 0 h 675379"/>
              <a:gd name="connsiteX2" fmla="*/ 7321359 w 7323733"/>
              <a:gd name="connsiteY2" fmla="*/ 675379 h 675379"/>
              <a:gd name="connsiteX3" fmla="*/ 0 w 7323733"/>
              <a:gd name="connsiteY3" fmla="*/ 673445 h 675379"/>
            </a:gdLst>
            <a:ahLst/>
            <a:cxnLst>
              <a:cxn ang="0">
                <a:pos x="connsiteX0" y="connsiteY0"/>
              </a:cxn>
              <a:cxn ang="0">
                <a:pos x="connsiteX1" y="connsiteY1"/>
              </a:cxn>
              <a:cxn ang="0">
                <a:pos x="connsiteX2" y="connsiteY2"/>
              </a:cxn>
              <a:cxn ang="0">
                <a:pos x="connsiteX3" y="connsiteY3"/>
              </a:cxn>
            </a:cxnLst>
            <a:rect l="l" t="t" r="r" b="b"/>
            <a:pathLst>
              <a:path w="7323733" h="675379">
                <a:moveTo>
                  <a:pt x="0" y="673445"/>
                </a:moveTo>
                <a:lnTo>
                  <a:pt x="7323733" y="0"/>
                </a:lnTo>
                <a:cubicBezTo>
                  <a:pt x="7322149" y="222867"/>
                  <a:pt x="7322943" y="452512"/>
                  <a:pt x="7321359" y="675379"/>
                </a:cubicBezTo>
                <a:lnTo>
                  <a:pt x="0" y="673445"/>
                </a:lnTo>
                <a:close/>
              </a:path>
            </a:pathLst>
          </a:custGeom>
          <a:gradFill>
            <a:gsLst>
              <a:gs pos="28000">
                <a:schemeClr val="accent1"/>
              </a:gs>
              <a:gs pos="40000">
                <a:schemeClr val="accent1">
                  <a:lumMod val="40000"/>
                  <a:lumOff val="60000"/>
                </a:schemeClr>
              </a:gs>
              <a:gs pos="48000">
                <a:schemeClr val="accent1"/>
              </a:gs>
            </a:gsLst>
            <a:lin ang="15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9" name="Freeform 8"/>
          <p:cNvSpPr/>
          <p:nvPr/>
        </p:nvSpPr>
        <p:spPr>
          <a:xfrm>
            <a:off x="0" y="5457828"/>
            <a:ext cx="9652000" cy="1400175"/>
          </a:xfrm>
          <a:custGeom>
            <a:avLst/>
            <a:gdLst>
              <a:gd name="connsiteX0" fmla="*/ 0 w 9134475"/>
              <a:gd name="connsiteY0" fmla="*/ 142875 h 1323975"/>
              <a:gd name="connsiteX1" fmla="*/ 6305550 w 9134475"/>
              <a:gd name="connsiteY1" fmla="*/ 1209675 h 1323975"/>
              <a:gd name="connsiteX2" fmla="*/ 9134475 w 9134475"/>
              <a:gd name="connsiteY2" fmla="*/ 0 h 1323975"/>
              <a:gd name="connsiteX3" fmla="*/ 9134475 w 9134475"/>
              <a:gd name="connsiteY3" fmla="*/ 1323975 h 1323975"/>
              <a:gd name="connsiteX4" fmla="*/ 0 w 9134475"/>
              <a:gd name="connsiteY4" fmla="*/ 1323975 h 1323975"/>
              <a:gd name="connsiteX5" fmla="*/ 0 w 9134475"/>
              <a:gd name="connsiteY5" fmla="*/ 142875 h 1323975"/>
              <a:gd name="connsiteX0" fmla="*/ 0 w 9134475"/>
              <a:gd name="connsiteY0" fmla="*/ 0 h 1181100"/>
              <a:gd name="connsiteX1" fmla="*/ 6305550 w 9134475"/>
              <a:gd name="connsiteY1" fmla="*/ 1066800 h 1181100"/>
              <a:gd name="connsiteX2" fmla="*/ 9134475 w 9134475"/>
              <a:gd name="connsiteY2" fmla="*/ 1181100 h 1181100"/>
              <a:gd name="connsiteX3" fmla="*/ 0 w 9134475"/>
              <a:gd name="connsiteY3" fmla="*/ 1181100 h 1181100"/>
              <a:gd name="connsiteX4" fmla="*/ 0 w 9134475"/>
              <a:gd name="connsiteY4" fmla="*/ 0 h 1181100"/>
              <a:gd name="connsiteX0" fmla="*/ 0 w 6494783"/>
              <a:gd name="connsiteY0" fmla="*/ 0 h 1181100"/>
              <a:gd name="connsiteX1" fmla="*/ 6305550 w 6494783"/>
              <a:gd name="connsiteY1" fmla="*/ 1066800 h 1181100"/>
              <a:gd name="connsiteX2" fmla="*/ 6494783 w 6494783"/>
              <a:gd name="connsiteY2" fmla="*/ 1181100 h 1181100"/>
              <a:gd name="connsiteX3" fmla="*/ 0 w 6494783"/>
              <a:gd name="connsiteY3" fmla="*/ 1181100 h 1181100"/>
              <a:gd name="connsiteX4" fmla="*/ 0 w 6494783"/>
              <a:gd name="connsiteY4" fmla="*/ 0 h 1181100"/>
              <a:gd name="connsiteX0" fmla="*/ 0 w 6494783"/>
              <a:gd name="connsiteY0" fmla="*/ 0 h 1181100"/>
              <a:gd name="connsiteX1" fmla="*/ 6494783 w 6494783"/>
              <a:gd name="connsiteY1" fmla="*/ 1181100 h 1181100"/>
              <a:gd name="connsiteX2" fmla="*/ 0 w 6494783"/>
              <a:gd name="connsiteY2" fmla="*/ 1181100 h 1181100"/>
              <a:gd name="connsiteX3" fmla="*/ 0 w 6494783"/>
              <a:gd name="connsiteY3" fmla="*/ 0 h 1181100"/>
              <a:gd name="connsiteX0" fmla="*/ 0 w 7415827"/>
              <a:gd name="connsiteY0" fmla="*/ 0 h 1181100"/>
              <a:gd name="connsiteX1" fmla="*/ 7415827 w 7415827"/>
              <a:gd name="connsiteY1" fmla="*/ 866775 h 1181100"/>
              <a:gd name="connsiteX2" fmla="*/ 0 w 7415827"/>
              <a:gd name="connsiteY2" fmla="*/ 1181100 h 1181100"/>
              <a:gd name="connsiteX3" fmla="*/ 0 w 7415827"/>
              <a:gd name="connsiteY3" fmla="*/ 0 h 1181100"/>
              <a:gd name="connsiteX0" fmla="*/ 0 w 7415827"/>
              <a:gd name="connsiteY0" fmla="*/ 0 h 1571625"/>
              <a:gd name="connsiteX1" fmla="*/ 7415827 w 7415827"/>
              <a:gd name="connsiteY1" fmla="*/ 866775 h 1571625"/>
              <a:gd name="connsiteX2" fmla="*/ 0 w 7415827"/>
              <a:gd name="connsiteY2" fmla="*/ 1571625 h 1571625"/>
              <a:gd name="connsiteX3" fmla="*/ 0 w 7415827"/>
              <a:gd name="connsiteY3" fmla="*/ 0 h 1571625"/>
              <a:gd name="connsiteX0" fmla="*/ 0 w 7415827"/>
              <a:gd name="connsiteY0" fmla="*/ 0 h 1571625"/>
              <a:gd name="connsiteX1" fmla="*/ 7415827 w 7415827"/>
              <a:gd name="connsiteY1" fmla="*/ 866775 h 1571625"/>
              <a:gd name="connsiteX2" fmla="*/ 1823096 w 7415827"/>
              <a:gd name="connsiteY2" fmla="*/ 1571625 h 1571625"/>
              <a:gd name="connsiteX3" fmla="*/ 0 w 7415827"/>
              <a:gd name="connsiteY3" fmla="*/ 1571625 h 1571625"/>
              <a:gd name="connsiteX4" fmla="*/ 0 w 7415827"/>
              <a:gd name="connsiteY4" fmla="*/ 0 h 1571625"/>
              <a:gd name="connsiteX0" fmla="*/ 0 w 7216426"/>
              <a:gd name="connsiteY0" fmla="*/ 0 h 1571625"/>
              <a:gd name="connsiteX1" fmla="*/ 7216426 w 7216426"/>
              <a:gd name="connsiteY1" fmla="*/ 1038225 h 1571625"/>
              <a:gd name="connsiteX2" fmla="*/ 1823096 w 7216426"/>
              <a:gd name="connsiteY2" fmla="*/ 1571625 h 1571625"/>
              <a:gd name="connsiteX3" fmla="*/ 0 w 7216426"/>
              <a:gd name="connsiteY3" fmla="*/ 1571625 h 1571625"/>
              <a:gd name="connsiteX4" fmla="*/ 0 w 7216426"/>
              <a:gd name="connsiteY4" fmla="*/ 0 h 1571625"/>
              <a:gd name="connsiteX0" fmla="*/ 0 w 7216426"/>
              <a:gd name="connsiteY0" fmla="*/ 0 h 914400"/>
              <a:gd name="connsiteX1" fmla="*/ 7216426 w 7216426"/>
              <a:gd name="connsiteY1" fmla="*/ 381000 h 914400"/>
              <a:gd name="connsiteX2" fmla="*/ 1823096 w 7216426"/>
              <a:gd name="connsiteY2" fmla="*/ 914400 h 914400"/>
              <a:gd name="connsiteX3" fmla="*/ 0 w 7216426"/>
              <a:gd name="connsiteY3" fmla="*/ 914400 h 914400"/>
              <a:gd name="connsiteX4" fmla="*/ 0 w 7216426"/>
              <a:gd name="connsiteY4" fmla="*/ 0 h 914400"/>
              <a:gd name="connsiteX0" fmla="*/ 0 w 7216426"/>
              <a:gd name="connsiteY0" fmla="*/ 0 h 1400175"/>
              <a:gd name="connsiteX1" fmla="*/ 7216426 w 7216426"/>
              <a:gd name="connsiteY1" fmla="*/ 866775 h 1400175"/>
              <a:gd name="connsiteX2" fmla="*/ 1823096 w 7216426"/>
              <a:gd name="connsiteY2" fmla="*/ 1400175 h 1400175"/>
              <a:gd name="connsiteX3" fmla="*/ 0 w 7216426"/>
              <a:gd name="connsiteY3" fmla="*/ 1400175 h 1400175"/>
              <a:gd name="connsiteX4" fmla="*/ 0 w 7216426"/>
              <a:gd name="connsiteY4" fmla="*/ 0 h 140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426" h="1400175">
                <a:moveTo>
                  <a:pt x="0" y="0"/>
                </a:moveTo>
                <a:lnTo>
                  <a:pt x="7216426" y="866775"/>
                </a:lnTo>
                <a:lnTo>
                  <a:pt x="1823096" y="1400175"/>
                </a:lnTo>
                <a:lnTo>
                  <a:pt x="0" y="1400175"/>
                </a:lnTo>
                <a:lnTo>
                  <a:pt x="0" y="0"/>
                </a:lnTo>
                <a:close/>
              </a:path>
            </a:pathLst>
          </a:custGeom>
          <a:gradFill>
            <a:gsLst>
              <a:gs pos="0">
                <a:schemeClr val="accent3"/>
              </a:gs>
              <a:gs pos="52000">
                <a:schemeClr val="accent3">
                  <a:lumMod val="40000"/>
                  <a:lumOff val="60000"/>
                </a:schemeClr>
              </a:gs>
              <a:gs pos="66000">
                <a:schemeClr val="accent3"/>
              </a:gs>
            </a:gsLst>
            <a:lin ang="166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3" name="Picture Placeholder 2"/>
          <p:cNvSpPr>
            <a:spLocks noGrp="1"/>
          </p:cNvSpPr>
          <p:nvPr>
            <p:ph type="pic" idx="1"/>
          </p:nvPr>
        </p:nvSpPr>
        <p:spPr>
          <a:xfrm>
            <a:off x="6096000" y="609603"/>
            <a:ext cx="5181600" cy="4190999"/>
          </a:xfrm>
          <a:ln w="79375">
            <a:solidFill>
              <a:schemeClr val="tx1"/>
            </a:solidFill>
            <a:miter lim="800000"/>
          </a:ln>
          <a:effectLst>
            <a:outerShdw blurRad="50800" dist="38100" dir="5400000" algn="ctr" rotWithShape="0">
              <a:srgbClr val="000000">
                <a:alpha val="42000"/>
              </a:srgbClr>
            </a:outerShdw>
          </a:effectLst>
        </p:spPr>
        <p:txBody>
          <a:bodyPr>
            <a:normAutofit/>
          </a:bodyPr>
          <a:lstStyle>
            <a:lvl1pPr marL="0" indent="0" algn="ctr">
              <a:buNone/>
              <a:defRPr sz="25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10" name="Freeform 9"/>
          <p:cNvSpPr/>
          <p:nvPr/>
        </p:nvSpPr>
        <p:spPr>
          <a:xfrm>
            <a:off x="-261" y="5412337"/>
            <a:ext cx="10140757" cy="927910"/>
          </a:xfrm>
          <a:custGeom>
            <a:avLst/>
            <a:gdLst>
              <a:gd name="connsiteX0" fmla="*/ 0 w 7436498"/>
              <a:gd name="connsiteY0" fmla="*/ 0 h 951723"/>
              <a:gd name="connsiteX1" fmla="*/ 0 w 7436498"/>
              <a:gd name="connsiteY1" fmla="*/ 139959 h 951723"/>
              <a:gd name="connsiteX2" fmla="*/ 7053942 w 7436498"/>
              <a:gd name="connsiteY2" fmla="*/ 951723 h 951723"/>
              <a:gd name="connsiteX3" fmla="*/ 7436498 w 7436498"/>
              <a:gd name="connsiteY3" fmla="*/ 914400 h 951723"/>
              <a:gd name="connsiteX4" fmla="*/ 0 w 7436498"/>
              <a:gd name="connsiteY4" fmla="*/ 0 h 951723"/>
              <a:gd name="connsiteX0" fmla="*/ 190500 w 7436498"/>
              <a:gd name="connsiteY0" fmla="*/ 0 h 1004110"/>
              <a:gd name="connsiteX1" fmla="*/ 0 w 7436498"/>
              <a:gd name="connsiteY1" fmla="*/ 192346 h 1004110"/>
              <a:gd name="connsiteX2" fmla="*/ 7053942 w 7436498"/>
              <a:gd name="connsiteY2" fmla="*/ 1004110 h 1004110"/>
              <a:gd name="connsiteX3" fmla="*/ 7436498 w 7436498"/>
              <a:gd name="connsiteY3" fmla="*/ 966787 h 1004110"/>
              <a:gd name="connsiteX4" fmla="*/ 190500 w 7436498"/>
              <a:gd name="connsiteY4" fmla="*/ 0 h 1004110"/>
              <a:gd name="connsiteX0" fmla="*/ 0 w 7448404"/>
              <a:gd name="connsiteY0" fmla="*/ 0 h 923148"/>
              <a:gd name="connsiteX1" fmla="*/ 11906 w 7448404"/>
              <a:gd name="connsiteY1" fmla="*/ 111384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164306 w 7448404"/>
              <a:gd name="connsiteY1" fmla="*/ 68522 h 923148"/>
              <a:gd name="connsiteX2" fmla="*/ 7065848 w 7448404"/>
              <a:gd name="connsiteY2" fmla="*/ 923148 h 923148"/>
              <a:gd name="connsiteX3" fmla="*/ 7448404 w 7448404"/>
              <a:gd name="connsiteY3" fmla="*/ 885825 h 923148"/>
              <a:gd name="connsiteX4" fmla="*/ 0 w 7448404"/>
              <a:gd name="connsiteY4" fmla="*/ 0 h 923148"/>
              <a:gd name="connsiteX0" fmla="*/ 0 w 7448404"/>
              <a:gd name="connsiteY0" fmla="*/ 0 h 923148"/>
              <a:gd name="connsiteX1" fmla="*/ 302418 w 7448404"/>
              <a:gd name="connsiteY1" fmla="*/ 297122 h 923148"/>
              <a:gd name="connsiteX2" fmla="*/ 7065848 w 7448404"/>
              <a:gd name="connsiteY2" fmla="*/ 923148 h 923148"/>
              <a:gd name="connsiteX3" fmla="*/ 7448404 w 7448404"/>
              <a:gd name="connsiteY3" fmla="*/ 885825 h 923148"/>
              <a:gd name="connsiteX4" fmla="*/ 0 w 7448404"/>
              <a:gd name="connsiteY4" fmla="*/ 0 h 923148"/>
              <a:gd name="connsiteX0" fmla="*/ 1 w 7448405"/>
              <a:gd name="connsiteY0" fmla="*/ 0 h 923148"/>
              <a:gd name="connsiteX1" fmla="*/ 0 w 7448405"/>
              <a:gd name="connsiteY1" fmla="*/ 75665 h 923148"/>
              <a:gd name="connsiteX2" fmla="*/ 7065849 w 7448405"/>
              <a:gd name="connsiteY2" fmla="*/ 923148 h 923148"/>
              <a:gd name="connsiteX3" fmla="*/ 7448405 w 7448405"/>
              <a:gd name="connsiteY3" fmla="*/ 885825 h 923148"/>
              <a:gd name="connsiteX4" fmla="*/ 1 w 7448405"/>
              <a:gd name="connsiteY4" fmla="*/ 0 h 923148"/>
              <a:gd name="connsiteX0" fmla="*/ 1 w 7400780"/>
              <a:gd name="connsiteY0" fmla="*/ 0 h 928688"/>
              <a:gd name="connsiteX1" fmla="*/ 0 w 7400780"/>
              <a:gd name="connsiteY1" fmla="*/ 75665 h 928688"/>
              <a:gd name="connsiteX2" fmla="*/ 7065849 w 7400780"/>
              <a:gd name="connsiteY2" fmla="*/ 923148 h 928688"/>
              <a:gd name="connsiteX3" fmla="*/ 7400780 w 7400780"/>
              <a:gd name="connsiteY3" fmla="*/ 928688 h 928688"/>
              <a:gd name="connsiteX4" fmla="*/ 1 w 7400780"/>
              <a:gd name="connsiteY4" fmla="*/ 0 h 928688"/>
              <a:gd name="connsiteX0" fmla="*/ 1 w 7605568"/>
              <a:gd name="connsiteY0" fmla="*/ 0 h 923148"/>
              <a:gd name="connsiteX1" fmla="*/ 0 w 7605568"/>
              <a:gd name="connsiteY1" fmla="*/ 75665 h 923148"/>
              <a:gd name="connsiteX2" fmla="*/ 7065849 w 7605568"/>
              <a:gd name="connsiteY2" fmla="*/ 923148 h 923148"/>
              <a:gd name="connsiteX3" fmla="*/ 7605568 w 7605568"/>
              <a:gd name="connsiteY3" fmla="*/ 897732 h 923148"/>
              <a:gd name="connsiteX4" fmla="*/ 1 w 7605568"/>
              <a:gd name="connsiteY4" fmla="*/ 0 h 923148"/>
              <a:gd name="connsiteX0" fmla="*/ 1 w 7605568"/>
              <a:gd name="connsiteY0" fmla="*/ 0 h 897732"/>
              <a:gd name="connsiteX1" fmla="*/ 0 w 7605568"/>
              <a:gd name="connsiteY1" fmla="*/ 75665 h 897732"/>
              <a:gd name="connsiteX2" fmla="*/ 7065849 w 7605568"/>
              <a:gd name="connsiteY2" fmla="*/ 863617 h 897732"/>
              <a:gd name="connsiteX3" fmla="*/ 7605568 w 7605568"/>
              <a:gd name="connsiteY3" fmla="*/ 897732 h 897732"/>
              <a:gd name="connsiteX4" fmla="*/ 1 w 7605568"/>
              <a:gd name="connsiteY4" fmla="*/ 0 h 897732"/>
              <a:gd name="connsiteX0" fmla="*/ 1 w 7605568"/>
              <a:gd name="connsiteY0" fmla="*/ 0 h 927910"/>
              <a:gd name="connsiteX1" fmla="*/ 0 w 7605568"/>
              <a:gd name="connsiteY1" fmla="*/ 75665 h 927910"/>
              <a:gd name="connsiteX2" fmla="*/ 7225392 w 7605568"/>
              <a:gd name="connsiteY2" fmla="*/ 927910 h 927910"/>
              <a:gd name="connsiteX3" fmla="*/ 7605568 w 7605568"/>
              <a:gd name="connsiteY3" fmla="*/ 897732 h 927910"/>
              <a:gd name="connsiteX4" fmla="*/ 1 w 7605568"/>
              <a:gd name="connsiteY4" fmla="*/ 0 h 927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5568" h="927910">
                <a:moveTo>
                  <a:pt x="1" y="0"/>
                </a:moveTo>
                <a:cubicBezTo>
                  <a:pt x="1" y="25222"/>
                  <a:pt x="0" y="50443"/>
                  <a:pt x="0" y="75665"/>
                </a:cubicBezTo>
                <a:lnTo>
                  <a:pt x="7225392" y="927910"/>
                </a:lnTo>
                <a:lnTo>
                  <a:pt x="7605568" y="897732"/>
                </a:lnTo>
                <a:lnTo>
                  <a:pt x="1"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Freeform 10"/>
          <p:cNvSpPr/>
          <p:nvPr/>
        </p:nvSpPr>
        <p:spPr>
          <a:xfrm>
            <a:off x="2240967" y="6116510"/>
            <a:ext cx="9954208" cy="741493"/>
          </a:xfrm>
          <a:custGeom>
            <a:avLst/>
            <a:gdLst>
              <a:gd name="connsiteX0" fmla="*/ 7408506 w 7408506"/>
              <a:gd name="connsiteY0" fmla="*/ 0 h 755780"/>
              <a:gd name="connsiteX1" fmla="*/ 0 w 7408506"/>
              <a:gd name="connsiteY1" fmla="*/ 755780 h 755780"/>
              <a:gd name="connsiteX2" fmla="*/ 662473 w 7408506"/>
              <a:gd name="connsiteY2" fmla="*/ 755780 h 755780"/>
              <a:gd name="connsiteX3" fmla="*/ 7408506 w 7408506"/>
              <a:gd name="connsiteY3" fmla="*/ 74645 h 755780"/>
              <a:gd name="connsiteX4" fmla="*/ 7408506 w 7408506"/>
              <a:gd name="connsiteY4" fmla="*/ 0 h 755780"/>
              <a:gd name="connsiteX0" fmla="*/ 6958449 w 6958449"/>
              <a:gd name="connsiteY0" fmla="*/ 0 h 755780"/>
              <a:gd name="connsiteX1" fmla="*/ 0 w 6958449"/>
              <a:gd name="connsiteY1" fmla="*/ 712918 h 755780"/>
              <a:gd name="connsiteX2" fmla="*/ 212416 w 6958449"/>
              <a:gd name="connsiteY2" fmla="*/ 755780 h 755780"/>
              <a:gd name="connsiteX3" fmla="*/ 6958449 w 6958449"/>
              <a:gd name="connsiteY3" fmla="*/ 74645 h 755780"/>
              <a:gd name="connsiteX4" fmla="*/ 6958449 w 6958449"/>
              <a:gd name="connsiteY4" fmla="*/ 0 h 755780"/>
              <a:gd name="connsiteX0" fmla="*/ 6958449 w 6958449"/>
              <a:gd name="connsiteY0" fmla="*/ 0 h 712918"/>
              <a:gd name="connsiteX1" fmla="*/ 0 w 6958449"/>
              <a:gd name="connsiteY1" fmla="*/ 712918 h 712918"/>
              <a:gd name="connsiteX2" fmla="*/ 302903 w 6958449"/>
              <a:gd name="connsiteY2" fmla="*/ 705774 h 712918"/>
              <a:gd name="connsiteX3" fmla="*/ 6958449 w 6958449"/>
              <a:gd name="connsiteY3" fmla="*/ 74645 h 712918"/>
              <a:gd name="connsiteX4" fmla="*/ 6958449 w 6958449"/>
              <a:gd name="connsiteY4" fmla="*/ 0 h 712918"/>
              <a:gd name="connsiteX0" fmla="*/ 6958449 w 6958449"/>
              <a:gd name="connsiteY0" fmla="*/ 0 h 741492"/>
              <a:gd name="connsiteX1" fmla="*/ 0 w 6958449"/>
              <a:gd name="connsiteY1" fmla="*/ 712918 h 741492"/>
              <a:gd name="connsiteX2" fmla="*/ 248134 w 6958449"/>
              <a:gd name="connsiteY2" fmla="*/ 741492 h 741492"/>
              <a:gd name="connsiteX3" fmla="*/ 6958449 w 6958449"/>
              <a:gd name="connsiteY3" fmla="*/ 74645 h 741492"/>
              <a:gd name="connsiteX4" fmla="*/ 6958449 w 6958449"/>
              <a:gd name="connsiteY4" fmla="*/ 0 h 741492"/>
              <a:gd name="connsiteX0" fmla="*/ 7465656 w 7465656"/>
              <a:gd name="connsiteY0" fmla="*/ 0 h 741493"/>
              <a:gd name="connsiteX1" fmla="*/ 0 w 7465656"/>
              <a:gd name="connsiteY1" fmla="*/ 741493 h 741493"/>
              <a:gd name="connsiteX2" fmla="*/ 755341 w 7465656"/>
              <a:gd name="connsiteY2" fmla="*/ 741492 h 741493"/>
              <a:gd name="connsiteX3" fmla="*/ 7465656 w 7465656"/>
              <a:gd name="connsiteY3" fmla="*/ 74645 h 741493"/>
              <a:gd name="connsiteX4" fmla="*/ 7465656 w 7465656"/>
              <a:gd name="connsiteY4" fmla="*/ 0 h 741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5656" h="741493">
                <a:moveTo>
                  <a:pt x="7465656" y="0"/>
                </a:moveTo>
                <a:lnTo>
                  <a:pt x="0" y="741493"/>
                </a:lnTo>
                <a:lnTo>
                  <a:pt x="755341" y="741492"/>
                </a:lnTo>
                <a:lnTo>
                  <a:pt x="7465656" y="74645"/>
                </a:lnTo>
                <a:lnTo>
                  <a:pt x="7465656" y="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Date Placeholder 4"/>
          <p:cNvSpPr>
            <a:spLocks noGrp="1"/>
          </p:cNvSpPr>
          <p:nvPr>
            <p:ph type="dt" sz="half" idx="10"/>
          </p:nvPr>
        </p:nvSpPr>
        <p:spPr/>
        <p:txBody>
          <a:bodyPr/>
          <a:lstStyle/>
          <a:p>
            <a:fld id="{00FE480A-05C5-4F7D-AA1C-FC0BD3356778}" type="datetime1">
              <a:rPr lang="en-US" smtClean="0"/>
              <a:t>10/1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01C670-DC88-4376-AA6B-FD9548DDC9F2}" type="slidenum">
              <a:rPr lang="en-US" smtClean="0"/>
              <a:pPr/>
              <a:t>‹#›</a:t>
            </a:fld>
            <a:endParaRPr lang="en-US" dirty="0"/>
          </a:p>
        </p:txBody>
      </p:sp>
      <p:sp>
        <p:nvSpPr>
          <p:cNvPr id="14" name="Title 1"/>
          <p:cNvSpPr>
            <a:spLocks noGrp="1"/>
          </p:cNvSpPr>
          <p:nvPr>
            <p:ph type="title"/>
          </p:nvPr>
        </p:nvSpPr>
        <p:spPr>
          <a:xfrm>
            <a:off x="902208" y="609600"/>
            <a:ext cx="4511040" cy="914400"/>
          </a:xfrm>
        </p:spPr>
        <p:txBody>
          <a:bodyPr anchor="b">
            <a:noAutofit/>
          </a:bodyPr>
          <a:lstStyle>
            <a:lvl1pPr algn="l">
              <a:defRPr sz="2200" b="0" i="0" cap="none" baseline="0">
                <a:solidFill>
                  <a:schemeClr val="tx2"/>
                </a:solidFill>
              </a:defRPr>
            </a:lvl1pPr>
          </a:lstStyle>
          <a:p>
            <a:r>
              <a:rPr lang="en-US" smtClean="0"/>
              <a:t>Click to edit Master title style</a:t>
            </a:r>
            <a:endParaRPr lang="en-US" dirty="0"/>
          </a:p>
        </p:txBody>
      </p:sp>
      <p:sp>
        <p:nvSpPr>
          <p:cNvPr id="15" name="Text Placeholder 14"/>
          <p:cNvSpPr>
            <a:spLocks noGrp="1"/>
          </p:cNvSpPr>
          <p:nvPr>
            <p:ph type="body" sz="quarter" idx="14"/>
          </p:nvPr>
        </p:nvSpPr>
        <p:spPr>
          <a:xfrm>
            <a:off x="902210" y="1524000"/>
            <a:ext cx="4508500" cy="3295650"/>
          </a:xfrm>
        </p:spPr>
        <p:txBody>
          <a:bodyPr>
            <a:normAutofit/>
          </a:bodyPr>
          <a:lstStyle>
            <a:lvl1pPr marL="0" indent="0">
              <a:buFontTx/>
              <a:buNone/>
              <a:defRPr sz="1600"/>
            </a:lvl1pPr>
            <a:lvl2pPr>
              <a:buFontTx/>
              <a:buNone/>
              <a:defRPr/>
            </a:lvl2pPr>
            <a:lvl3pPr>
              <a:buFontTx/>
              <a:buNone/>
              <a:defRPr/>
            </a:lvl3pPr>
            <a:lvl4pPr>
              <a:buFontTx/>
              <a:buNone/>
              <a:defRPr/>
            </a:lvl4pPr>
            <a:lvl5pPr>
              <a:buFontTx/>
              <a:buNone/>
              <a:defRPr/>
            </a:lvl5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Title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0" name="Content Placeholder 2">
            <a:extLst>
              <a:ext uri="{FF2B5EF4-FFF2-40B4-BE49-F238E27FC236}">
                <a16:creationId xmlns:a16="http://schemas.microsoft.com/office/drawing/2014/main" id="{1819B0B4-A2AE-ED43-9EE2-334C7FCB047A}"/>
              </a:ext>
            </a:extLst>
          </p:cNvPr>
          <p:cNvSpPr>
            <a:spLocks noGrp="1"/>
          </p:cNvSpPr>
          <p:nvPr>
            <p:ph idx="1"/>
          </p:nvPr>
        </p:nvSpPr>
        <p:spPr>
          <a:xfrm>
            <a:off x="1143000" y="1331239"/>
            <a:ext cx="10667999" cy="4358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2635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6_Title 2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F242-4717-4049-842E-510A37CF9220}"/>
              </a:ext>
            </a:extLst>
          </p:cNvPr>
          <p:cNvSpPr>
            <a:spLocks noGrp="1"/>
          </p:cNvSpPr>
          <p:nvPr>
            <p:ph type="title"/>
          </p:nvPr>
        </p:nvSpPr>
        <p:spPr>
          <a:xfrm>
            <a:off x="5343525" y="365126"/>
            <a:ext cx="6467474" cy="598702"/>
          </a:xfrm>
        </p:spPr>
        <p:txBody>
          <a:bodyPr/>
          <a:lstStyle>
            <a:lvl1pPr>
              <a:defRPr b="1">
                <a:solidFill>
                  <a:schemeClr val="accent2"/>
                </a:solidFill>
              </a:defRPr>
            </a:lvl1pPr>
          </a:lstStyle>
          <a:p>
            <a:r>
              <a:rPr lang="en-US"/>
              <a:t>Click to edit Master title style</a:t>
            </a:r>
          </a:p>
        </p:txBody>
      </p:sp>
      <p:pic>
        <p:nvPicPr>
          <p:cNvPr id="4" name="Picture 3">
            <a:extLst>
              <a:ext uri="{FF2B5EF4-FFF2-40B4-BE49-F238E27FC236}">
                <a16:creationId xmlns:a16="http://schemas.microsoft.com/office/drawing/2014/main" id="{3C45AA49-6C91-E043-BED7-88EEF145E03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602040" cy="2924825"/>
          </a:xfrm>
          <a:prstGeom prst="rect">
            <a:avLst/>
          </a:prstGeom>
        </p:spPr>
      </p:pic>
      <p:sp>
        <p:nvSpPr>
          <p:cNvPr id="11" name="Rectangle 10">
            <a:extLst>
              <a:ext uri="{FF2B5EF4-FFF2-40B4-BE49-F238E27FC236}">
                <a16:creationId xmlns:a16="http://schemas.microsoft.com/office/drawing/2014/main" id="{34A5E5C8-DE8A-D945-AD03-87F00E7F6576}"/>
              </a:ext>
            </a:extLst>
          </p:cNvPr>
          <p:cNvSpPr/>
          <p:nvPr userDrawn="1"/>
        </p:nvSpPr>
        <p:spPr>
          <a:xfrm>
            <a:off x="1" y="6512087"/>
            <a:ext cx="12192000" cy="368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E7EC201B-F5FB-914C-8957-F725993E915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7424" y="5230768"/>
            <a:ext cx="1664576" cy="1657211"/>
          </a:xfrm>
          <a:prstGeom prst="rect">
            <a:avLst/>
          </a:prstGeom>
        </p:spPr>
      </p:pic>
      <p:sp>
        <p:nvSpPr>
          <p:cNvPr id="19" name="Google Shape;518;p37">
            <a:extLst>
              <a:ext uri="{FF2B5EF4-FFF2-40B4-BE49-F238E27FC236}">
                <a16:creationId xmlns:a16="http://schemas.microsoft.com/office/drawing/2014/main" id="{740CD936-2280-544A-8257-C43D8DF28CFE}"/>
              </a:ext>
            </a:extLst>
          </p:cNvPr>
          <p:cNvSpPr/>
          <p:nvPr userDrawn="1"/>
        </p:nvSpPr>
        <p:spPr>
          <a:xfrm rot="10800000">
            <a:off x="5102572" y="567016"/>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3262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7086186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7_Title 3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6E0DA13-AF26-364F-9CA5-AFB2FC6DF5F0}"/>
              </a:ext>
            </a:extLst>
          </p:cNvPr>
          <p:cNvSpPr>
            <a:spLocks noGrp="1"/>
          </p:cNvSpPr>
          <p:nvPr>
            <p:ph idx="1"/>
          </p:nvPr>
        </p:nvSpPr>
        <p:spPr>
          <a:xfrm>
            <a:off x="342900" y="1125416"/>
            <a:ext cx="11468100" cy="5330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40843457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8_Title 3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3"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15646850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9_Title 3 Colum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6215062" y="1214438"/>
            <a:ext cx="5586886"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86540517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0_Title 3 Column 2 Lef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34290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4510273"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7845849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1_Title 3 Column 2 Right">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7845410" y="1214438"/>
            <a:ext cx="395653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6" y="1214438"/>
            <a:ext cx="729167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1749436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2_Title 3 Column 3">
    <p:spTree>
      <p:nvGrpSpPr>
        <p:cNvPr id="1" name=""/>
        <p:cNvGrpSpPr/>
        <p:nvPr/>
      </p:nvGrpSpPr>
      <p:grpSpPr>
        <a:xfrm>
          <a:off x="0" y="0"/>
          <a:ext cx="0" cy="0"/>
          <a:chOff x="0" y="0"/>
          <a:chExt cx="0" cy="0"/>
        </a:xfrm>
      </p:grpSpPr>
      <p:cxnSp>
        <p:nvCxnSpPr>
          <p:cNvPr id="9" name="Google Shape;326;p29">
            <a:extLst>
              <a:ext uri="{FF2B5EF4-FFF2-40B4-BE49-F238E27FC236}">
                <a16:creationId xmlns:a16="http://schemas.microsoft.com/office/drawing/2014/main" id="{503E85D5-8767-A04E-BC11-682A4D510D61}"/>
              </a:ext>
            </a:extLst>
          </p:cNvPr>
          <p:cNvCxnSpPr>
            <a:cxnSpLocks/>
          </p:cNvCxnSpPr>
          <p:nvPr userDrawn="1"/>
        </p:nvCxnSpPr>
        <p:spPr>
          <a:xfrm>
            <a:off x="4133491" y="1168059"/>
            <a:ext cx="0" cy="5319619"/>
          </a:xfrm>
          <a:prstGeom prst="straightConnector1">
            <a:avLst/>
          </a:prstGeom>
          <a:noFill/>
          <a:ln w="9525" cap="rnd" cmpd="sng">
            <a:solidFill>
              <a:srgbClr val="E9AA1B"/>
            </a:solidFill>
            <a:prstDash val="dash"/>
            <a:round/>
            <a:headEnd type="none" w="med" len="med"/>
            <a:tailEnd type="none" w="med" len="med"/>
          </a:ln>
        </p:spPr>
      </p:cxnSp>
      <p:cxnSp>
        <p:nvCxnSpPr>
          <p:cNvPr id="10" name="Google Shape;326;p29">
            <a:extLst>
              <a:ext uri="{FF2B5EF4-FFF2-40B4-BE49-F238E27FC236}">
                <a16:creationId xmlns:a16="http://schemas.microsoft.com/office/drawing/2014/main" id="{E2CDBC1B-0A35-454D-9607-A4FE2776EAFE}"/>
              </a:ext>
            </a:extLst>
          </p:cNvPr>
          <p:cNvCxnSpPr>
            <a:cxnSpLocks/>
          </p:cNvCxnSpPr>
          <p:nvPr userDrawn="1"/>
        </p:nvCxnSpPr>
        <p:spPr>
          <a:xfrm>
            <a:off x="8037671" y="1168059"/>
            <a:ext cx="0" cy="5319619"/>
          </a:xfrm>
          <a:prstGeom prst="straightConnector1">
            <a:avLst/>
          </a:prstGeom>
          <a:noFill/>
          <a:ln w="9525" cap="rnd" cmpd="sng">
            <a:solidFill>
              <a:srgbClr val="E9AA1B"/>
            </a:solidFill>
            <a:prstDash val="dash"/>
            <a:round/>
            <a:headEnd type="none" w="med" len="med"/>
            <a:tailEnd type="none" w="med" len="med"/>
          </a:ln>
        </p:spPr>
      </p:cxnSp>
      <p:sp>
        <p:nvSpPr>
          <p:cNvPr id="4" name="Content Placeholder 2">
            <a:extLst>
              <a:ext uri="{FF2B5EF4-FFF2-40B4-BE49-F238E27FC236}">
                <a16:creationId xmlns:a16="http://schemas.microsoft.com/office/drawing/2014/main" id="{B4A71522-4D50-334A-9513-E21BA4988F8A}"/>
              </a:ext>
            </a:extLst>
          </p:cNvPr>
          <p:cNvSpPr>
            <a:spLocks noGrp="1"/>
          </p:cNvSpPr>
          <p:nvPr>
            <p:ph sz="half" idx="1"/>
          </p:nvPr>
        </p:nvSpPr>
        <p:spPr>
          <a:xfrm>
            <a:off x="8171062" y="1214438"/>
            <a:ext cx="3630885"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490D5673-5DEC-8849-A2D2-4C13499386DF}"/>
              </a:ext>
            </a:extLst>
          </p:cNvPr>
          <p:cNvSpPr>
            <a:spLocks noGrp="1"/>
          </p:cNvSpPr>
          <p:nvPr>
            <p:ph sz="half" idx="14"/>
          </p:nvPr>
        </p:nvSpPr>
        <p:spPr>
          <a:xfrm>
            <a:off x="396247"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4030762-B6EF-EA43-9630-808C46181827}"/>
              </a:ext>
            </a:extLst>
          </p:cNvPr>
          <p:cNvSpPr>
            <a:spLocks noGrp="1"/>
          </p:cNvSpPr>
          <p:nvPr>
            <p:ph type="title" hasCustomPrompt="1"/>
          </p:nvPr>
        </p:nvSpPr>
        <p:spPr/>
        <p:txBody>
          <a:bodyPr/>
          <a:lstStyle/>
          <a:p>
            <a:r>
              <a:rPr lang="en-US"/>
              <a:t>Title of Slide</a:t>
            </a:r>
          </a:p>
        </p:txBody>
      </p:sp>
      <p:sp>
        <p:nvSpPr>
          <p:cNvPr id="11" name="Content Placeholder 2">
            <a:extLst>
              <a:ext uri="{FF2B5EF4-FFF2-40B4-BE49-F238E27FC236}">
                <a16:creationId xmlns:a16="http://schemas.microsoft.com/office/drawing/2014/main" id="{ADEEB947-17C9-FA4A-944D-ED6C1F8EF0F5}"/>
              </a:ext>
            </a:extLst>
          </p:cNvPr>
          <p:cNvSpPr>
            <a:spLocks noGrp="1"/>
          </p:cNvSpPr>
          <p:nvPr>
            <p:ph sz="half" idx="15"/>
          </p:nvPr>
        </p:nvSpPr>
        <p:spPr>
          <a:xfrm>
            <a:off x="4253872" y="1214438"/>
            <a:ext cx="3624168" cy="5244664"/>
          </a:xfrm>
        </p:spPr>
        <p:txBody>
          <a:bodyPr/>
          <a:lstStyle>
            <a:lvl1pPr>
              <a:defRPr>
                <a:solidFill>
                  <a:schemeClr val="bg2">
                    <a:lumMod val="25000"/>
                  </a:schemeClr>
                </a:solidFill>
              </a:defRPr>
            </a:lvl1pPr>
            <a:lvl2pPr>
              <a:defRPr>
                <a:solidFill>
                  <a:schemeClr val="bg2">
                    <a:lumMod val="25000"/>
                  </a:schemeClr>
                </a:solidFill>
              </a:defRPr>
            </a:lvl2pPr>
            <a:lvl3pPr>
              <a:defRPr>
                <a:solidFill>
                  <a:schemeClr val="bg2">
                    <a:lumMod val="25000"/>
                  </a:schemeClr>
                </a:solidFill>
              </a:defRPr>
            </a:lvl3pPr>
            <a:lvl4pPr>
              <a:defRPr>
                <a:solidFill>
                  <a:schemeClr val="bg2">
                    <a:lumMod val="25000"/>
                  </a:schemeClr>
                </a:solidFill>
              </a:defRPr>
            </a:lvl4pPr>
            <a:lvl5pPr>
              <a:defRPr>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9345065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3_Title 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8" name="Rectangle 7">
            <a:extLst>
              <a:ext uri="{FF2B5EF4-FFF2-40B4-BE49-F238E27FC236}">
                <a16:creationId xmlns:a16="http://schemas.microsoft.com/office/drawing/2014/main" id="{DB2DCEF8-48BE-0544-90D9-4DF3E5E3BD2C}"/>
              </a:ext>
            </a:extLst>
          </p:cNvPr>
          <p:cNvSpPr/>
          <p:nvPr userDrawn="1"/>
        </p:nvSpPr>
        <p:spPr>
          <a:xfrm>
            <a:off x="6149776" y="0"/>
            <a:ext cx="3013968" cy="67524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DC1D01D2-2FAA-5849-A9A6-E74D711A35FE}"/>
              </a:ext>
            </a:extLst>
          </p:cNvPr>
          <p:cNvSpPr>
            <a:spLocks noGrp="1"/>
          </p:cNvSpPr>
          <p:nvPr>
            <p:ph sz="half" idx="1"/>
          </p:nvPr>
        </p:nvSpPr>
        <p:spPr>
          <a:xfrm>
            <a:off x="9391561" y="1214438"/>
            <a:ext cx="2410386"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A0DD0521-9E0F-9D44-8E2D-F32C3E84CBC3}"/>
              </a:ext>
            </a:extLst>
          </p:cNvPr>
          <p:cNvSpPr>
            <a:spLocks noGrp="1"/>
          </p:cNvSpPr>
          <p:nvPr>
            <p:ph sz="half" idx="14"/>
          </p:nvPr>
        </p:nvSpPr>
        <p:spPr>
          <a:xfrm>
            <a:off x="3458371"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90030233-4432-A644-849F-291EF6BC0893}"/>
              </a:ext>
            </a:extLst>
          </p:cNvPr>
          <p:cNvSpPr>
            <a:spLocks noGrp="1"/>
          </p:cNvSpPr>
          <p:nvPr>
            <p:ph sz="half" idx="15"/>
          </p:nvPr>
        </p:nvSpPr>
        <p:spPr>
          <a:xfrm>
            <a:off x="6453796" y="1214438"/>
            <a:ext cx="2405927" cy="5244664"/>
          </a:xfrm>
        </p:spPr>
        <p:txBody>
          <a:bodyPr>
            <a:normAutofit/>
          </a:bodyPr>
          <a:lstStyle>
            <a:lvl1pPr>
              <a:defRPr sz="2000">
                <a:solidFill>
                  <a:schemeClr val="bg2">
                    <a:lumMod val="25000"/>
                  </a:schemeClr>
                </a:solidFill>
              </a:defRPr>
            </a:lvl1pPr>
            <a:lvl2pPr>
              <a:defRPr sz="1800">
                <a:solidFill>
                  <a:schemeClr val="bg2">
                    <a:lumMod val="25000"/>
                  </a:schemeClr>
                </a:solidFill>
              </a:defRPr>
            </a:lvl2pPr>
            <a:lvl3pPr>
              <a:defRPr sz="1600">
                <a:solidFill>
                  <a:schemeClr val="bg2">
                    <a:lumMod val="25000"/>
                  </a:schemeClr>
                </a:solidFill>
              </a:defRPr>
            </a:lvl3pPr>
            <a:lvl4pPr>
              <a:defRPr sz="1400">
                <a:solidFill>
                  <a:schemeClr val="bg2">
                    <a:lumMod val="25000"/>
                  </a:schemeClr>
                </a:solidFill>
              </a:defRPr>
            </a:lvl4pPr>
            <a:lvl5pPr>
              <a:defRPr sz="1400">
                <a:solidFill>
                  <a:schemeClr val="bg2">
                    <a:lumMod val="25000"/>
                  </a:schemeClr>
                </a:solidFill>
              </a:defRPr>
            </a:lvl5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21505452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4 Title 4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517239C-4C74-4241-841C-81A498002046}"/>
              </a:ext>
            </a:extLst>
          </p:cNvPr>
          <p:cNvSpPr/>
          <p:nvPr userDrawn="1"/>
        </p:nvSpPr>
        <p:spPr>
          <a:xfrm>
            <a:off x="-6318" y="0"/>
            <a:ext cx="3156413" cy="67524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71D84D36-4336-5F4E-B3C0-181B97219184}"/>
              </a:ext>
            </a:extLst>
          </p:cNvPr>
          <p:cNvSpPr>
            <a:spLocks noGrp="1"/>
          </p:cNvSpPr>
          <p:nvPr>
            <p:ph type="title" hasCustomPrompt="1"/>
          </p:nvPr>
        </p:nvSpPr>
        <p:spPr>
          <a:xfrm>
            <a:off x="262556" y="430134"/>
            <a:ext cx="2618666" cy="1741565"/>
          </a:xfrm>
        </p:spPr>
        <p:txBody>
          <a:bodyPr anchor="t">
            <a:noAutofit/>
          </a:bodyPr>
          <a:lstStyle>
            <a:lvl1pPr>
              <a:defRPr sz="3600">
                <a:solidFill>
                  <a:schemeClr val="bg1"/>
                </a:solidFill>
              </a:defRPr>
            </a:lvl1pPr>
          </a:lstStyle>
          <a:p>
            <a:r>
              <a:rPr lang="en-US"/>
              <a:t>Title of Slide Goes Here</a:t>
            </a:r>
          </a:p>
        </p:txBody>
      </p:sp>
      <p:sp>
        <p:nvSpPr>
          <p:cNvPr id="13" name="Text Placeholder 12">
            <a:extLst>
              <a:ext uri="{FF2B5EF4-FFF2-40B4-BE49-F238E27FC236}">
                <a16:creationId xmlns:a16="http://schemas.microsoft.com/office/drawing/2014/main" id="{4340ED5F-7C3C-4246-90BA-EDE752D02DCA}"/>
              </a:ext>
            </a:extLst>
          </p:cNvPr>
          <p:cNvSpPr>
            <a:spLocks noGrp="1"/>
          </p:cNvSpPr>
          <p:nvPr>
            <p:ph type="body" sz="quarter" idx="16" hasCustomPrompt="1"/>
          </p:nvPr>
        </p:nvSpPr>
        <p:spPr>
          <a:xfrm>
            <a:off x="261938" y="2717800"/>
            <a:ext cx="2619375" cy="3213100"/>
          </a:xfrm>
        </p:spPr>
        <p:txBody>
          <a:bodyPr>
            <a:normAutofit/>
          </a:bodyPr>
          <a:lstStyle>
            <a:lvl1pPr marL="457200" indent="-304800">
              <a:spcBef>
                <a:spcPts val="0"/>
              </a:spcBef>
              <a:spcAft>
                <a:spcPts val="400"/>
              </a:spcAft>
              <a:buClr>
                <a:srgbClr val="EAAA00"/>
              </a:buClr>
              <a:buSzPts val="1200"/>
              <a:buFont typeface="Arial" panose="020B0604020202020204" pitchFamily="34" charset="0"/>
              <a:buChar char="➔"/>
              <a:defRPr sz="1600">
                <a:solidFill>
                  <a:schemeClr val="bg1"/>
                </a:solidFill>
              </a:defRPr>
            </a:lvl1pPr>
          </a:lstStyle>
          <a:p>
            <a:pPr marL="457200" indent="-304800">
              <a:spcBef>
                <a:spcPts val="0"/>
              </a:spcBef>
              <a:spcAft>
                <a:spcPts val="400"/>
              </a:spcAft>
              <a:buClr>
                <a:srgbClr val="EAAA00"/>
              </a:buClr>
              <a:buSzPts val="1200"/>
              <a:buFont typeface="Arial" panose="020B0604020202020204" pitchFamily="34" charset="0"/>
              <a:buChar char="➔"/>
            </a:pPr>
            <a:r>
              <a:rPr lang="en-US" sz="2400"/>
              <a:t>List 1</a:t>
            </a:r>
          </a:p>
          <a:p>
            <a:pPr marL="457200" indent="-304800">
              <a:spcBef>
                <a:spcPts val="0"/>
              </a:spcBef>
              <a:spcAft>
                <a:spcPts val="400"/>
              </a:spcAft>
              <a:buClr>
                <a:srgbClr val="EAAA00"/>
              </a:buClr>
              <a:buSzPts val="1200"/>
              <a:buFont typeface="Arial" panose="020B0604020202020204" pitchFamily="34" charset="0"/>
              <a:buChar char="➔"/>
            </a:pPr>
            <a:r>
              <a:rPr lang="en-US" sz="2400"/>
              <a:t>List 2</a:t>
            </a:r>
          </a:p>
          <a:p>
            <a:pPr marL="457200" indent="-304800">
              <a:spcBef>
                <a:spcPts val="0"/>
              </a:spcBef>
              <a:spcAft>
                <a:spcPts val="400"/>
              </a:spcAft>
              <a:buClr>
                <a:srgbClr val="EAAA00"/>
              </a:buClr>
              <a:buSzPts val="1200"/>
              <a:buFont typeface="Arial" panose="020B0604020202020204" pitchFamily="34" charset="0"/>
              <a:buChar char="➔"/>
            </a:pPr>
            <a:r>
              <a:rPr lang="en-US" sz="2400"/>
              <a:t>List 3</a:t>
            </a:r>
          </a:p>
        </p:txBody>
      </p:sp>
    </p:spTree>
    <p:extLst>
      <p:ext uri="{BB962C8B-B14F-4D97-AF65-F5344CB8AC3E}">
        <p14:creationId xmlns:p14="http://schemas.microsoft.com/office/powerpoint/2010/main" val="8892814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tags" Target="../tags/tag1.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vmlDrawing" Target="../drawings/vmlDrawing1.vml"/><Relationship Id="rId38" Type="http://schemas.openxmlformats.org/officeDocument/2006/relationships/image" Target="../media/image3.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heme" Target="../theme/theme2.xml"/><Relationship Id="rId37" Type="http://schemas.openxmlformats.org/officeDocument/2006/relationships/image" Target="../media/image2.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oleObject" Target="../embeddings/oleObject1.bin"/><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image" Target="../media/image27.emf"/><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theme" Target="../theme/theme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oleObject" Target="../embeddings/oleObject2.bin"/><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tags" Target="../tags/tag4.xml"/><Relationship Id="rId40" Type="http://schemas.openxmlformats.org/officeDocument/2006/relationships/image" Target="../media/image3.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tags" Target="../tags/tag3.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vmlDrawing" Target="../drawings/vmlDrawing2.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image" Target="../media/image27.emf"/><Relationship Id="rId3" Type="http://schemas.openxmlformats.org/officeDocument/2006/relationships/slideLayout" Target="../slideLayouts/slideLayout78.xml"/><Relationship Id="rId21" Type="http://schemas.openxmlformats.org/officeDocument/2006/relationships/slideLayout" Target="../slideLayouts/slideLayout96.xml"/><Relationship Id="rId34" Type="http://schemas.openxmlformats.org/officeDocument/2006/relationships/theme" Target="../theme/theme4.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oleObject" Target="../embeddings/oleObject5.bin"/><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tags" Target="../tags/tag9.xml"/><Relationship Id="rId40" Type="http://schemas.openxmlformats.org/officeDocument/2006/relationships/image" Target="../media/image3.emf"/><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tags" Target="../tags/tag8.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0" y="0"/>
            <a:ext cx="12192000" cy="6858000"/>
          </a:xfrm>
          <a:prstGeom prst="rect">
            <a:avLst/>
          </a:prstGeom>
          <a:blipFill dpi="0" rotWithShape="1">
            <a:blip r:embed="rId13">
              <a:alphaModFix amt="15000"/>
            </a:blip>
            <a:srcRect/>
            <a:tile tx="0" ty="0" sx="76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914400" y="274638"/>
            <a:ext cx="10363200" cy="1143000"/>
          </a:xfrm>
          <a:prstGeom prst="rect">
            <a:avLst/>
          </a:prstGeom>
        </p:spPr>
        <p:txBody>
          <a:bodyPr vert="horz" lIns="0" tIns="45720" rIns="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914400" y="1600203"/>
            <a:ext cx="10363200" cy="4525963"/>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34400" y="6416678"/>
            <a:ext cx="2641600" cy="365125"/>
          </a:xfrm>
          <a:prstGeom prst="rect">
            <a:avLst/>
          </a:prstGeom>
        </p:spPr>
        <p:txBody>
          <a:bodyPr vert="horz" lIns="0" tIns="45720" rIns="0" bIns="0" rtlCol="0" anchor="b" anchorCtr="0"/>
          <a:lstStyle>
            <a:lvl1pPr algn="r">
              <a:defRPr lang="en-US" sz="900" kern="1200" cap="all" spc="110" baseline="0" smtClean="0">
                <a:solidFill>
                  <a:srgbClr val="4D4D4D"/>
                </a:solidFill>
                <a:latin typeface="+mn-lt"/>
                <a:ea typeface="+mn-ea"/>
                <a:cs typeface="+mn-cs"/>
              </a:defRPr>
            </a:lvl1pPr>
          </a:lstStyle>
          <a:p>
            <a:fld id="{127FF642-8FB2-435C-9871-0CA5D884E32B}" type="datetime1">
              <a:rPr lang="en-US" smtClean="0"/>
              <a:t>10/16/2023</a:t>
            </a:fld>
            <a:endParaRPr lang="en-US" dirty="0"/>
          </a:p>
        </p:txBody>
      </p:sp>
      <p:sp>
        <p:nvSpPr>
          <p:cNvPr id="5" name="Footer Placeholder 4"/>
          <p:cNvSpPr>
            <a:spLocks noGrp="1"/>
          </p:cNvSpPr>
          <p:nvPr>
            <p:ph type="ftr" sz="quarter" idx="3"/>
          </p:nvPr>
        </p:nvSpPr>
        <p:spPr>
          <a:xfrm>
            <a:off x="304800" y="6416678"/>
            <a:ext cx="3860800" cy="365125"/>
          </a:xfrm>
          <a:prstGeom prst="rect">
            <a:avLst/>
          </a:prstGeom>
        </p:spPr>
        <p:txBody>
          <a:bodyPr vert="horz" lIns="0" tIns="45720" rIns="0" bIns="0" rtlCol="0" anchor="b" anchorCtr="0"/>
          <a:lstStyle>
            <a:lvl1pPr algn="l">
              <a:defRPr sz="900" cap="all" spc="110" baseline="0">
                <a:solidFill>
                  <a:srgbClr val="4D4D4D"/>
                </a:solidFill>
              </a:defRPr>
            </a:lvl1pPr>
          </a:lstStyle>
          <a:p>
            <a:endParaRPr lang="en-US" dirty="0"/>
          </a:p>
        </p:txBody>
      </p:sp>
      <p:sp>
        <p:nvSpPr>
          <p:cNvPr id="6" name="Slide Number Placeholder 5"/>
          <p:cNvSpPr>
            <a:spLocks noGrp="1"/>
          </p:cNvSpPr>
          <p:nvPr>
            <p:ph type="sldNum" sz="quarter" idx="4"/>
          </p:nvPr>
        </p:nvSpPr>
        <p:spPr>
          <a:xfrm>
            <a:off x="11277600" y="6416678"/>
            <a:ext cx="609600" cy="365125"/>
          </a:xfrm>
          <a:prstGeom prst="rect">
            <a:avLst/>
          </a:prstGeom>
        </p:spPr>
        <p:txBody>
          <a:bodyPr vert="horz" lIns="0" tIns="45720" rIns="0" bIns="0" rtlCol="0" anchor="b" anchorCtr="0"/>
          <a:lstStyle>
            <a:lvl1pPr algn="r">
              <a:defRPr sz="1100" b="1" baseline="0">
                <a:solidFill>
                  <a:srgbClr val="4D4D4D"/>
                </a:solidFill>
              </a:defRPr>
            </a:lvl1pPr>
          </a:lstStyle>
          <a:p>
            <a:fld id="{A001C670-DC88-4376-AA6B-FD9548DDC9F2}"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defTabSz="914400" rtl="0" eaLnBrk="1" latinLnBrk="0" hangingPunct="1">
        <a:spcBef>
          <a:spcPct val="0"/>
        </a:spcBef>
        <a:buNone/>
        <a:defRPr sz="3600" kern="1200" cap="all" baseline="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lnSpc>
          <a:spcPct val="100000"/>
        </a:lnSpc>
        <a:spcBef>
          <a:spcPts val="700"/>
        </a:spcBef>
        <a:buClr>
          <a:schemeClr val="accent1"/>
        </a:buClr>
        <a:buSzPct val="85000"/>
        <a:buFont typeface="Wingdings 3" pitchFamily="18" charset="2"/>
        <a:buChar char=""/>
        <a:defRPr sz="2000" kern="1200" baseline="0">
          <a:solidFill>
            <a:schemeClr val="tx1"/>
          </a:solidFill>
          <a:latin typeface="+mn-lt"/>
          <a:ea typeface="+mn-ea"/>
          <a:cs typeface="+mn-cs"/>
        </a:defRPr>
      </a:lvl1pPr>
      <a:lvl2pPr marL="742950" indent="-274320" algn="l" defTabSz="914400" rtl="0" eaLnBrk="1" latinLnBrk="0" hangingPunct="1">
        <a:lnSpc>
          <a:spcPct val="100000"/>
        </a:lnSpc>
        <a:spcBef>
          <a:spcPts val="700"/>
        </a:spcBef>
        <a:buClr>
          <a:schemeClr val="accent1"/>
        </a:buClr>
        <a:buSzPct val="85000"/>
        <a:buFont typeface="Wingdings 3" pitchFamily="18" charset="2"/>
        <a:buChar char=""/>
        <a:defRPr sz="1600" kern="1200" baseline="0">
          <a:solidFill>
            <a:schemeClr val="tx1"/>
          </a:solidFill>
          <a:latin typeface="+mn-lt"/>
          <a:ea typeface="+mn-ea"/>
          <a:cs typeface="+mn-cs"/>
        </a:defRPr>
      </a:lvl2pPr>
      <a:lvl3pPr marL="11430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baseline="0">
          <a:solidFill>
            <a:schemeClr val="tx1"/>
          </a:solidFill>
          <a:latin typeface="+mn-lt"/>
          <a:ea typeface="+mn-ea"/>
          <a:cs typeface="+mn-cs"/>
        </a:defRPr>
      </a:lvl3pPr>
      <a:lvl4pPr marL="16002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baseline="0">
          <a:solidFill>
            <a:schemeClr val="tx1"/>
          </a:solidFill>
          <a:latin typeface="+mn-lt"/>
          <a:ea typeface="+mn-ea"/>
          <a:cs typeface="+mn-cs"/>
        </a:defRPr>
      </a:lvl4pPr>
      <a:lvl5pPr marL="20574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baseline="0">
          <a:solidFill>
            <a:schemeClr val="tx1"/>
          </a:solidFill>
          <a:latin typeface="+mn-lt"/>
          <a:ea typeface="+mn-ea"/>
          <a:cs typeface="+mn-cs"/>
        </a:defRPr>
      </a:lvl5pPr>
      <a:lvl6pPr marL="25146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a:solidFill>
            <a:schemeClr val="tx1"/>
          </a:solidFill>
          <a:latin typeface="+mn-lt"/>
          <a:ea typeface="+mn-ea"/>
          <a:cs typeface="+mn-cs"/>
        </a:defRPr>
      </a:lvl6pPr>
      <a:lvl7pPr marL="29718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a:solidFill>
            <a:schemeClr val="tx1"/>
          </a:solidFill>
          <a:latin typeface="+mn-lt"/>
          <a:ea typeface="+mn-ea"/>
          <a:cs typeface="+mn-cs"/>
        </a:defRPr>
      </a:lvl7pPr>
      <a:lvl8pPr marL="34290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a:solidFill>
            <a:schemeClr val="tx1"/>
          </a:solidFill>
          <a:latin typeface="+mn-lt"/>
          <a:ea typeface="+mn-ea"/>
          <a:cs typeface="+mn-cs"/>
        </a:defRPr>
      </a:lvl8pPr>
      <a:lvl9pPr marL="3886200" indent="-274320" algn="l" defTabSz="914400" rtl="0" eaLnBrk="1" latinLnBrk="0" hangingPunct="1">
        <a:lnSpc>
          <a:spcPct val="100000"/>
        </a:lnSpc>
        <a:spcBef>
          <a:spcPts val="700"/>
        </a:spcBef>
        <a:buClr>
          <a:schemeClr val="accent1"/>
        </a:buClr>
        <a:buSzPct val="85000"/>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36" imgW="501" imgH="502" progId="TCLayout.ActiveDocument.1">
                  <p:embed/>
                </p:oleObj>
              </mc:Choice>
              <mc:Fallback>
                <p:oleObj name="think-cell Slide" r:id="rId36" imgW="501" imgH="502" progId="TCLayout.ActiveDocument.1">
                  <p:embed/>
                  <p:pic>
                    <p:nvPicPr>
                      <p:cNvPr id="5" name="Object 4"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dirty="0">
              <a:latin typeface="Verdana" panose="020B0604030504040204" pitchFamily="34" charset="0"/>
              <a:ea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4" y="365126"/>
            <a:ext cx="11216785" cy="598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42900" y="1331238"/>
            <a:ext cx="11468100" cy="51251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3"/>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F8BC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0" name="Picture 9">
            <a:extLst>
              <a:ext uri="{FF2B5EF4-FFF2-40B4-BE49-F238E27FC236}">
                <a16:creationId xmlns:a16="http://schemas.microsoft.com/office/drawing/2014/main" id="{3502344B-3054-B649-B56A-545770A6EE84}"/>
              </a:ext>
            </a:extLst>
          </p:cNvPr>
          <p:cNvPicPr>
            <a:picLocks noChangeAspect="1"/>
          </p:cNvPicPr>
          <p:nvPr userDrawn="1"/>
        </p:nvPicPr>
        <p:blipFill>
          <a:blip r:embed="rId38"/>
          <a:stretch>
            <a:fillRect/>
          </a:stretch>
        </p:blipFill>
        <p:spPr>
          <a:xfrm>
            <a:off x="0" y="6752492"/>
            <a:ext cx="12192000" cy="119576"/>
          </a:xfrm>
          <a:prstGeom prst="rect">
            <a:avLst/>
          </a:prstGeom>
        </p:spPr>
      </p:pic>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951900088"/>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 id="2147483846" r:id="rId30"/>
    <p:sldLayoutId id="2147483847" r:id="rId31"/>
  </p:sldLayoutIdLst>
  <p:hf hdr="0" dt="0"/>
  <p:txStyles>
    <p:titleStyle>
      <a:lvl1pPr algn="l" defTabSz="914400" rtl="0" eaLnBrk="1" latinLnBrk="0" hangingPunct="1">
        <a:lnSpc>
          <a:spcPct val="9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38" imgW="378" imgH="379" progId="TCLayout.ActiveDocument.1">
                  <p:embed/>
                </p:oleObj>
              </mc:Choice>
              <mc:Fallback>
                <p:oleObj name="think-cell Slide" r:id="rId38" imgW="378" imgH="379" progId="TCLayout.ActiveDocument.1">
                  <p:embed/>
                  <p:pic>
                    <p:nvPicPr>
                      <p:cNvPr id="5" name="Object 4"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dirty="0">
              <a:latin typeface="Verdana" panose="020B0604030504040204" pitchFamily="34" charset="0"/>
              <a:ea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4" y="365126"/>
            <a:ext cx="11216785" cy="598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42900" y="1331238"/>
            <a:ext cx="11468100" cy="51251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3"/>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F8BC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0" name="Picture 9">
            <a:extLst>
              <a:ext uri="{FF2B5EF4-FFF2-40B4-BE49-F238E27FC236}">
                <a16:creationId xmlns:a16="http://schemas.microsoft.com/office/drawing/2014/main" id="{3502344B-3054-B649-B56A-545770A6EE84}"/>
              </a:ext>
            </a:extLst>
          </p:cNvPr>
          <p:cNvPicPr>
            <a:picLocks noChangeAspect="1"/>
          </p:cNvPicPr>
          <p:nvPr userDrawn="1"/>
        </p:nvPicPr>
        <p:blipFill>
          <a:blip r:embed="rId40"/>
          <a:stretch>
            <a:fillRect/>
          </a:stretch>
        </p:blipFill>
        <p:spPr>
          <a:xfrm>
            <a:off x="0" y="6752492"/>
            <a:ext cx="12192000" cy="119576"/>
          </a:xfrm>
          <a:prstGeom prst="rect">
            <a:avLst/>
          </a:prstGeom>
        </p:spPr>
      </p:pic>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4189299258"/>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 id="2147483881" r:id="rId33"/>
  </p:sldLayoutIdLst>
  <p:hf sldNum="0" hdr="0" ftr="0" dt="0"/>
  <p:txStyles>
    <p:titleStyle>
      <a:lvl1pPr algn="l" defTabSz="914400" rtl="0" eaLnBrk="1" latinLnBrk="0" hangingPunct="1">
        <a:lnSpc>
          <a:spcPct val="9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38" imgW="378" imgH="379" progId="TCLayout.ActiveDocument.1">
                  <p:embed/>
                </p:oleObj>
              </mc:Choice>
              <mc:Fallback>
                <p:oleObj name="think-cell Slide" r:id="rId38" imgW="378" imgH="379" progId="TCLayout.ActiveDocument.1">
                  <p:embed/>
                  <p:pic>
                    <p:nvPicPr>
                      <p:cNvPr id="5" name="Object 4"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dirty="0">
              <a:latin typeface="Verdana" panose="020B0604030504040204" pitchFamily="34" charset="0"/>
              <a:ea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618CC1E8-4E7B-5246-85CC-843AFB6A1C35}"/>
              </a:ext>
            </a:extLst>
          </p:cNvPr>
          <p:cNvSpPr>
            <a:spLocks noGrp="1"/>
          </p:cNvSpPr>
          <p:nvPr>
            <p:ph type="title"/>
          </p:nvPr>
        </p:nvSpPr>
        <p:spPr>
          <a:xfrm>
            <a:off x="594214" y="365126"/>
            <a:ext cx="11216785" cy="59870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513906-1BA5-0944-91F0-63933281A4E2}"/>
              </a:ext>
            </a:extLst>
          </p:cNvPr>
          <p:cNvSpPr>
            <a:spLocks noGrp="1"/>
          </p:cNvSpPr>
          <p:nvPr>
            <p:ph type="body" idx="1"/>
          </p:nvPr>
        </p:nvSpPr>
        <p:spPr>
          <a:xfrm>
            <a:off x="342900" y="1331238"/>
            <a:ext cx="11468100" cy="51251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Google Shape;518;p37">
            <a:extLst>
              <a:ext uri="{FF2B5EF4-FFF2-40B4-BE49-F238E27FC236}">
                <a16:creationId xmlns:a16="http://schemas.microsoft.com/office/drawing/2014/main" id="{D1D40BDB-C57E-2749-9D0B-FC2F9E8AD03C}"/>
              </a:ext>
            </a:extLst>
          </p:cNvPr>
          <p:cNvSpPr/>
          <p:nvPr userDrawn="1"/>
        </p:nvSpPr>
        <p:spPr>
          <a:xfrm rot="10800000">
            <a:off x="342900" y="563083"/>
            <a:ext cx="169066" cy="194921"/>
          </a:xfrm>
          <a:custGeom>
            <a:avLst/>
            <a:gdLst/>
            <a:ahLst/>
            <a:cxnLst/>
            <a:rect l="l" t="t" r="r" b="b"/>
            <a:pathLst>
              <a:path w="9970" h="11493" extrusionOk="0">
                <a:moveTo>
                  <a:pt x="9969" y="1"/>
                </a:moveTo>
                <a:lnTo>
                  <a:pt x="1" y="5747"/>
                </a:lnTo>
                <a:lnTo>
                  <a:pt x="9969" y="11493"/>
                </a:lnTo>
                <a:lnTo>
                  <a:pt x="9969" y="1"/>
                </a:lnTo>
                <a:close/>
              </a:path>
            </a:pathLst>
          </a:custGeom>
          <a:solidFill>
            <a:srgbClr val="F8BC2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0" name="Picture 9">
            <a:extLst>
              <a:ext uri="{FF2B5EF4-FFF2-40B4-BE49-F238E27FC236}">
                <a16:creationId xmlns:a16="http://schemas.microsoft.com/office/drawing/2014/main" id="{3502344B-3054-B649-B56A-545770A6EE84}"/>
              </a:ext>
            </a:extLst>
          </p:cNvPr>
          <p:cNvPicPr>
            <a:picLocks noChangeAspect="1"/>
          </p:cNvPicPr>
          <p:nvPr userDrawn="1"/>
        </p:nvPicPr>
        <p:blipFill>
          <a:blip r:embed="rId40"/>
          <a:stretch>
            <a:fillRect/>
          </a:stretch>
        </p:blipFill>
        <p:spPr>
          <a:xfrm>
            <a:off x="0" y="6752492"/>
            <a:ext cx="12192000" cy="119576"/>
          </a:xfrm>
          <a:prstGeom prst="rect">
            <a:avLst/>
          </a:prstGeom>
        </p:spPr>
      </p:pic>
      <p:sp>
        <p:nvSpPr>
          <p:cNvPr id="6" name="Slide Number"/>
          <p:cNvSpPr txBox="1">
            <a:spLocks/>
          </p:cNvSpPr>
          <p:nvPr userDrawn="1"/>
        </p:nvSpPr>
        <p:spPr>
          <a:xfrm>
            <a:off x="11766691" y="6538448"/>
            <a:ext cx="342760" cy="186205"/>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1100" baseline="0" smtClean="0">
                <a:solidFill>
                  <a:srgbClr val="808080"/>
                </a:solidFill>
                <a:latin typeface="+mn-lt"/>
              </a:rPr>
              <a:pPr/>
              <a:t>‹#›</a:t>
            </a:fld>
            <a:endParaRPr lang="en-US" sz="1100" baseline="0" dirty="0">
              <a:solidFill>
                <a:srgbClr val="808080"/>
              </a:solidFill>
              <a:latin typeface="+mn-lt"/>
            </a:endParaRPr>
          </a:p>
        </p:txBody>
      </p:sp>
    </p:spTree>
    <p:extLst>
      <p:ext uri="{BB962C8B-B14F-4D97-AF65-F5344CB8AC3E}">
        <p14:creationId xmlns:p14="http://schemas.microsoft.com/office/powerpoint/2010/main" val="362083971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 id="2147483913" r:id="rId31"/>
    <p:sldLayoutId id="2147483914" r:id="rId32"/>
    <p:sldLayoutId id="2147483915" r:id="rId33"/>
  </p:sldLayoutIdLst>
  <p:hf sldNum="0" hdr="0" ftr="0" dt="0"/>
  <p:txStyles>
    <p:titleStyle>
      <a:lvl1pPr algn="l" defTabSz="914400" rtl="0" eaLnBrk="1" latinLnBrk="0" hangingPunct="1">
        <a:lnSpc>
          <a:spcPct val="90000"/>
        </a:lnSpc>
        <a:spcBef>
          <a:spcPct val="0"/>
        </a:spcBef>
        <a:buNone/>
        <a:defRPr sz="28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27.emf"/><Relationship Id="rId5" Type="http://schemas.openxmlformats.org/officeDocument/2006/relationships/oleObject" Target="../embeddings/oleObject12.bin"/><Relationship Id="rId4"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tags" Target="../tags/tag47.xml"/><Relationship Id="rId39" Type="http://schemas.openxmlformats.org/officeDocument/2006/relationships/image" Target="../media/image27.emf"/><Relationship Id="rId3" Type="http://schemas.openxmlformats.org/officeDocument/2006/relationships/tags" Target="../tags/tag24.xml"/><Relationship Id="rId21" Type="http://schemas.openxmlformats.org/officeDocument/2006/relationships/tags" Target="../tags/tag42.xml"/><Relationship Id="rId34" Type="http://schemas.openxmlformats.org/officeDocument/2006/relationships/tags" Target="../tags/tag55.xml"/><Relationship Id="rId42" Type="http://schemas.openxmlformats.org/officeDocument/2006/relationships/chart" Target="../charts/chart3.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oleObject" Target="../embeddings/oleObject13.bin"/><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tags" Target="../tags/tag50.xml"/><Relationship Id="rId41" Type="http://schemas.openxmlformats.org/officeDocument/2006/relationships/chart" Target="../charts/chart2.xml"/><Relationship Id="rId1" Type="http://schemas.openxmlformats.org/officeDocument/2006/relationships/vmlDrawing" Target="../drawings/vmlDrawing13.v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tags" Target="../tags/tag53.xml"/><Relationship Id="rId37" Type="http://schemas.openxmlformats.org/officeDocument/2006/relationships/slideLayout" Target="../slideLayouts/slideLayout94.xml"/><Relationship Id="rId40" Type="http://schemas.openxmlformats.org/officeDocument/2006/relationships/chart" Target="../charts/chart1.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tags" Target="../tags/tag52.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tags" Target="../tags/tag5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4.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7.emf"/><Relationship Id="rId5" Type="http://schemas.openxmlformats.org/officeDocument/2006/relationships/oleObject" Target="../embeddings/oleObject8.bin"/><Relationship Id="rId4" Type="http://schemas.openxmlformats.org/officeDocument/2006/relationships/slideLayout" Target="../slideLayouts/slideLayout3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6.xml"/><Relationship Id="rId7" Type="http://schemas.openxmlformats.org/officeDocument/2006/relationships/image" Target="../media/image27.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35.png"/><Relationship Id="rId4"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7.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37.png"/><Relationship Id="rId4"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7.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38.png"/><Relationship Id="rId4"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100"/>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100"/>
            <a:ext cx="2362200" cy="802861"/>
          </a:xfrm>
          <a:prstGeom prst="rect">
            <a:avLst/>
          </a:prstGeom>
        </p:spPr>
      </p:pic>
      <p:sp>
        <p:nvSpPr>
          <p:cNvPr id="8" name="Title 1"/>
          <p:cNvSpPr>
            <a:spLocks noGrp="1"/>
          </p:cNvSpPr>
          <p:nvPr>
            <p:ph type="ctrTitle"/>
          </p:nvPr>
        </p:nvSpPr>
        <p:spPr>
          <a:xfrm>
            <a:off x="1889760" y="1600203"/>
            <a:ext cx="8534400" cy="2819397"/>
          </a:xfrm>
        </p:spPr>
        <p:txBody>
          <a:bodyPr>
            <a:noAutofit/>
          </a:bodyPr>
          <a:lstStyle/>
          <a:p>
            <a:pPr algn="ctr"/>
            <a:r>
              <a:rPr lang="en-US" sz="4000" b="1" cap="none" dirty="0">
                <a:solidFill>
                  <a:schemeClr val="accent3"/>
                </a:solidFill>
                <a:latin typeface="Century Gothic" panose="020B0502020202020204" pitchFamily="34" charset="0"/>
              </a:rPr>
              <a:t>MO HealthNet Oversight Committee Meeting</a:t>
            </a:r>
            <a:r>
              <a:rPr lang="en-US" sz="4400" b="1" cap="none" dirty="0">
                <a:solidFill>
                  <a:schemeClr val="accent3"/>
                </a:solidFill>
                <a:latin typeface="Century Gothic" panose="020B0502020202020204" pitchFamily="34" charset="0"/>
              </a:rPr>
              <a:t/>
            </a:r>
            <a:br>
              <a:rPr lang="en-US" sz="44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900" b="1" cap="none" dirty="0">
                <a:solidFill>
                  <a:schemeClr val="accent3"/>
                </a:solidFill>
                <a:latin typeface="Century Gothic" panose="020B0502020202020204" pitchFamily="34" charset="0"/>
              </a:rPr>
              <a:t/>
            </a:r>
            <a:br>
              <a:rPr lang="en-US" sz="900" b="1" cap="none" dirty="0">
                <a:solidFill>
                  <a:schemeClr val="accent3"/>
                </a:solidFill>
                <a:latin typeface="Century Gothic" panose="020B0502020202020204" pitchFamily="34" charset="0"/>
              </a:rPr>
            </a:br>
            <a:r>
              <a:rPr lang="en-US" sz="3200" b="1" cap="none" dirty="0" smtClean="0">
                <a:solidFill>
                  <a:schemeClr val="accent3"/>
                </a:solidFill>
                <a:latin typeface="Century Gothic" panose="020B0502020202020204" pitchFamily="34" charset="0"/>
              </a:rPr>
              <a:t>February 4, 2021</a:t>
            </a:r>
            <a:endParaRPr lang="en-US" sz="2400" b="1" i="1" cap="small" dirty="0">
              <a:solidFill>
                <a:schemeClr val="accent3"/>
              </a:solidFill>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56" name="TextBox 255"/>
          <p:cNvSpPr txBox="1"/>
          <p:nvPr/>
        </p:nvSpPr>
        <p:spPr>
          <a:xfrm>
            <a:off x="7825812" y="2033588"/>
            <a:ext cx="197279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595959"/>
                </a:solidFill>
                <a:effectLst/>
                <a:uLnTx/>
                <a:uFillTx/>
                <a:latin typeface="Verdana" panose="020B0604030504040204"/>
                <a:ea typeface="+mn-ea"/>
                <a:cs typeface="+mn-cs"/>
                <a:sym typeface="Wingdings" panose="05000000000000000000" pitchFamily="2" charset="2"/>
              </a:rPr>
              <a:t>Central Reg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03 -&gt; 1.03</a:t>
            </a:r>
            <a:endParaRPr kumimoji="0" lang="en-US" sz="1400" b="1" i="0" u="none" strike="noStrike" kern="1200" cap="none" spc="0" normalizeH="0" baseline="0" noProof="0" dirty="0">
              <a:ln>
                <a:noFill/>
              </a:ln>
              <a:solidFill>
                <a:srgbClr val="FF0000"/>
              </a:solidFill>
              <a:effectLst/>
              <a:uLnTx/>
              <a:uFillTx/>
              <a:latin typeface="Verdana" panose="020B0604030504040204"/>
              <a:ea typeface="+mn-ea"/>
              <a:cs typeface="+mn-cs"/>
            </a:endParaRPr>
          </a:p>
        </p:txBody>
      </p:sp>
      <p:sp>
        <p:nvSpPr>
          <p:cNvPr id="3" name="Title 2"/>
          <p:cNvSpPr>
            <a:spLocks noGrp="1"/>
          </p:cNvSpPr>
          <p:nvPr>
            <p:ph type="title"/>
          </p:nvPr>
        </p:nvSpPr>
        <p:spPr>
          <a:xfrm>
            <a:off x="594214" y="365126"/>
            <a:ext cx="11565622" cy="598702"/>
          </a:xfrm>
        </p:spPr>
        <p:txBody>
          <a:bodyPr>
            <a:normAutofit/>
          </a:bodyPr>
          <a:lstStyle/>
          <a:p>
            <a:r>
              <a:rPr lang="en-US" dirty="0" smtClean="0"/>
              <a:t>Transmission rates (“R</a:t>
            </a:r>
            <a:r>
              <a:rPr lang="en-US" baseline="-25000" dirty="0" smtClean="0"/>
              <a:t>e</a:t>
            </a:r>
            <a:r>
              <a:rPr lang="en-US" dirty="0" smtClean="0"/>
              <a:t>”) dropped below 1 statewide</a:t>
            </a:r>
            <a:endParaRPr lang="en-US" dirty="0">
              <a:solidFill>
                <a:srgbClr val="FF0000"/>
              </a:solidFill>
            </a:endParaRPr>
          </a:p>
        </p:txBody>
      </p:sp>
      <p:sp>
        <p:nvSpPr>
          <p:cNvPr id="7" name="TextBox 6"/>
          <p:cNvSpPr txBox="1"/>
          <p:nvPr/>
        </p:nvSpPr>
        <p:spPr>
          <a:xfrm>
            <a:off x="1866017" y="3232764"/>
            <a:ext cx="254174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t>Greater Kansas City</a:t>
            </a:r>
            <a:b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b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09 -&gt; 1.05</a:t>
            </a:r>
            <a:endParaRPr kumimoji="0" lang="en-US" sz="1400" b="1" i="0" u="none" strike="noStrike" kern="1200" cap="none" spc="0" normalizeH="0" baseline="0" noProof="0" dirty="0">
              <a:ln>
                <a:noFill/>
              </a:ln>
              <a:solidFill>
                <a:srgbClr val="FF0000"/>
              </a:solidFill>
              <a:effectLst/>
              <a:uLnTx/>
              <a:uFillTx/>
              <a:latin typeface="Verdana" panose="020B0604030504040204"/>
              <a:ea typeface="+mn-ea"/>
              <a:cs typeface="+mn-cs"/>
            </a:endParaRPr>
          </a:p>
        </p:txBody>
      </p:sp>
      <p:sp>
        <p:nvSpPr>
          <p:cNvPr id="8" name="TextBox 7"/>
          <p:cNvSpPr txBox="1"/>
          <p:nvPr/>
        </p:nvSpPr>
        <p:spPr>
          <a:xfrm>
            <a:off x="9192182" y="3156092"/>
            <a:ext cx="237201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St Louis Region </a:t>
            </a: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05 </a:t>
            </a:r>
            <a:r>
              <a:rPr kumimoji="0" lang="en-US" sz="1400" b="1" i="0" u="none" strike="noStrike" kern="1200" cap="none" spc="0" normalizeH="0" baseline="0" noProof="0" dirty="0" smtClean="0">
                <a:ln>
                  <a:noFill/>
                </a:ln>
                <a:solidFill>
                  <a:srgbClr val="FFC000"/>
                </a:solidFill>
                <a:effectLst/>
                <a:uLnTx/>
                <a:uFillTx/>
                <a:latin typeface="Verdana" panose="020B0604030504040204"/>
                <a:ea typeface="+mn-ea"/>
                <a:cs typeface="+mn-cs"/>
                <a:sym typeface="Wingdings" panose="05000000000000000000" pitchFamily="2" charset="2"/>
              </a:rPr>
              <a:t>-&gt; 0.95</a:t>
            </a:r>
          </a:p>
        </p:txBody>
      </p:sp>
      <p:sp>
        <p:nvSpPr>
          <p:cNvPr id="9" name="TextBox 8"/>
          <p:cNvSpPr txBox="1"/>
          <p:nvPr/>
        </p:nvSpPr>
        <p:spPr>
          <a:xfrm>
            <a:off x="4256644" y="6076666"/>
            <a:ext cx="343535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Springfield Reg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08 –&gt; </a:t>
            </a:r>
            <a:r>
              <a:rPr kumimoji="0" lang="en-US" sz="1400" b="1" i="0" u="none" strike="noStrike" kern="1200" cap="none" spc="0" normalizeH="0" baseline="0" noProof="0" dirty="0" smtClean="0">
                <a:ln>
                  <a:noFill/>
                </a:ln>
                <a:solidFill>
                  <a:srgbClr val="00B050"/>
                </a:solidFill>
                <a:effectLst/>
                <a:uLnTx/>
                <a:uFillTx/>
                <a:latin typeface="Verdana" panose="020B0604030504040204"/>
                <a:ea typeface="+mn-ea"/>
                <a:cs typeface="+mn-cs"/>
                <a:sym typeface="Wingdings" panose="05000000000000000000" pitchFamily="2" charset="2"/>
              </a:rPr>
              <a:t>0.88</a:t>
            </a:r>
            <a:endParaRPr kumimoji="0" lang="en-US" sz="1600" b="1" i="0" u="none" strike="noStrike" kern="1200" cap="none" spc="0" normalizeH="0" baseline="0" noProof="0" dirty="0">
              <a:ln>
                <a:noFill/>
              </a:ln>
              <a:solidFill>
                <a:srgbClr val="00B050"/>
              </a:solidFill>
              <a:effectLst/>
              <a:uLnTx/>
              <a:uFillTx/>
              <a:latin typeface="Verdana" panose="020B0604030504040204"/>
              <a:ea typeface="+mn-ea"/>
              <a:cs typeface="+mn-cs"/>
            </a:endParaRPr>
          </a:p>
        </p:txBody>
      </p:sp>
      <p:sp>
        <p:nvSpPr>
          <p:cNvPr id="10" name="TextBox 9"/>
          <p:cNvSpPr txBox="1"/>
          <p:nvPr/>
        </p:nvSpPr>
        <p:spPr>
          <a:xfrm>
            <a:off x="9239014" y="4471014"/>
            <a:ext cx="292082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t>Cape </a:t>
            </a: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Girardeau Region </a:t>
            </a:r>
            <a: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t/>
            </a:r>
            <a:b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b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02 -&gt; </a:t>
            </a:r>
            <a:r>
              <a:rPr kumimoji="0" lang="en-US" sz="1400" b="1" i="0" u="none" strike="noStrike" kern="1200" cap="none" spc="0" normalizeH="0" baseline="0" noProof="0" dirty="0" smtClean="0">
                <a:ln>
                  <a:noFill/>
                </a:ln>
                <a:solidFill>
                  <a:srgbClr val="00B050"/>
                </a:solidFill>
                <a:effectLst/>
                <a:uLnTx/>
                <a:uFillTx/>
                <a:latin typeface="Verdana" panose="020B0604030504040204"/>
                <a:ea typeface="+mn-ea"/>
                <a:cs typeface="+mn-cs"/>
                <a:sym typeface="Wingdings" panose="05000000000000000000" pitchFamily="2" charset="2"/>
              </a:rPr>
              <a:t>0.84</a:t>
            </a:r>
            <a:endParaRPr kumimoji="0" lang="en-US" sz="1400" b="1" i="0" u="none" strike="noStrike" kern="1200" cap="none" spc="0" normalizeH="0" baseline="0" noProof="0" dirty="0">
              <a:ln>
                <a:noFill/>
              </a:ln>
              <a:solidFill>
                <a:srgbClr val="00B050"/>
              </a:solidFill>
              <a:effectLst/>
              <a:uLnTx/>
              <a:uFillTx/>
              <a:latin typeface="Verdana" panose="020B0604030504040204"/>
              <a:ea typeface="+mn-ea"/>
              <a:cs typeface="+mn-cs"/>
            </a:endParaRPr>
          </a:p>
        </p:txBody>
      </p:sp>
      <p:sp>
        <p:nvSpPr>
          <p:cNvPr id="11" name="TextBox 10"/>
          <p:cNvSpPr txBox="1"/>
          <p:nvPr/>
        </p:nvSpPr>
        <p:spPr>
          <a:xfrm>
            <a:off x="5579317" y="891081"/>
            <a:ext cx="265048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Northeast Region </a:t>
            </a:r>
            <a:b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br>
            <a:r>
              <a:rPr kumimoji="0" lang="en-US" sz="1400" b="1" i="0" u="none" strike="noStrike" kern="1200" cap="none" spc="0" normalizeH="0" baseline="0" noProof="0" dirty="0" smtClean="0">
                <a:ln>
                  <a:noFill/>
                </a:ln>
                <a:solidFill>
                  <a:srgbClr val="00B050"/>
                </a:solidFill>
                <a:effectLst/>
                <a:uLnTx/>
                <a:uFillTx/>
                <a:latin typeface="Verdana" panose="020B0604030504040204"/>
                <a:ea typeface="+mn-ea"/>
                <a:cs typeface="+mn-cs"/>
                <a:sym typeface="Wingdings" panose="05000000000000000000" pitchFamily="2" charset="2"/>
              </a:rPr>
              <a:t>0.88</a:t>
            </a:r>
            <a:r>
              <a:rPr kumimoji="0" lang="en-US" sz="1400" b="1" i="0" u="none" strike="noStrike" kern="1200" cap="none" spc="0" normalizeH="0" baseline="0" noProof="0" dirty="0" smtClean="0">
                <a:ln>
                  <a:noFill/>
                </a:ln>
                <a:solidFill>
                  <a:srgbClr val="FFC000"/>
                </a:solidFill>
                <a:effectLst/>
                <a:uLnTx/>
                <a:uFillTx/>
                <a:latin typeface="Verdana" panose="020B0604030504040204"/>
                <a:ea typeface="+mn-ea"/>
                <a:cs typeface="+mn-cs"/>
                <a:sym typeface="Wingdings" panose="05000000000000000000" pitchFamily="2" charset="2"/>
              </a:rPr>
              <a:t> </a:t>
            </a:r>
            <a:r>
              <a:rPr kumimoji="0" lang="en-US" sz="1400" b="1" i="0" u="none" strike="noStrike" kern="1200" cap="none" spc="0" normalizeH="0" baseline="0" noProof="0" dirty="0" smtClean="0">
                <a:ln>
                  <a:noFill/>
                </a:ln>
                <a:solidFill>
                  <a:srgbClr val="00B050"/>
                </a:solidFill>
                <a:effectLst/>
                <a:uLnTx/>
                <a:uFillTx/>
                <a:latin typeface="Verdana" panose="020B0604030504040204"/>
                <a:ea typeface="+mn-ea"/>
                <a:cs typeface="+mn-cs"/>
                <a:sym typeface="Wingdings" panose="05000000000000000000" pitchFamily="2" charset="2"/>
              </a:rPr>
              <a:t>-&gt; 0.88</a:t>
            </a:r>
            <a:endParaRPr kumimoji="0" lang="en-US" sz="1400" b="1" i="0" u="none" strike="noStrike" kern="1200" cap="none" spc="0" normalizeH="0" baseline="0" noProof="0" dirty="0">
              <a:ln>
                <a:noFill/>
              </a:ln>
              <a:solidFill>
                <a:srgbClr val="00B050"/>
              </a:solidFill>
              <a:effectLst/>
              <a:uLnTx/>
              <a:uFillTx/>
              <a:latin typeface="Verdana" panose="020B0604030504040204"/>
              <a:ea typeface="+mn-ea"/>
              <a:cs typeface="+mn-cs"/>
            </a:endParaRPr>
          </a:p>
        </p:txBody>
      </p:sp>
      <p:grpSp>
        <p:nvGrpSpPr>
          <p:cNvPr id="12" name="Group 11"/>
          <p:cNvGrpSpPr/>
          <p:nvPr/>
        </p:nvGrpSpPr>
        <p:grpSpPr>
          <a:xfrm>
            <a:off x="3267632" y="1490659"/>
            <a:ext cx="6530976" cy="5098762"/>
            <a:chOff x="2548821" y="874506"/>
            <a:chExt cx="6530976" cy="5608638"/>
          </a:xfrm>
        </p:grpSpPr>
        <p:sp>
          <p:nvSpPr>
            <p:cNvPr id="13" name="Freeform 169"/>
            <p:cNvSpPr>
              <a:spLocks/>
            </p:cNvSpPr>
            <p:nvPr/>
          </p:nvSpPr>
          <p:spPr bwMode="auto">
            <a:xfrm>
              <a:off x="3606096" y="2282619"/>
              <a:ext cx="382588" cy="423863"/>
            </a:xfrm>
            <a:custGeom>
              <a:avLst/>
              <a:gdLst/>
              <a:ahLst/>
              <a:cxnLst>
                <a:cxn ang="0">
                  <a:pos x="22" y="0"/>
                </a:cxn>
                <a:cxn ang="0">
                  <a:pos x="36" y="0"/>
                </a:cxn>
                <a:cxn ang="0">
                  <a:pos x="60" y="0"/>
                </a:cxn>
                <a:cxn ang="0">
                  <a:pos x="74" y="2"/>
                </a:cxn>
                <a:cxn ang="0">
                  <a:pos x="93" y="2"/>
                </a:cxn>
                <a:cxn ang="0">
                  <a:pos x="114" y="2"/>
                </a:cxn>
                <a:cxn ang="0">
                  <a:pos x="139" y="2"/>
                </a:cxn>
                <a:cxn ang="0">
                  <a:pos x="153" y="2"/>
                </a:cxn>
                <a:cxn ang="0">
                  <a:pos x="163" y="4"/>
                </a:cxn>
                <a:cxn ang="0">
                  <a:pos x="179" y="4"/>
                </a:cxn>
                <a:cxn ang="0">
                  <a:pos x="196" y="4"/>
                </a:cxn>
                <a:cxn ang="0">
                  <a:pos x="225" y="4"/>
                </a:cxn>
                <a:cxn ang="0">
                  <a:pos x="239" y="16"/>
                </a:cxn>
                <a:cxn ang="0">
                  <a:pos x="239" y="31"/>
                </a:cxn>
                <a:cxn ang="0">
                  <a:pos x="239" y="55"/>
                </a:cxn>
                <a:cxn ang="0">
                  <a:pos x="239" y="73"/>
                </a:cxn>
                <a:cxn ang="0">
                  <a:pos x="237" y="88"/>
                </a:cxn>
                <a:cxn ang="0">
                  <a:pos x="237" y="100"/>
                </a:cxn>
                <a:cxn ang="0">
                  <a:pos x="237" y="129"/>
                </a:cxn>
                <a:cxn ang="0">
                  <a:pos x="237" y="145"/>
                </a:cxn>
                <a:cxn ang="0">
                  <a:pos x="236" y="179"/>
                </a:cxn>
                <a:cxn ang="0">
                  <a:pos x="232" y="193"/>
                </a:cxn>
                <a:cxn ang="0">
                  <a:pos x="224" y="186"/>
                </a:cxn>
                <a:cxn ang="0">
                  <a:pos x="218" y="176"/>
                </a:cxn>
                <a:cxn ang="0">
                  <a:pos x="212" y="172"/>
                </a:cxn>
                <a:cxn ang="0">
                  <a:pos x="203" y="172"/>
                </a:cxn>
                <a:cxn ang="0">
                  <a:pos x="193" y="172"/>
                </a:cxn>
                <a:cxn ang="0">
                  <a:pos x="184" y="174"/>
                </a:cxn>
                <a:cxn ang="0">
                  <a:pos x="179" y="178"/>
                </a:cxn>
                <a:cxn ang="0">
                  <a:pos x="174" y="188"/>
                </a:cxn>
                <a:cxn ang="0">
                  <a:pos x="169" y="202"/>
                </a:cxn>
                <a:cxn ang="0">
                  <a:pos x="162" y="212"/>
                </a:cxn>
                <a:cxn ang="0">
                  <a:pos x="148" y="226"/>
                </a:cxn>
                <a:cxn ang="0">
                  <a:pos x="138" y="226"/>
                </a:cxn>
                <a:cxn ang="0">
                  <a:pos x="131" y="207"/>
                </a:cxn>
                <a:cxn ang="0">
                  <a:pos x="119" y="205"/>
                </a:cxn>
                <a:cxn ang="0">
                  <a:pos x="122" y="224"/>
                </a:cxn>
                <a:cxn ang="0">
                  <a:pos x="112" y="236"/>
                </a:cxn>
                <a:cxn ang="0">
                  <a:pos x="98" y="252"/>
                </a:cxn>
                <a:cxn ang="0">
                  <a:pos x="83" y="257"/>
                </a:cxn>
                <a:cxn ang="0">
                  <a:pos x="65" y="236"/>
                </a:cxn>
                <a:cxn ang="0">
                  <a:pos x="48" y="236"/>
                </a:cxn>
                <a:cxn ang="0">
                  <a:pos x="31" y="252"/>
                </a:cxn>
                <a:cxn ang="0">
                  <a:pos x="9" y="265"/>
                </a:cxn>
                <a:cxn ang="0">
                  <a:pos x="0" y="257"/>
                </a:cxn>
                <a:cxn ang="0">
                  <a:pos x="2" y="227"/>
                </a:cxn>
                <a:cxn ang="0">
                  <a:pos x="2" y="217"/>
                </a:cxn>
                <a:cxn ang="0">
                  <a:pos x="3" y="207"/>
                </a:cxn>
                <a:cxn ang="0">
                  <a:pos x="3" y="191"/>
                </a:cxn>
                <a:cxn ang="0">
                  <a:pos x="3" y="178"/>
                </a:cxn>
                <a:cxn ang="0">
                  <a:pos x="3" y="164"/>
                </a:cxn>
                <a:cxn ang="0">
                  <a:pos x="5" y="128"/>
                </a:cxn>
                <a:cxn ang="0">
                  <a:pos x="5" y="116"/>
                </a:cxn>
                <a:cxn ang="0">
                  <a:pos x="5" y="88"/>
                </a:cxn>
                <a:cxn ang="0">
                  <a:pos x="5" y="66"/>
                </a:cxn>
                <a:cxn ang="0">
                  <a:pos x="5" y="47"/>
                </a:cxn>
                <a:cxn ang="0">
                  <a:pos x="7" y="24"/>
                </a:cxn>
                <a:cxn ang="0">
                  <a:pos x="7" y="4"/>
                </a:cxn>
              </a:cxnLst>
              <a:rect l="0" t="0" r="r" b="b"/>
              <a:pathLst>
                <a:path w="241" h="267">
                  <a:moveTo>
                    <a:pt x="7" y="0"/>
                  </a:moveTo>
                  <a:lnTo>
                    <a:pt x="10" y="0"/>
                  </a:lnTo>
                  <a:lnTo>
                    <a:pt x="12" y="0"/>
                  </a:lnTo>
                  <a:lnTo>
                    <a:pt x="14" y="0"/>
                  </a:lnTo>
                  <a:lnTo>
                    <a:pt x="17" y="0"/>
                  </a:lnTo>
                  <a:lnTo>
                    <a:pt x="22" y="0"/>
                  </a:lnTo>
                  <a:lnTo>
                    <a:pt x="24" y="0"/>
                  </a:lnTo>
                  <a:lnTo>
                    <a:pt x="28" y="0"/>
                  </a:lnTo>
                  <a:lnTo>
                    <a:pt x="29" y="0"/>
                  </a:lnTo>
                  <a:lnTo>
                    <a:pt x="29" y="0"/>
                  </a:lnTo>
                  <a:lnTo>
                    <a:pt x="31" y="0"/>
                  </a:lnTo>
                  <a:lnTo>
                    <a:pt x="36" y="0"/>
                  </a:lnTo>
                  <a:lnTo>
                    <a:pt x="40" y="0"/>
                  </a:lnTo>
                  <a:lnTo>
                    <a:pt x="41" y="0"/>
                  </a:lnTo>
                  <a:lnTo>
                    <a:pt x="43" y="0"/>
                  </a:lnTo>
                  <a:lnTo>
                    <a:pt x="55" y="0"/>
                  </a:lnTo>
                  <a:lnTo>
                    <a:pt x="59" y="0"/>
                  </a:lnTo>
                  <a:lnTo>
                    <a:pt x="60" y="0"/>
                  </a:lnTo>
                  <a:lnTo>
                    <a:pt x="60" y="0"/>
                  </a:lnTo>
                  <a:lnTo>
                    <a:pt x="64" y="0"/>
                  </a:lnTo>
                  <a:lnTo>
                    <a:pt x="67" y="0"/>
                  </a:lnTo>
                  <a:lnTo>
                    <a:pt x="67" y="2"/>
                  </a:lnTo>
                  <a:lnTo>
                    <a:pt x="72" y="2"/>
                  </a:lnTo>
                  <a:lnTo>
                    <a:pt x="74" y="2"/>
                  </a:lnTo>
                  <a:lnTo>
                    <a:pt x="77" y="2"/>
                  </a:lnTo>
                  <a:lnTo>
                    <a:pt x="84" y="2"/>
                  </a:lnTo>
                  <a:lnTo>
                    <a:pt x="86" y="2"/>
                  </a:lnTo>
                  <a:lnTo>
                    <a:pt x="89" y="2"/>
                  </a:lnTo>
                  <a:lnTo>
                    <a:pt x="89" y="2"/>
                  </a:lnTo>
                  <a:lnTo>
                    <a:pt x="93" y="2"/>
                  </a:lnTo>
                  <a:lnTo>
                    <a:pt x="98" y="2"/>
                  </a:lnTo>
                  <a:lnTo>
                    <a:pt x="100" y="2"/>
                  </a:lnTo>
                  <a:lnTo>
                    <a:pt x="105" y="2"/>
                  </a:lnTo>
                  <a:lnTo>
                    <a:pt x="105" y="2"/>
                  </a:lnTo>
                  <a:lnTo>
                    <a:pt x="112" y="2"/>
                  </a:lnTo>
                  <a:lnTo>
                    <a:pt x="114" y="2"/>
                  </a:lnTo>
                  <a:lnTo>
                    <a:pt x="117" y="2"/>
                  </a:lnTo>
                  <a:lnTo>
                    <a:pt x="122" y="2"/>
                  </a:lnTo>
                  <a:lnTo>
                    <a:pt x="129" y="2"/>
                  </a:lnTo>
                  <a:lnTo>
                    <a:pt x="132" y="2"/>
                  </a:lnTo>
                  <a:lnTo>
                    <a:pt x="134" y="2"/>
                  </a:lnTo>
                  <a:lnTo>
                    <a:pt x="139" y="2"/>
                  </a:lnTo>
                  <a:lnTo>
                    <a:pt x="141" y="2"/>
                  </a:lnTo>
                  <a:lnTo>
                    <a:pt x="143" y="2"/>
                  </a:lnTo>
                  <a:lnTo>
                    <a:pt x="145" y="2"/>
                  </a:lnTo>
                  <a:lnTo>
                    <a:pt x="150" y="2"/>
                  </a:lnTo>
                  <a:lnTo>
                    <a:pt x="151" y="2"/>
                  </a:lnTo>
                  <a:lnTo>
                    <a:pt x="153" y="2"/>
                  </a:lnTo>
                  <a:lnTo>
                    <a:pt x="155" y="2"/>
                  </a:lnTo>
                  <a:lnTo>
                    <a:pt x="158" y="2"/>
                  </a:lnTo>
                  <a:lnTo>
                    <a:pt x="160" y="2"/>
                  </a:lnTo>
                  <a:lnTo>
                    <a:pt x="162" y="2"/>
                  </a:lnTo>
                  <a:lnTo>
                    <a:pt x="163" y="2"/>
                  </a:lnTo>
                  <a:lnTo>
                    <a:pt x="163" y="4"/>
                  </a:lnTo>
                  <a:lnTo>
                    <a:pt x="165" y="4"/>
                  </a:lnTo>
                  <a:lnTo>
                    <a:pt x="169" y="4"/>
                  </a:lnTo>
                  <a:lnTo>
                    <a:pt x="170" y="4"/>
                  </a:lnTo>
                  <a:lnTo>
                    <a:pt x="172" y="4"/>
                  </a:lnTo>
                  <a:lnTo>
                    <a:pt x="174" y="4"/>
                  </a:lnTo>
                  <a:lnTo>
                    <a:pt x="179" y="4"/>
                  </a:lnTo>
                  <a:lnTo>
                    <a:pt x="181" y="4"/>
                  </a:lnTo>
                  <a:lnTo>
                    <a:pt x="181" y="4"/>
                  </a:lnTo>
                  <a:lnTo>
                    <a:pt x="182" y="4"/>
                  </a:lnTo>
                  <a:lnTo>
                    <a:pt x="186" y="4"/>
                  </a:lnTo>
                  <a:lnTo>
                    <a:pt x="189" y="4"/>
                  </a:lnTo>
                  <a:lnTo>
                    <a:pt x="196" y="4"/>
                  </a:lnTo>
                  <a:lnTo>
                    <a:pt x="200" y="4"/>
                  </a:lnTo>
                  <a:lnTo>
                    <a:pt x="203" y="4"/>
                  </a:lnTo>
                  <a:lnTo>
                    <a:pt x="212" y="4"/>
                  </a:lnTo>
                  <a:lnTo>
                    <a:pt x="215" y="4"/>
                  </a:lnTo>
                  <a:lnTo>
                    <a:pt x="224" y="4"/>
                  </a:lnTo>
                  <a:lnTo>
                    <a:pt x="225" y="4"/>
                  </a:lnTo>
                  <a:lnTo>
                    <a:pt x="227" y="4"/>
                  </a:lnTo>
                  <a:lnTo>
                    <a:pt x="239" y="6"/>
                  </a:lnTo>
                  <a:lnTo>
                    <a:pt x="241" y="6"/>
                  </a:lnTo>
                  <a:lnTo>
                    <a:pt x="241" y="11"/>
                  </a:lnTo>
                  <a:lnTo>
                    <a:pt x="239" y="12"/>
                  </a:lnTo>
                  <a:lnTo>
                    <a:pt x="239" y="16"/>
                  </a:lnTo>
                  <a:lnTo>
                    <a:pt x="239" y="21"/>
                  </a:lnTo>
                  <a:lnTo>
                    <a:pt x="239" y="24"/>
                  </a:lnTo>
                  <a:lnTo>
                    <a:pt x="239" y="24"/>
                  </a:lnTo>
                  <a:lnTo>
                    <a:pt x="239" y="26"/>
                  </a:lnTo>
                  <a:lnTo>
                    <a:pt x="239" y="30"/>
                  </a:lnTo>
                  <a:lnTo>
                    <a:pt x="239" y="31"/>
                  </a:lnTo>
                  <a:lnTo>
                    <a:pt x="239" y="40"/>
                  </a:lnTo>
                  <a:lnTo>
                    <a:pt x="239" y="45"/>
                  </a:lnTo>
                  <a:lnTo>
                    <a:pt x="239" y="50"/>
                  </a:lnTo>
                  <a:lnTo>
                    <a:pt x="239" y="52"/>
                  </a:lnTo>
                  <a:lnTo>
                    <a:pt x="239" y="54"/>
                  </a:lnTo>
                  <a:lnTo>
                    <a:pt x="239" y="55"/>
                  </a:lnTo>
                  <a:lnTo>
                    <a:pt x="239" y="55"/>
                  </a:lnTo>
                  <a:lnTo>
                    <a:pt x="239" y="57"/>
                  </a:lnTo>
                  <a:lnTo>
                    <a:pt x="239" y="59"/>
                  </a:lnTo>
                  <a:lnTo>
                    <a:pt x="239" y="64"/>
                  </a:lnTo>
                  <a:lnTo>
                    <a:pt x="239" y="66"/>
                  </a:lnTo>
                  <a:lnTo>
                    <a:pt x="239" y="73"/>
                  </a:lnTo>
                  <a:lnTo>
                    <a:pt x="239" y="80"/>
                  </a:lnTo>
                  <a:lnTo>
                    <a:pt x="239" y="83"/>
                  </a:lnTo>
                  <a:lnTo>
                    <a:pt x="239" y="85"/>
                  </a:lnTo>
                  <a:lnTo>
                    <a:pt x="239" y="85"/>
                  </a:lnTo>
                  <a:lnTo>
                    <a:pt x="237" y="86"/>
                  </a:lnTo>
                  <a:lnTo>
                    <a:pt x="237" y="88"/>
                  </a:lnTo>
                  <a:lnTo>
                    <a:pt x="237" y="90"/>
                  </a:lnTo>
                  <a:lnTo>
                    <a:pt x="237" y="93"/>
                  </a:lnTo>
                  <a:lnTo>
                    <a:pt x="237" y="95"/>
                  </a:lnTo>
                  <a:lnTo>
                    <a:pt x="237" y="97"/>
                  </a:lnTo>
                  <a:lnTo>
                    <a:pt x="237" y="100"/>
                  </a:lnTo>
                  <a:lnTo>
                    <a:pt x="237" y="100"/>
                  </a:lnTo>
                  <a:lnTo>
                    <a:pt x="237" y="104"/>
                  </a:lnTo>
                  <a:lnTo>
                    <a:pt x="237" y="105"/>
                  </a:lnTo>
                  <a:lnTo>
                    <a:pt x="237" y="112"/>
                  </a:lnTo>
                  <a:lnTo>
                    <a:pt x="237" y="116"/>
                  </a:lnTo>
                  <a:lnTo>
                    <a:pt x="237" y="117"/>
                  </a:lnTo>
                  <a:lnTo>
                    <a:pt x="237" y="129"/>
                  </a:lnTo>
                  <a:lnTo>
                    <a:pt x="237" y="133"/>
                  </a:lnTo>
                  <a:lnTo>
                    <a:pt x="237" y="136"/>
                  </a:lnTo>
                  <a:lnTo>
                    <a:pt x="237" y="141"/>
                  </a:lnTo>
                  <a:lnTo>
                    <a:pt x="237" y="143"/>
                  </a:lnTo>
                  <a:lnTo>
                    <a:pt x="237" y="145"/>
                  </a:lnTo>
                  <a:lnTo>
                    <a:pt x="237" y="145"/>
                  </a:lnTo>
                  <a:lnTo>
                    <a:pt x="237" y="150"/>
                  </a:lnTo>
                  <a:lnTo>
                    <a:pt x="237" y="159"/>
                  </a:lnTo>
                  <a:lnTo>
                    <a:pt x="237" y="160"/>
                  </a:lnTo>
                  <a:lnTo>
                    <a:pt x="237" y="172"/>
                  </a:lnTo>
                  <a:lnTo>
                    <a:pt x="237" y="176"/>
                  </a:lnTo>
                  <a:lnTo>
                    <a:pt x="236" y="179"/>
                  </a:lnTo>
                  <a:lnTo>
                    <a:pt x="236" y="191"/>
                  </a:lnTo>
                  <a:lnTo>
                    <a:pt x="236" y="193"/>
                  </a:lnTo>
                  <a:lnTo>
                    <a:pt x="236" y="195"/>
                  </a:lnTo>
                  <a:lnTo>
                    <a:pt x="234" y="195"/>
                  </a:lnTo>
                  <a:lnTo>
                    <a:pt x="234" y="193"/>
                  </a:lnTo>
                  <a:lnTo>
                    <a:pt x="232" y="193"/>
                  </a:lnTo>
                  <a:lnTo>
                    <a:pt x="231" y="193"/>
                  </a:lnTo>
                  <a:lnTo>
                    <a:pt x="229" y="191"/>
                  </a:lnTo>
                  <a:lnTo>
                    <a:pt x="227" y="191"/>
                  </a:lnTo>
                  <a:lnTo>
                    <a:pt x="225" y="190"/>
                  </a:lnTo>
                  <a:lnTo>
                    <a:pt x="225" y="188"/>
                  </a:lnTo>
                  <a:lnTo>
                    <a:pt x="224" y="186"/>
                  </a:lnTo>
                  <a:lnTo>
                    <a:pt x="224" y="184"/>
                  </a:lnTo>
                  <a:lnTo>
                    <a:pt x="222" y="183"/>
                  </a:lnTo>
                  <a:lnTo>
                    <a:pt x="220" y="179"/>
                  </a:lnTo>
                  <a:lnTo>
                    <a:pt x="220" y="178"/>
                  </a:lnTo>
                  <a:lnTo>
                    <a:pt x="220" y="176"/>
                  </a:lnTo>
                  <a:lnTo>
                    <a:pt x="218" y="176"/>
                  </a:lnTo>
                  <a:lnTo>
                    <a:pt x="217" y="176"/>
                  </a:lnTo>
                  <a:lnTo>
                    <a:pt x="215" y="176"/>
                  </a:lnTo>
                  <a:lnTo>
                    <a:pt x="215" y="174"/>
                  </a:lnTo>
                  <a:lnTo>
                    <a:pt x="213" y="174"/>
                  </a:lnTo>
                  <a:lnTo>
                    <a:pt x="212" y="174"/>
                  </a:lnTo>
                  <a:lnTo>
                    <a:pt x="212" y="172"/>
                  </a:lnTo>
                  <a:lnTo>
                    <a:pt x="210" y="172"/>
                  </a:lnTo>
                  <a:lnTo>
                    <a:pt x="210" y="172"/>
                  </a:lnTo>
                  <a:lnTo>
                    <a:pt x="208" y="172"/>
                  </a:lnTo>
                  <a:lnTo>
                    <a:pt x="206" y="172"/>
                  </a:lnTo>
                  <a:lnTo>
                    <a:pt x="205" y="172"/>
                  </a:lnTo>
                  <a:lnTo>
                    <a:pt x="203" y="172"/>
                  </a:lnTo>
                  <a:lnTo>
                    <a:pt x="201" y="172"/>
                  </a:lnTo>
                  <a:lnTo>
                    <a:pt x="200" y="172"/>
                  </a:lnTo>
                  <a:lnTo>
                    <a:pt x="196" y="172"/>
                  </a:lnTo>
                  <a:lnTo>
                    <a:pt x="196" y="172"/>
                  </a:lnTo>
                  <a:lnTo>
                    <a:pt x="194" y="172"/>
                  </a:lnTo>
                  <a:lnTo>
                    <a:pt x="193" y="172"/>
                  </a:lnTo>
                  <a:lnTo>
                    <a:pt x="191" y="172"/>
                  </a:lnTo>
                  <a:lnTo>
                    <a:pt x="189" y="172"/>
                  </a:lnTo>
                  <a:lnTo>
                    <a:pt x="188" y="172"/>
                  </a:lnTo>
                  <a:lnTo>
                    <a:pt x="186" y="172"/>
                  </a:lnTo>
                  <a:lnTo>
                    <a:pt x="186" y="174"/>
                  </a:lnTo>
                  <a:lnTo>
                    <a:pt x="184" y="174"/>
                  </a:lnTo>
                  <a:lnTo>
                    <a:pt x="182" y="174"/>
                  </a:lnTo>
                  <a:lnTo>
                    <a:pt x="182" y="176"/>
                  </a:lnTo>
                  <a:lnTo>
                    <a:pt x="181" y="176"/>
                  </a:lnTo>
                  <a:lnTo>
                    <a:pt x="181" y="176"/>
                  </a:lnTo>
                  <a:lnTo>
                    <a:pt x="181" y="178"/>
                  </a:lnTo>
                  <a:lnTo>
                    <a:pt x="179" y="178"/>
                  </a:lnTo>
                  <a:lnTo>
                    <a:pt x="179" y="179"/>
                  </a:lnTo>
                  <a:lnTo>
                    <a:pt x="177" y="181"/>
                  </a:lnTo>
                  <a:lnTo>
                    <a:pt x="175" y="183"/>
                  </a:lnTo>
                  <a:lnTo>
                    <a:pt x="175" y="184"/>
                  </a:lnTo>
                  <a:lnTo>
                    <a:pt x="174" y="186"/>
                  </a:lnTo>
                  <a:lnTo>
                    <a:pt x="174" y="188"/>
                  </a:lnTo>
                  <a:lnTo>
                    <a:pt x="174" y="190"/>
                  </a:lnTo>
                  <a:lnTo>
                    <a:pt x="172" y="193"/>
                  </a:lnTo>
                  <a:lnTo>
                    <a:pt x="172" y="197"/>
                  </a:lnTo>
                  <a:lnTo>
                    <a:pt x="170" y="198"/>
                  </a:lnTo>
                  <a:lnTo>
                    <a:pt x="170" y="200"/>
                  </a:lnTo>
                  <a:lnTo>
                    <a:pt x="169" y="202"/>
                  </a:lnTo>
                  <a:lnTo>
                    <a:pt x="169" y="203"/>
                  </a:lnTo>
                  <a:lnTo>
                    <a:pt x="167" y="205"/>
                  </a:lnTo>
                  <a:lnTo>
                    <a:pt x="165" y="207"/>
                  </a:lnTo>
                  <a:lnTo>
                    <a:pt x="165" y="209"/>
                  </a:lnTo>
                  <a:lnTo>
                    <a:pt x="163" y="210"/>
                  </a:lnTo>
                  <a:lnTo>
                    <a:pt x="162" y="212"/>
                  </a:lnTo>
                  <a:lnTo>
                    <a:pt x="157" y="217"/>
                  </a:lnTo>
                  <a:lnTo>
                    <a:pt x="157" y="219"/>
                  </a:lnTo>
                  <a:lnTo>
                    <a:pt x="151" y="221"/>
                  </a:lnTo>
                  <a:lnTo>
                    <a:pt x="151" y="221"/>
                  </a:lnTo>
                  <a:lnTo>
                    <a:pt x="150" y="222"/>
                  </a:lnTo>
                  <a:lnTo>
                    <a:pt x="148" y="226"/>
                  </a:lnTo>
                  <a:lnTo>
                    <a:pt x="146" y="227"/>
                  </a:lnTo>
                  <a:lnTo>
                    <a:pt x="145" y="229"/>
                  </a:lnTo>
                  <a:lnTo>
                    <a:pt x="143" y="229"/>
                  </a:lnTo>
                  <a:lnTo>
                    <a:pt x="139" y="229"/>
                  </a:lnTo>
                  <a:lnTo>
                    <a:pt x="139" y="227"/>
                  </a:lnTo>
                  <a:lnTo>
                    <a:pt x="138" y="226"/>
                  </a:lnTo>
                  <a:lnTo>
                    <a:pt x="138" y="224"/>
                  </a:lnTo>
                  <a:lnTo>
                    <a:pt x="138" y="222"/>
                  </a:lnTo>
                  <a:lnTo>
                    <a:pt x="136" y="221"/>
                  </a:lnTo>
                  <a:lnTo>
                    <a:pt x="134" y="219"/>
                  </a:lnTo>
                  <a:lnTo>
                    <a:pt x="132" y="209"/>
                  </a:lnTo>
                  <a:lnTo>
                    <a:pt x="131" y="207"/>
                  </a:lnTo>
                  <a:lnTo>
                    <a:pt x="131" y="205"/>
                  </a:lnTo>
                  <a:lnTo>
                    <a:pt x="126" y="202"/>
                  </a:lnTo>
                  <a:lnTo>
                    <a:pt x="122" y="202"/>
                  </a:lnTo>
                  <a:lnTo>
                    <a:pt x="120" y="203"/>
                  </a:lnTo>
                  <a:lnTo>
                    <a:pt x="119" y="203"/>
                  </a:lnTo>
                  <a:lnTo>
                    <a:pt x="119" y="205"/>
                  </a:lnTo>
                  <a:lnTo>
                    <a:pt x="120" y="212"/>
                  </a:lnTo>
                  <a:lnTo>
                    <a:pt x="120" y="214"/>
                  </a:lnTo>
                  <a:lnTo>
                    <a:pt x="122" y="217"/>
                  </a:lnTo>
                  <a:lnTo>
                    <a:pt x="122" y="219"/>
                  </a:lnTo>
                  <a:lnTo>
                    <a:pt x="122" y="222"/>
                  </a:lnTo>
                  <a:lnTo>
                    <a:pt x="122" y="224"/>
                  </a:lnTo>
                  <a:lnTo>
                    <a:pt x="120" y="226"/>
                  </a:lnTo>
                  <a:lnTo>
                    <a:pt x="120" y="227"/>
                  </a:lnTo>
                  <a:lnTo>
                    <a:pt x="119" y="229"/>
                  </a:lnTo>
                  <a:lnTo>
                    <a:pt x="119" y="231"/>
                  </a:lnTo>
                  <a:lnTo>
                    <a:pt x="115" y="233"/>
                  </a:lnTo>
                  <a:lnTo>
                    <a:pt x="112" y="236"/>
                  </a:lnTo>
                  <a:lnTo>
                    <a:pt x="110" y="238"/>
                  </a:lnTo>
                  <a:lnTo>
                    <a:pt x="108" y="241"/>
                  </a:lnTo>
                  <a:lnTo>
                    <a:pt x="107" y="243"/>
                  </a:lnTo>
                  <a:lnTo>
                    <a:pt x="105" y="246"/>
                  </a:lnTo>
                  <a:lnTo>
                    <a:pt x="100" y="252"/>
                  </a:lnTo>
                  <a:lnTo>
                    <a:pt x="98" y="252"/>
                  </a:lnTo>
                  <a:lnTo>
                    <a:pt x="93" y="253"/>
                  </a:lnTo>
                  <a:lnTo>
                    <a:pt x="89" y="257"/>
                  </a:lnTo>
                  <a:lnTo>
                    <a:pt x="89" y="258"/>
                  </a:lnTo>
                  <a:lnTo>
                    <a:pt x="86" y="260"/>
                  </a:lnTo>
                  <a:lnTo>
                    <a:pt x="84" y="257"/>
                  </a:lnTo>
                  <a:lnTo>
                    <a:pt x="83" y="257"/>
                  </a:lnTo>
                  <a:lnTo>
                    <a:pt x="81" y="252"/>
                  </a:lnTo>
                  <a:lnTo>
                    <a:pt x="77" y="246"/>
                  </a:lnTo>
                  <a:lnTo>
                    <a:pt x="74" y="243"/>
                  </a:lnTo>
                  <a:lnTo>
                    <a:pt x="72" y="240"/>
                  </a:lnTo>
                  <a:lnTo>
                    <a:pt x="69" y="236"/>
                  </a:lnTo>
                  <a:lnTo>
                    <a:pt x="65" y="236"/>
                  </a:lnTo>
                  <a:lnTo>
                    <a:pt x="64" y="236"/>
                  </a:lnTo>
                  <a:lnTo>
                    <a:pt x="60" y="236"/>
                  </a:lnTo>
                  <a:lnTo>
                    <a:pt x="57" y="236"/>
                  </a:lnTo>
                  <a:lnTo>
                    <a:pt x="53" y="236"/>
                  </a:lnTo>
                  <a:lnTo>
                    <a:pt x="50" y="236"/>
                  </a:lnTo>
                  <a:lnTo>
                    <a:pt x="48" y="236"/>
                  </a:lnTo>
                  <a:lnTo>
                    <a:pt x="45" y="238"/>
                  </a:lnTo>
                  <a:lnTo>
                    <a:pt x="43" y="238"/>
                  </a:lnTo>
                  <a:lnTo>
                    <a:pt x="43" y="240"/>
                  </a:lnTo>
                  <a:lnTo>
                    <a:pt x="40" y="241"/>
                  </a:lnTo>
                  <a:lnTo>
                    <a:pt x="34" y="248"/>
                  </a:lnTo>
                  <a:lnTo>
                    <a:pt x="31" y="252"/>
                  </a:lnTo>
                  <a:lnTo>
                    <a:pt x="24" y="255"/>
                  </a:lnTo>
                  <a:lnTo>
                    <a:pt x="24" y="257"/>
                  </a:lnTo>
                  <a:lnTo>
                    <a:pt x="16" y="260"/>
                  </a:lnTo>
                  <a:lnTo>
                    <a:pt x="14" y="262"/>
                  </a:lnTo>
                  <a:lnTo>
                    <a:pt x="10" y="264"/>
                  </a:lnTo>
                  <a:lnTo>
                    <a:pt x="9" y="265"/>
                  </a:lnTo>
                  <a:lnTo>
                    <a:pt x="3" y="267"/>
                  </a:lnTo>
                  <a:lnTo>
                    <a:pt x="0" y="265"/>
                  </a:lnTo>
                  <a:lnTo>
                    <a:pt x="0" y="264"/>
                  </a:lnTo>
                  <a:lnTo>
                    <a:pt x="0" y="262"/>
                  </a:lnTo>
                  <a:lnTo>
                    <a:pt x="0" y="258"/>
                  </a:lnTo>
                  <a:lnTo>
                    <a:pt x="0" y="257"/>
                  </a:lnTo>
                  <a:lnTo>
                    <a:pt x="2" y="252"/>
                  </a:lnTo>
                  <a:lnTo>
                    <a:pt x="7" y="246"/>
                  </a:lnTo>
                  <a:lnTo>
                    <a:pt x="10" y="243"/>
                  </a:lnTo>
                  <a:lnTo>
                    <a:pt x="9" y="233"/>
                  </a:lnTo>
                  <a:lnTo>
                    <a:pt x="5" y="229"/>
                  </a:lnTo>
                  <a:lnTo>
                    <a:pt x="2" y="227"/>
                  </a:lnTo>
                  <a:lnTo>
                    <a:pt x="2" y="226"/>
                  </a:lnTo>
                  <a:lnTo>
                    <a:pt x="2" y="224"/>
                  </a:lnTo>
                  <a:lnTo>
                    <a:pt x="2" y="222"/>
                  </a:lnTo>
                  <a:lnTo>
                    <a:pt x="2" y="221"/>
                  </a:lnTo>
                  <a:lnTo>
                    <a:pt x="2" y="219"/>
                  </a:lnTo>
                  <a:lnTo>
                    <a:pt x="2" y="217"/>
                  </a:lnTo>
                  <a:lnTo>
                    <a:pt x="2" y="214"/>
                  </a:lnTo>
                  <a:lnTo>
                    <a:pt x="2" y="210"/>
                  </a:lnTo>
                  <a:lnTo>
                    <a:pt x="2" y="209"/>
                  </a:lnTo>
                  <a:lnTo>
                    <a:pt x="2" y="207"/>
                  </a:lnTo>
                  <a:lnTo>
                    <a:pt x="3" y="207"/>
                  </a:lnTo>
                  <a:lnTo>
                    <a:pt x="3" y="207"/>
                  </a:lnTo>
                  <a:lnTo>
                    <a:pt x="2" y="207"/>
                  </a:lnTo>
                  <a:lnTo>
                    <a:pt x="3" y="205"/>
                  </a:lnTo>
                  <a:lnTo>
                    <a:pt x="3" y="203"/>
                  </a:lnTo>
                  <a:lnTo>
                    <a:pt x="3" y="200"/>
                  </a:lnTo>
                  <a:lnTo>
                    <a:pt x="3" y="195"/>
                  </a:lnTo>
                  <a:lnTo>
                    <a:pt x="3" y="191"/>
                  </a:lnTo>
                  <a:lnTo>
                    <a:pt x="3" y="190"/>
                  </a:lnTo>
                  <a:lnTo>
                    <a:pt x="3" y="188"/>
                  </a:lnTo>
                  <a:lnTo>
                    <a:pt x="3" y="186"/>
                  </a:lnTo>
                  <a:lnTo>
                    <a:pt x="3" y="184"/>
                  </a:lnTo>
                  <a:lnTo>
                    <a:pt x="3" y="183"/>
                  </a:lnTo>
                  <a:lnTo>
                    <a:pt x="3" y="178"/>
                  </a:lnTo>
                  <a:lnTo>
                    <a:pt x="3" y="174"/>
                  </a:lnTo>
                  <a:lnTo>
                    <a:pt x="3" y="172"/>
                  </a:lnTo>
                  <a:lnTo>
                    <a:pt x="3" y="169"/>
                  </a:lnTo>
                  <a:lnTo>
                    <a:pt x="3" y="167"/>
                  </a:lnTo>
                  <a:lnTo>
                    <a:pt x="3" y="166"/>
                  </a:lnTo>
                  <a:lnTo>
                    <a:pt x="3" y="164"/>
                  </a:lnTo>
                  <a:lnTo>
                    <a:pt x="3" y="162"/>
                  </a:lnTo>
                  <a:lnTo>
                    <a:pt x="3" y="160"/>
                  </a:lnTo>
                  <a:lnTo>
                    <a:pt x="3" y="152"/>
                  </a:lnTo>
                  <a:lnTo>
                    <a:pt x="3" y="150"/>
                  </a:lnTo>
                  <a:lnTo>
                    <a:pt x="5" y="145"/>
                  </a:lnTo>
                  <a:lnTo>
                    <a:pt x="5" y="128"/>
                  </a:lnTo>
                  <a:lnTo>
                    <a:pt x="5" y="126"/>
                  </a:lnTo>
                  <a:lnTo>
                    <a:pt x="5" y="123"/>
                  </a:lnTo>
                  <a:lnTo>
                    <a:pt x="5" y="121"/>
                  </a:lnTo>
                  <a:lnTo>
                    <a:pt x="5" y="117"/>
                  </a:lnTo>
                  <a:lnTo>
                    <a:pt x="5" y="116"/>
                  </a:lnTo>
                  <a:lnTo>
                    <a:pt x="5" y="116"/>
                  </a:lnTo>
                  <a:lnTo>
                    <a:pt x="5" y="114"/>
                  </a:lnTo>
                  <a:lnTo>
                    <a:pt x="5" y="112"/>
                  </a:lnTo>
                  <a:lnTo>
                    <a:pt x="5" y="100"/>
                  </a:lnTo>
                  <a:lnTo>
                    <a:pt x="5" y="95"/>
                  </a:lnTo>
                  <a:lnTo>
                    <a:pt x="5" y="92"/>
                  </a:lnTo>
                  <a:lnTo>
                    <a:pt x="5" y="88"/>
                  </a:lnTo>
                  <a:lnTo>
                    <a:pt x="5" y="85"/>
                  </a:lnTo>
                  <a:lnTo>
                    <a:pt x="5" y="78"/>
                  </a:lnTo>
                  <a:lnTo>
                    <a:pt x="5" y="71"/>
                  </a:lnTo>
                  <a:lnTo>
                    <a:pt x="5" y="71"/>
                  </a:lnTo>
                  <a:lnTo>
                    <a:pt x="5" y="69"/>
                  </a:lnTo>
                  <a:lnTo>
                    <a:pt x="5" y="66"/>
                  </a:lnTo>
                  <a:lnTo>
                    <a:pt x="5" y="62"/>
                  </a:lnTo>
                  <a:lnTo>
                    <a:pt x="5" y="61"/>
                  </a:lnTo>
                  <a:lnTo>
                    <a:pt x="5" y="55"/>
                  </a:lnTo>
                  <a:lnTo>
                    <a:pt x="5" y="54"/>
                  </a:lnTo>
                  <a:lnTo>
                    <a:pt x="5" y="50"/>
                  </a:lnTo>
                  <a:lnTo>
                    <a:pt x="5" y="47"/>
                  </a:lnTo>
                  <a:lnTo>
                    <a:pt x="7" y="40"/>
                  </a:lnTo>
                  <a:lnTo>
                    <a:pt x="7" y="38"/>
                  </a:lnTo>
                  <a:lnTo>
                    <a:pt x="7" y="30"/>
                  </a:lnTo>
                  <a:lnTo>
                    <a:pt x="7" y="28"/>
                  </a:lnTo>
                  <a:lnTo>
                    <a:pt x="7" y="26"/>
                  </a:lnTo>
                  <a:lnTo>
                    <a:pt x="7" y="24"/>
                  </a:lnTo>
                  <a:lnTo>
                    <a:pt x="7" y="19"/>
                  </a:lnTo>
                  <a:lnTo>
                    <a:pt x="7" y="18"/>
                  </a:lnTo>
                  <a:lnTo>
                    <a:pt x="7" y="11"/>
                  </a:lnTo>
                  <a:lnTo>
                    <a:pt x="7" y="11"/>
                  </a:lnTo>
                  <a:lnTo>
                    <a:pt x="7" y="6"/>
                  </a:lnTo>
                  <a:lnTo>
                    <a:pt x="7" y="4"/>
                  </a:lnTo>
                  <a:lnTo>
                    <a:pt x="7"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4" name="Freeform 211"/>
            <p:cNvSpPr>
              <a:spLocks/>
            </p:cNvSpPr>
            <p:nvPr/>
          </p:nvSpPr>
          <p:spPr bwMode="auto">
            <a:xfrm>
              <a:off x="4087108" y="4189206"/>
              <a:ext cx="452438" cy="401638"/>
            </a:xfrm>
            <a:custGeom>
              <a:avLst/>
              <a:gdLst/>
              <a:ahLst/>
              <a:cxnLst>
                <a:cxn ang="0">
                  <a:pos x="273" y="74"/>
                </a:cxn>
                <a:cxn ang="0">
                  <a:pos x="273" y="95"/>
                </a:cxn>
                <a:cxn ang="0">
                  <a:pos x="272" y="119"/>
                </a:cxn>
                <a:cxn ang="0">
                  <a:pos x="282" y="122"/>
                </a:cxn>
                <a:cxn ang="0">
                  <a:pos x="285" y="131"/>
                </a:cxn>
                <a:cxn ang="0">
                  <a:pos x="284" y="162"/>
                </a:cxn>
                <a:cxn ang="0">
                  <a:pos x="284" y="176"/>
                </a:cxn>
                <a:cxn ang="0">
                  <a:pos x="284" y="198"/>
                </a:cxn>
                <a:cxn ang="0">
                  <a:pos x="284" y="220"/>
                </a:cxn>
                <a:cxn ang="0">
                  <a:pos x="282" y="232"/>
                </a:cxn>
                <a:cxn ang="0">
                  <a:pos x="282" y="241"/>
                </a:cxn>
                <a:cxn ang="0">
                  <a:pos x="275" y="253"/>
                </a:cxn>
                <a:cxn ang="0">
                  <a:pos x="256" y="253"/>
                </a:cxn>
                <a:cxn ang="0">
                  <a:pos x="237" y="253"/>
                </a:cxn>
                <a:cxn ang="0">
                  <a:pos x="223" y="251"/>
                </a:cxn>
                <a:cxn ang="0">
                  <a:pos x="208" y="251"/>
                </a:cxn>
                <a:cxn ang="0">
                  <a:pos x="182" y="250"/>
                </a:cxn>
                <a:cxn ang="0">
                  <a:pos x="158" y="248"/>
                </a:cxn>
                <a:cxn ang="0">
                  <a:pos x="134" y="248"/>
                </a:cxn>
                <a:cxn ang="0">
                  <a:pos x="103" y="246"/>
                </a:cxn>
                <a:cxn ang="0">
                  <a:pos x="77" y="246"/>
                </a:cxn>
                <a:cxn ang="0">
                  <a:pos x="57" y="246"/>
                </a:cxn>
                <a:cxn ang="0">
                  <a:pos x="19" y="244"/>
                </a:cxn>
                <a:cxn ang="0">
                  <a:pos x="0" y="243"/>
                </a:cxn>
                <a:cxn ang="0">
                  <a:pos x="1" y="207"/>
                </a:cxn>
                <a:cxn ang="0">
                  <a:pos x="1" y="188"/>
                </a:cxn>
                <a:cxn ang="0">
                  <a:pos x="3" y="169"/>
                </a:cxn>
                <a:cxn ang="0">
                  <a:pos x="3" y="157"/>
                </a:cxn>
                <a:cxn ang="0">
                  <a:pos x="5" y="133"/>
                </a:cxn>
                <a:cxn ang="0">
                  <a:pos x="5" y="115"/>
                </a:cxn>
                <a:cxn ang="0">
                  <a:pos x="3" y="105"/>
                </a:cxn>
                <a:cxn ang="0">
                  <a:pos x="5" y="83"/>
                </a:cxn>
                <a:cxn ang="0">
                  <a:pos x="5" y="69"/>
                </a:cxn>
                <a:cxn ang="0">
                  <a:pos x="5" y="60"/>
                </a:cxn>
                <a:cxn ang="0">
                  <a:pos x="7" y="45"/>
                </a:cxn>
                <a:cxn ang="0">
                  <a:pos x="7" y="28"/>
                </a:cxn>
                <a:cxn ang="0">
                  <a:pos x="8" y="19"/>
                </a:cxn>
                <a:cxn ang="0">
                  <a:pos x="10" y="0"/>
                </a:cxn>
                <a:cxn ang="0">
                  <a:pos x="24" y="0"/>
                </a:cxn>
                <a:cxn ang="0">
                  <a:pos x="48" y="0"/>
                </a:cxn>
                <a:cxn ang="0">
                  <a:pos x="72" y="2"/>
                </a:cxn>
                <a:cxn ang="0">
                  <a:pos x="89" y="2"/>
                </a:cxn>
                <a:cxn ang="0">
                  <a:pos x="108" y="4"/>
                </a:cxn>
                <a:cxn ang="0">
                  <a:pos x="122" y="4"/>
                </a:cxn>
                <a:cxn ang="0">
                  <a:pos x="148" y="5"/>
                </a:cxn>
                <a:cxn ang="0">
                  <a:pos x="165" y="11"/>
                </a:cxn>
                <a:cxn ang="0">
                  <a:pos x="163" y="40"/>
                </a:cxn>
                <a:cxn ang="0">
                  <a:pos x="167" y="52"/>
                </a:cxn>
                <a:cxn ang="0">
                  <a:pos x="177" y="52"/>
                </a:cxn>
                <a:cxn ang="0">
                  <a:pos x="194" y="54"/>
                </a:cxn>
                <a:cxn ang="0">
                  <a:pos x="208" y="54"/>
                </a:cxn>
                <a:cxn ang="0">
                  <a:pos x="235" y="55"/>
                </a:cxn>
                <a:cxn ang="0">
                  <a:pos x="249" y="55"/>
                </a:cxn>
                <a:cxn ang="0">
                  <a:pos x="261" y="55"/>
                </a:cxn>
              </a:cxnLst>
              <a:rect l="0" t="0" r="r" b="b"/>
              <a:pathLst>
                <a:path w="285" h="253">
                  <a:moveTo>
                    <a:pt x="275" y="57"/>
                  </a:moveTo>
                  <a:lnTo>
                    <a:pt x="275" y="60"/>
                  </a:lnTo>
                  <a:lnTo>
                    <a:pt x="275" y="60"/>
                  </a:lnTo>
                  <a:lnTo>
                    <a:pt x="273" y="67"/>
                  </a:lnTo>
                  <a:lnTo>
                    <a:pt x="273" y="74"/>
                  </a:lnTo>
                  <a:lnTo>
                    <a:pt x="273" y="74"/>
                  </a:lnTo>
                  <a:lnTo>
                    <a:pt x="273" y="81"/>
                  </a:lnTo>
                  <a:lnTo>
                    <a:pt x="273" y="90"/>
                  </a:lnTo>
                  <a:lnTo>
                    <a:pt x="273" y="93"/>
                  </a:lnTo>
                  <a:lnTo>
                    <a:pt x="273" y="95"/>
                  </a:lnTo>
                  <a:lnTo>
                    <a:pt x="273" y="98"/>
                  </a:lnTo>
                  <a:lnTo>
                    <a:pt x="272" y="103"/>
                  </a:lnTo>
                  <a:lnTo>
                    <a:pt x="272" y="112"/>
                  </a:lnTo>
                  <a:lnTo>
                    <a:pt x="272" y="117"/>
                  </a:lnTo>
                  <a:lnTo>
                    <a:pt x="272" y="119"/>
                  </a:lnTo>
                  <a:lnTo>
                    <a:pt x="272" y="122"/>
                  </a:lnTo>
                  <a:lnTo>
                    <a:pt x="277" y="122"/>
                  </a:lnTo>
                  <a:lnTo>
                    <a:pt x="278" y="122"/>
                  </a:lnTo>
                  <a:lnTo>
                    <a:pt x="280" y="122"/>
                  </a:lnTo>
                  <a:lnTo>
                    <a:pt x="282" y="122"/>
                  </a:lnTo>
                  <a:lnTo>
                    <a:pt x="284" y="122"/>
                  </a:lnTo>
                  <a:lnTo>
                    <a:pt x="285" y="122"/>
                  </a:lnTo>
                  <a:lnTo>
                    <a:pt x="285" y="128"/>
                  </a:lnTo>
                  <a:lnTo>
                    <a:pt x="285" y="129"/>
                  </a:lnTo>
                  <a:lnTo>
                    <a:pt x="285" y="131"/>
                  </a:lnTo>
                  <a:lnTo>
                    <a:pt x="285" y="138"/>
                  </a:lnTo>
                  <a:lnTo>
                    <a:pt x="285" y="140"/>
                  </a:lnTo>
                  <a:lnTo>
                    <a:pt x="284" y="150"/>
                  </a:lnTo>
                  <a:lnTo>
                    <a:pt x="284" y="158"/>
                  </a:lnTo>
                  <a:lnTo>
                    <a:pt x="284" y="162"/>
                  </a:lnTo>
                  <a:lnTo>
                    <a:pt x="284" y="165"/>
                  </a:lnTo>
                  <a:lnTo>
                    <a:pt x="284" y="165"/>
                  </a:lnTo>
                  <a:lnTo>
                    <a:pt x="284" y="169"/>
                  </a:lnTo>
                  <a:lnTo>
                    <a:pt x="284" y="171"/>
                  </a:lnTo>
                  <a:lnTo>
                    <a:pt x="284" y="176"/>
                  </a:lnTo>
                  <a:lnTo>
                    <a:pt x="284" y="181"/>
                  </a:lnTo>
                  <a:lnTo>
                    <a:pt x="284" y="188"/>
                  </a:lnTo>
                  <a:lnTo>
                    <a:pt x="284" y="196"/>
                  </a:lnTo>
                  <a:lnTo>
                    <a:pt x="284" y="196"/>
                  </a:lnTo>
                  <a:lnTo>
                    <a:pt x="284" y="198"/>
                  </a:lnTo>
                  <a:lnTo>
                    <a:pt x="284" y="203"/>
                  </a:lnTo>
                  <a:lnTo>
                    <a:pt x="284" y="210"/>
                  </a:lnTo>
                  <a:lnTo>
                    <a:pt x="284" y="212"/>
                  </a:lnTo>
                  <a:lnTo>
                    <a:pt x="284" y="215"/>
                  </a:lnTo>
                  <a:lnTo>
                    <a:pt x="284" y="220"/>
                  </a:lnTo>
                  <a:lnTo>
                    <a:pt x="282" y="226"/>
                  </a:lnTo>
                  <a:lnTo>
                    <a:pt x="282" y="226"/>
                  </a:lnTo>
                  <a:lnTo>
                    <a:pt x="282" y="227"/>
                  </a:lnTo>
                  <a:lnTo>
                    <a:pt x="282" y="231"/>
                  </a:lnTo>
                  <a:lnTo>
                    <a:pt x="282" y="232"/>
                  </a:lnTo>
                  <a:lnTo>
                    <a:pt x="282" y="234"/>
                  </a:lnTo>
                  <a:lnTo>
                    <a:pt x="282" y="236"/>
                  </a:lnTo>
                  <a:lnTo>
                    <a:pt x="282" y="238"/>
                  </a:lnTo>
                  <a:lnTo>
                    <a:pt x="282" y="239"/>
                  </a:lnTo>
                  <a:lnTo>
                    <a:pt x="282" y="241"/>
                  </a:lnTo>
                  <a:lnTo>
                    <a:pt x="282" y="248"/>
                  </a:lnTo>
                  <a:lnTo>
                    <a:pt x="282" y="251"/>
                  </a:lnTo>
                  <a:lnTo>
                    <a:pt x="282" y="253"/>
                  </a:lnTo>
                  <a:lnTo>
                    <a:pt x="278" y="253"/>
                  </a:lnTo>
                  <a:lnTo>
                    <a:pt x="275" y="253"/>
                  </a:lnTo>
                  <a:lnTo>
                    <a:pt x="268" y="253"/>
                  </a:lnTo>
                  <a:lnTo>
                    <a:pt x="266" y="253"/>
                  </a:lnTo>
                  <a:lnTo>
                    <a:pt x="263" y="253"/>
                  </a:lnTo>
                  <a:lnTo>
                    <a:pt x="259" y="253"/>
                  </a:lnTo>
                  <a:lnTo>
                    <a:pt x="256" y="253"/>
                  </a:lnTo>
                  <a:lnTo>
                    <a:pt x="251" y="253"/>
                  </a:lnTo>
                  <a:lnTo>
                    <a:pt x="249" y="253"/>
                  </a:lnTo>
                  <a:lnTo>
                    <a:pt x="247" y="253"/>
                  </a:lnTo>
                  <a:lnTo>
                    <a:pt x="246" y="253"/>
                  </a:lnTo>
                  <a:lnTo>
                    <a:pt x="237" y="253"/>
                  </a:lnTo>
                  <a:lnTo>
                    <a:pt x="234" y="251"/>
                  </a:lnTo>
                  <a:lnTo>
                    <a:pt x="230" y="251"/>
                  </a:lnTo>
                  <a:lnTo>
                    <a:pt x="229" y="251"/>
                  </a:lnTo>
                  <a:lnTo>
                    <a:pt x="225" y="251"/>
                  </a:lnTo>
                  <a:lnTo>
                    <a:pt x="223" y="251"/>
                  </a:lnTo>
                  <a:lnTo>
                    <a:pt x="222" y="251"/>
                  </a:lnTo>
                  <a:lnTo>
                    <a:pt x="215" y="251"/>
                  </a:lnTo>
                  <a:lnTo>
                    <a:pt x="211" y="251"/>
                  </a:lnTo>
                  <a:lnTo>
                    <a:pt x="210" y="251"/>
                  </a:lnTo>
                  <a:lnTo>
                    <a:pt x="208" y="251"/>
                  </a:lnTo>
                  <a:lnTo>
                    <a:pt x="199" y="250"/>
                  </a:lnTo>
                  <a:lnTo>
                    <a:pt x="192" y="250"/>
                  </a:lnTo>
                  <a:lnTo>
                    <a:pt x="191" y="250"/>
                  </a:lnTo>
                  <a:lnTo>
                    <a:pt x="184" y="250"/>
                  </a:lnTo>
                  <a:lnTo>
                    <a:pt x="182" y="250"/>
                  </a:lnTo>
                  <a:lnTo>
                    <a:pt x="179" y="250"/>
                  </a:lnTo>
                  <a:lnTo>
                    <a:pt x="172" y="250"/>
                  </a:lnTo>
                  <a:lnTo>
                    <a:pt x="170" y="250"/>
                  </a:lnTo>
                  <a:lnTo>
                    <a:pt x="168" y="250"/>
                  </a:lnTo>
                  <a:lnTo>
                    <a:pt x="158" y="248"/>
                  </a:lnTo>
                  <a:lnTo>
                    <a:pt x="151" y="248"/>
                  </a:lnTo>
                  <a:lnTo>
                    <a:pt x="146" y="248"/>
                  </a:lnTo>
                  <a:lnTo>
                    <a:pt x="143" y="248"/>
                  </a:lnTo>
                  <a:lnTo>
                    <a:pt x="137" y="248"/>
                  </a:lnTo>
                  <a:lnTo>
                    <a:pt x="134" y="248"/>
                  </a:lnTo>
                  <a:lnTo>
                    <a:pt x="124" y="248"/>
                  </a:lnTo>
                  <a:lnTo>
                    <a:pt x="122" y="248"/>
                  </a:lnTo>
                  <a:lnTo>
                    <a:pt x="118" y="248"/>
                  </a:lnTo>
                  <a:lnTo>
                    <a:pt x="112" y="248"/>
                  </a:lnTo>
                  <a:lnTo>
                    <a:pt x="103" y="246"/>
                  </a:lnTo>
                  <a:lnTo>
                    <a:pt x="94" y="246"/>
                  </a:lnTo>
                  <a:lnTo>
                    <a:pt x="93" y="246"/>
                  </a:lnTo>
                  <a:lnTo>
                    <a:pt x="81" y="246"/>
                  </a:lnTo>
                  <a:lnTo>
                    <a:pt x="79" y="246"/>
                  </a:lnTo>
                  <a:lnTo>
                    <a:pt x="77" y="246"/>
                  </a:lnTo>
                  <a:lnTo>
                    <a:pt x="75" y="246"/>
                  </a:lnTo>
                  <a:lnTo>
                    <a:pt x="74" y="246"/>
                  </a:lnTo>
                  <a:lnTo>
                    <a:pt x="67" y="246"/>
                  </a:lnTo>
                  <a:lnTo>
                    <a:pt x="63" y="246"/>
                  </a:lnTo>
                  <a:lnTo>
                    <a:pt x="57" y="246"/>
                  </a:lnTo>
                  <a:lnTo>
                    <a:pt x="46" y="246"/>
                  </a:lnTo>
                  <a:lnTo>
                    <a:pt x="39" y="244"/>
                  </a:lnTo>
                  <a:lnTo>
                    <a:pt x="27" y="244"/>
                  </a:lnTo>
                  <a:lnTo>
                    <a:pt x="22" y="244"/>
                  </a:lnTo>
                  <a:lnTo>
                    <a:pt x="19" y="244"/>
                  </a:lnTo>
                  <a:lnTo>
                    <a:pt x="14" y="244"/>
                  </a:lnTo>
                  <a:lnTo>
                    <a:pt x="12" y="244"/>
                  </a:lnTo>
                  <a:lnTo>
                    <a:pt x="10" y="244"/>
                  </a:lnTo>
                  <a:lnTo>
                    <a:pt x="7" y="244"/>
                  </a:lnTo>
                  <a:lnTo>
                    <a:pt x="0" y="243"/>
                  </a:lnTo>
                  <a:lnTo>
                    <a:pt x="0" y="241"/>
                  </a:lnTo>
                  <a:lnTo>
                    <a:pt x="0" y="234"/>
                  </a:lnTo>
                  <a:lnTo>
                    <a:pt x="0" y="219"/>
                  </a:lnTo>
                  <a:lnTo>
                    <a:pt x="1" y="210"/>
                  </a:lnTo>
                  <a:lnTo>
                    <a:pt x="1" y="207"/>
                  </a:lnTo>
                  <a:lnTo>
                    <a:pt x="1" y="205"/>
                  </a:lnTo>
                  <a:lnTo>
                    <a:pt x="1" y="200"/>
                  </a:lnTo>
                  <a:lnTo>
                    <a:pt x="1" y="196"/>
                  </a:lnTo>
                  <a:lnTo>
                    <a:pt x="1" y="193"/>
                  </a:lnTo>
                  <a:lnTo>
                    <a:pt x="1" y="188"/>
                  </a:lnTo>
                  <a:lnTo>
                    <a:pt x="1" y="186"/>
                  </a:lnTo>
                  <a:lnTo>
                    <a:pt x="3" y="177"/>
                  </a:lnTo>
                  <a:lnTo>
                    <a:pt x="3" y="174"/>
                  </a:lnTo>
                  <a:lnTo>
                    <a:pt x="3" y="171"/>
                  </a:lnTo>
                  <a:lnTo>
                    <a:pt x="3" y="169"/>
                  </a:lnTo>
                  <a:lnTo>
                    <a:pt x="3" y="165"/>
                  </a:lnTo>
                  <a:lnTo>
                    <a:pt x="3" y="164"/>
                  </a:lnTo>
                  <a:lnTo>
                    <a:pt x="3" y="160"/>
                  </a:lnTo>
                  <a:lnTo>
                    <a:pt x="3" y="158"/>
                  </a:lnTo>
                  <a:lnTo>
                    <a:pt x="3" y="157"/>
                  </a:lnTo>
                  <a:lnTo>
                    <a:pt x="3" y="152"/>
                  </a:lnTo>
                  <a:lnTo>
                    <a:pt x="3" y="150"/>
                  </a:lnTo>
                  <a:lnTo>
                    <a:pt x="3" y="150"/>
                  </a:lnTo>
                  <a:lnTo>
                    <a:pt x="5" y="143"/>
                  </a:lnTo>
                  <a:lnTo>
                    <a:pt x="5" y="133"/>
                  </a:lnTo>
                  <a:lnTo>
                    <a:pt x="5" y="131"/>
                  </a:lnTo>
                  <a:lnTo>
                    <a:pt x="5" y="129"/>
                  </a:lnTo>
                  <a:lnTo>
                    <a:pt x="5" y="128"/>
                  </a:lnTo>
                  <a:lnTo>
                    <a:pt x="5" y="121"/>
                  </a:lnTo>
                  <a:lnTo>
                    <a:pt x="5" y="115"/>
                  </a:lnTo>
                  <a:lnTo>
                    <a:pt x="5" y="114"/>
                  </a:lnTo>
                  <a:lnTo>
                    <a:pt x="7" y="110"/>
                  </a:lnTo>
                  <a:lnTo>
                    <a:pt x="3" y="110"/>
                  </a:lnTo>
                  <a:lnTo>
                    <a:pt x="3" y="105"/>
                  </a:lnTo>
                  <a:lnTo>
                    <a:pt x="3" y="105"/>
                  </a:lnTo>
                  <a:lnTo>
                    <a:pt x="3" y="102"/>
                  </a:lnTo>
                  <a:lnTo>
                    <a:pt x="3" y="100"/>
                  </a:lnTo>
                  <a:lnTo>
                    <a:pt x="3" y="93"/>
                  </a:lnTo>
                  <a:lnTo>
                    <a:pt x="3" y="88"/>
                  </a:lnTo>
                  <a:lnTo>
                    <a:pt x="5" y="83"/>
                  </a:lnTo>
                  <a:lnTo>
                    <a:pt x="5" y="76"/>
                  </a:lnTo>
                  <a:lnTo>
                    <a:pt x="5" y="74"/>
                  </a:lnTo>
                  <a:lnTo>
                    <a:pt x="5" y="72"/>
                  </a:lnTo>
                  <a:lnTo>
                    <a:pt x="5" y="71"/>
                  </a:lnTo>
                  <a:lnTo>
                    <a:pt x="5" y="69"/>
                  </a:lnTo>
                  <a:lnTo>
                    <a:pt x="5" y="67"/>
                  </a:lnTo>
                  <a:lnTo>
                    <a:pt x="5" y="64"/>
                  </a:lnTo>
                  <a:lnTo>
                    <a:pt x="5" y="62"/>
                  </a:lnTo>
                  <a:lnTo>
                    <a:pt x="5" y="60"/>
                  </a:lnTo>
                  <a:lnTo>
                    <a:pt x="5" y="60"/>
                  </a:lnTo>
                  <a:lnTo>
                    <a:pt x="7" y="55"/>
                  </a:lnTo>
                  <a:lnTo>
                    <a:pt x="7" y="54"/>
                  </a:lnTo>
                  <a:lnTo>
                    <a:pt x="7" y="52"/>
                  </a:lnTo>
                  <a:lnTo>
                    <a:pt x="7" y="48"/>
                  </a:lnTo>
                  <a:lnTo>
                    <a:pt x="7" y="45"/>
                  </a:lnTo>
                  <a:lnTo>
                    <a:pt x="7" y="38"/>
                  </a:lnTo>
                  <a:lnTo>
                    <a:pt x="7" y="35"/>
                  </a:lnTo>
                  <a:lnTo>
                    <a:pt x="7" y="31"/>
                  </a:lnTo>
                  <a:lnTo>
                    <a:pt x="7" y="29"/>
                  </a:lnTo>
                  <a:lnTo>
                    <a:pt x="7" y="28"/>
                  </a:lnTo>
                  <a:lnTo>
                    <a:pt x="7" y="26"/>
                  </a:lnTo>
                  <a:lnTo>
                    <a:pt x="8" y="24"/>
                  </a:lnTo>
                  <a:lnTo>
                    <a:pt x="8" y="23"/>
                  </a:lnTo>
                  <a:lnTo>
                    <a:pt x="8" y="21"/>
                  </a:lnTo>
                  <a:lnTo>
                    <a:pt x="8" y="19"/>
                  </a:lnTo>
                  <a:lnTo>
                    <a:pt x="8" y="17"/>
                  </a:lnTo>
                  <a:lnTo>
                    <a:pt x="8" y="14"/>
                  </a:lnTo>
                  <a:lnTo>
                    <a:pt x="8" y="11"/>
                  </a:lnTo>
                  <a:lnTo>
                    <a:pt x="8" y="9"/>
                  </a:lnTo>
                  <a:lnTo>
                    <a:pt x="10" y="0"/>
                  </a:lnTo>
                  <a:lnTo>
                    <a:pt x="14" y="0"/>
                  </a:lnTo>
                  <a:lnTo>
                    <a:pt x="14" y="0"/>
                  </a:lnTo>
                  <a:lnTo>
                    <a:pt x="15" y="0"/>
                  </a:lnTo>
                  <a:lnTo>
                    <a:pt x="17" y="0"/>
                  </a:lnTo>
                  <a:lnTo>
                    <a:pt x="24" y="0"/>
                  </a:lnTo>
                  <a:lnTo>
                    <a:pt x="31" y="0"/>
                  </a:lnTo>
                  <a:lnTo>
                    <a:pt x="38" y="0"/>
                  </a:lnTo>
                  <a:lnTo>
                    <a:pt x="41" y="0"/>
                  </a:lnTo>
                  <a:lnTo>
                    <a:pt x="43" y="0"/>
                  </a:lnTo>
                  <a:lnTo>
                    <a:pt x="48" y="0"/>
                  </a:lnTo>
                  <a:lnTo>
                    <a:pt x="53" y="0"/>
                  </a:lnTo>
                  <a:lnTo>
                    <a:pt x="55" y="0"/>
                  </a:lnTo>
                  <a:lnTo>
                    <a:pt x="63" y="2"/>
                  </a:lnTo>
                  <a:lnTo>
                    <a:pt x="65" y="2"/>
                  </a:lnTo>
                  <a:lnTo>
                    <a:pt x="72" y="2"/>
                  </a:lnTo>
                  <a:lnTo>
                    <a:pt x="75" y="2"/>
                  </a:lnTo>
                  <a:lnTo>
                    <a:pt x="77" y="2"/>
                  </a:lnTo>
                  <a:lnTo>
                    <a:pt x="84" y="2"/>
                  </a:lnTo>
                  <a:lnTo>
                    <a:pt x="87" y="2"/>
                  </a:lnTo>
                  <a:lnTo>
                    <a:pt x="89" y="2"/>
                  </a:lnTo>
                  <a:lnTo>
                    <a:pt x="98" y="4"/>
                  </a:lnTo>
                  <a:lnTo>
                    <a:pt x="100" y="4"/>
                  </a:lnTo>
                  <a:lnTo>
                    <a:pt x="101" y="4"/>
                  </a:lnTo>
                  <a:lnTo>
                    <a:pt x="103" y="4"/>
                  </a:lnTo>
                  <a:lnTo>
                    <a:pt x="108" y="4"/>
                  </a:lnTo>
                  <a:lnTo>
                    <a:pt x="110" y="4"/>
                  </a:lnTo>
                  <a:lnTo>
                    <a:pt x="113" y="4"/>
                  </a:lnTo>
                  <a:lnTo>
                    <a:pt x="118" y="4"/>
                  </a:lnTo>
                  <a:lnTo>
                    <a:pt x="120" y="4"/>
                  </a:lnTo>
                  <a:lnTo>
                    <a:pt x="122" y="4"/>
                  </a:lnTo>
                  <a:lnTo>
                    <a:pt x="124" y="4"/>
                  </a:lnTo>
                  <a:lnTo>
                    <a:pt x="125" y="4"/>
                  </a:lnTo>
                  <a:lnTo>
                    <a:pt x="130" y="5"/>
                  </a:lnTo>
                  <a:lnTo>
                    <a:pt x="132" y="5"/>
                  </a:lnTo>
                  <a:lnTo>
                    <a:pt x="148" y="5"/>
                  </a:lnTo>
                  <a:lnTo>
                    <a:pt x="160" y="7"/>
                  </a:lnTo>
                  <a:lnTo>
                    <a:pt x="163" y="7"/>
                  </a:lnTo>
                  <a:lnTo>
                    <a:pt x="163" y="7"/>
                  </a:lnTo>
                  <a:lnTo>
                    <a:pt x="165" y="7"/>
                  </a:lnTo>
                  <a:lnTo>
                    <a:pt x="165" y="11"/>
                  </a:lnTo>
                  <a:lnTo>
                    <a:pt x="165" y="12"/>
                  </a:lnTo>
                  <a:lnTo>
                    <a:pt x="165" y="19"/>
                  </a:lnTo>
                  <a:lnTo>
                    <a:pt x="163" y="24"/>
                  </a:lnTo>
                  <a:lnTo>
                    <a:pt x="163" y="31"/>
                  </a:lnTo>
                  <a:lnTo>
                    <a:pt x="163" y="40"/>
                  </a:lnTo>
                  <a:lnTo>
                    <a:pt x="163" y="41"/>
                  </a:lnTo>
                  <a:lnTo>
                    <a:pt x="163" y="43"/>
                  </a:lnTo>
                  <a:lnTo>
                    <a:pt x="163" y="52"/>
                  </a:lnTo>
                  <a:lnTo>
                    <a:pt x="165" y="52"/>
                  </a:lnTo>
                  <a:lnTo>
                    <a:pt x="167" y="52"/>
                  </a:lnTo>
                  <a:lnTo>
                    <a:pt x="168" y="52"/>
                  </a:lnTo>
                  <a:lnTo>
                    <a:pt x="170" y="52"/>
                  </a:lnTo>
                  <a:lnTo>
                    <a:pt x="173" y="52"/>
                  </a:lnTo>
                  <a:lnTo>
                    <a:pt x="175" y="52"/>
                  </a:lnTo>
                  <a:lnTo>
                    <a:pt x="177" y="52"/>
                  </a:lnTo>
                  <a:lnTo>
                    <a:pt x="179" y="52"/>
                  </a:lnTo>
                  <a:lnTo>
                    <a:pt x="184" y="52"/>
                  </a:lnTo>
                  <a:lnTo>
                    <a:pt x="186" y="52"/>
                  </a:lnTo>
                  <a:lnTo>
                    <a:pt x="189" y="52"/>
                  </a:lnTo>
                  <a:lnTo>
                    <a:pt x="194" y="54"/>
                  </a:lnTo>
                  <a:lnTo>
                    <a:pt x="194" y="54"/>
                  </a:lnTo>
                  <a:lnTo>
                    <a:pt x="199" y="54"/>
                  </a:lnTo>
                  <a:lnTo>
                    <a:pt x="201" y="54"/>
                  </a:lnTo>
                  <a:lnTo>
                    <a:pt x="206" y="54"/>
                  </a:lnTo>
                  <a:lnTo>
                    <a:pt x="208" y="54"/>
                  </a:lnTo>
                  <a:lnTo>
                    <a:pt x="223" y="54"/>
                  </a:lnTo>
                  <a:lnTo>
                    <a:pt x="225" y="54"/>
                  </a:lnTo>
                  <a:lnTo>
                    <a:pt x="227" y="55"/>
                  </a:lnTo>
                  <a:lnTo>
                    <a:pt x="234" y="55"/>
                  </a:lnTo>
                  <a:lnTo>
                    <a:pt x="235" y="55"/>
                  </a:lnTo>
                  <a:lnTo>
                    <a:pt x="241" y="55"/>
                  </a:lnTo>
                  <a:lnTo>
                    <a:pt x="242" y="55"/>
                  </a:lnTo>
                  <a:lnTo>
                    <a:pt x="244" y="55"/>
                  </a:lnTo>
                  <a:lnTo>
                    <a:pt x="247" y="55"/>
                  </a:lnTo>
                  <a:lnTo>
                    <a:pt x="249" y="55"/>
                  </a:lnTo>
                  <a:lnTo>
                    <a:pt x="251" y="55"/>
                  </a:lnTo>
                  <a:lnTo>
                    <a:pt x="254" y="55"/>
                  </a:lnTo>
                  <a:lnTo>
                    <a:pt x="254" y="55"/>
                  </a:lnTo>
                  <a:lnTo>
                    <a:pt x="258" y="55"/>
                  </a:lnTo>
                  <a:lnTo>
                    <a:pt x="261" y="55"/>
                  </a:lnTo>
                  <a:lnTo>
                    <a:pt x="266" y="55"/>
                  </a:lnTo>
                  <a:lnTo>
                    <a:pt x="268" y="55"/>
                  </a:lnTo>
                  <a:lnTo>
                    <a:pt x="270" y="57"/>
                  </a:lnTo>
                  <a:lnTo>
                    <a:pt x="275" y="57"/>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5" name="Freeform 218"/>
            <p:cNvSpPr>
              <a:spLocks/>
            </p:cNvSpPr>
            <p:nvPr/>
          </p:nvSpPr>
          <p:spPr bwMode="auto">
            <a:xfrm>
              <a:off x="3556883" y="4479719"/>
              <a:ext cx="531813" cy="379413"/>
            </a:xfrm>
            <a:custGeom>
              <a:avLst/>
              <a:gdLst/>
              <a:ahLst/>
              <a:cxnLst>
                <a:cxn ang="0">
                  <a:pos x="334" y="36"/>
                </a:cxn>
                <a:cxn ang="0">
                  <a:pos x="334" y="63"/>
                </a:cxn>
                <a:cxn ang="0">
                  <a:pos x="332" y="84"/>
                </a:cxn>
                <a:cxn ang="0">
                  <a:pos x="332" y="118"/>
                </a:cxn>
                <a:cxn ang="0">
                  <a:pos x="332" y="139"/>
                </a:cxn>
                <a:cxn ang="0">
                  <a:pos x="332" y="173"/>
                </a:cxn>
                <a:cxn ang="0">
                  <a:pos x="330" y="203"/>
                </a:cxn>
                <a:cxn ang="0">
                  <a:pos x="329" y="220"/>
                </a:cxn>
                <a:cxn ang="0">
                  <a:pos x="305" y="239"/>
                </a:cxn>
                <a:cxn ang="0">
                  <a:pos x="272" y="237"/>
                </a:cxn>
                <a:cxn ang="0">
                  <a:pos x="241" y="237"/>
                </a:cxn>
                <a:cxn ang="0">
                  <a:pos x="227" y="235"/>
                </a:cxn>
                <a:cxn ang="0">
                  <a:pos x="212" y="235"/>
                </a:cxn>
                <a:cxn ang="0">
                  <a:pos x="191" y="234"/>
                </a:cxn>
                <a:cxn ang="0">
                  <a:pos x="177" y="234"/>
                </a:cxn>
                <a:cxn ang="0">
                  <a:pos x="145" y="232"/>
                </a:cxn>
                <a:cxn ang="0">
                  <a:pos x="105" y="230"/>
                </a:cxn>
                <a:cxn ang="0">
                  <a:pos x="81" y="228"/>
                </a:cxn>
                <a:cxn ang="0">
                  <a:pos x="69" y="227"/>
                </a:cxn>
                <a:cxn ang="0">
                  <a:pos x="57" y="225"/>
                </a:cxn>
                <a:cxn ang="0">
                  <a:pos x="31" y="223"/>
                </a:cxn>
                <a:cxn ang="0">
                  <a:pos x="16" y="223"/>
                </a:cxn>
                <a:cxn ang="0">
                  <a:pos x="0" y="209"/>
                </a:cxn>
                <a:cxn ang="0">
                  <a:pos x="0" y="189"/>
                </a:cxn>
                <a:cxn ang="0">
                  <a:pos x="0" y="175"/>
                </a:cxn>
                <a:cxn ang="0">
                  <a:pos x="0" y="160"/>
                </a:cxn>
                <a:cxn ang="0">
                  <a:pos x="0" y="146"/>
                </a:cxn>
                <a:cxn ang="0">
                  <a:pos x="2" y="125"/>
                </a:cxn>
                <a:cxn ang="0">
                  <a:pos x="2" y="108"/>
                </a:cxn>
                <a:cxn ang="0">
                  <a:pos x="2" y="91"/>
                </a:cxn>
                <a:cxn ang="0">
                  <a:pos x="2" y="82"/>
                </a:cxn>
                <a:cxn ang="0">
                  <a:pos x="2" y="74"/>
                </a:cxn>
                <a:cxn ang="0">
                  <a:pos x="2" y="63"/>
                </a:cxn>
                <a:cxn ang="0">
                  <a:pos x="2" y="53"/>
                </a:cxn>
                <a:cxn ang="0">
                  <a:pos x="2" y="43"/>
                </a:cxn>
                <a:cxn ang="0">
                  <a:pos x="4" y="24"/>
                </a:cxn>
                <a:cxn ang="0">
                  <a:pos x="4" y="12"/>
                </a:cxn>
                <a:cxn ang="0">
                  <a:pos x="4" y="0"/>
                </a:cxn>
                <a:cxn ang="0">
                  <a:pos x="34" y="1"/>
                </a:cxn>
                <a:cxn ang="0">
                  <a:pos x="52" y="3"/>
                </a:cxn>
                <a:cxn ang="0">
                  <a:pos x="84" y="5"/>
                </a:cxn>
                <a:cxn ang="0">
                  <a:pos x="103" y="5"/>
                </a:cxn>
                <a:cxn ang="0">
                  <a:pos x="136" y="6"/>
                </a:cxn>
                <a:cxn ang="0">
                  <a:pos x="150" y="6"/>
                </a:cxn>
                <a:cxn ang="0">
                  <a:pos x="162" y="8"/>
                </a:cxn>
                <a:cxn ang="0">
                  <a:pos x="186" y="8"/>
                </a:cxn>
                <a:cxn ang="0">
                  <a:pos x="196" y="10"/>
                </a:cxn>
                <a:cxn ang="0">
                  <a:pos x="208" y="10"/>
                </a:cxn>
                <a:cxn ang="0">
                  <a:pos x="227" y="10"/>
                </a:cxn>
                <a:cxn ang="0">
                  <a:pos x="243" y="12"/>
                </a:cxn>
                <a:cxn ang="0">
                  <a:pos x="279" y="13"/>
                </a:cxn>
                <a:cxn ang="0">
                  <a:pos x="310" y="13"/>
                </a:cxn>
                <a:cxn ang="0">
                  <a:pos x="318" y="15"/>
                </a:cxn>
                <a:cxn ang="0">
                  <a:pos x="329" y="15"/>
                </a:cxn>
              </a:cxnLst>
              <a:rect l="0" t="0" r="r" b="b"/>
              <a:pathLst>
                <a:path w="335" h="239">
                  <a:moveTo>
                    <a:pt x="335" y="17"/>
                  </a:moveTo>
                  <a:lnTo>
                    <a:pt x="335" y="22"/>
                  </a:lnTo>
                  <a:lnTo>
                    <a:pt x="335" y="24"/>
                  </a:lnTo>
                  <a:lnTo>
                    <a:pt x="335" y="27"/>
                  </a:lnTo>
                  <a:lnTo>
                    <a:pt x="334" y="36"/>
                  </a:lnTo>
                  <a:lnTo>
                    <a:pt x="334" y="51"/>
                  </a:lnTo>
                  <a:lnTo>
                    <a:pt x="334" y="58"/>
                  </a:lnTo>
                  <a:lnTo>
                    <a:pt x="334" y="60"/>
                  </a:lnTo>
                  <a:lnTo>
                    <a:pt x="334" y="61"/>
                  </a:lnTo>
                  <a:lnTo>
                    <a:pt x="334" y="63"/>
                  </a:lnTo>
                  <a:lnTo>
                    <a:pt x="334" y="67"/>
                  </a:lnTo>
                  <a:lnTo>
                    <a:pt x="334" y="70"/>
                  </a:lnTo>
                  <a:lnTo>
                    <a:pt x="334" y="74"/>
                  </a:lnTo>
                  <a:lnTo>
                    <a:pt x="334" y="74"/>
                  </a:lnTo>
                  <a:lnTo>
                    <a:pt x="332" y="84"/>
                  </a:lnTo>
                  <a:lnTo>
                    <a:pt x="332" y="91"/>
                  </a:lnTo>
                  <a:lnTo>
                    <a:pt x="332" y="94"/>
                  </a:lnTo>
                  <a:lnTo>
                    <a:pt x="332" y="98"/>
                  </a:lnTo>
                  <a:lnTo>
                    <a:pt x="332" y="106"/>
                  </a:lnTo>
                  <a:lnTo>
                    <a:pt x="332" y="118"/>
                  </a:lnTo>
                  <a:lnTo>
                    <a:pt x="332" y="123"/>
                  </a:lnTo>
                  <a:lnTo>
                    <a:pt x="332" y="125"/>
                  </a:lnTo>
                  <a:lnTo>
                    <a:pt x="332" y="129"/>
                  </a:lnTo>
                  <a:lnTo>
                    <a:pt x="332" y="135"/>
                  </a:lnTo>
                  <a:lnTo>
                    <a:pt x="332" y="139"/>
                  </a:lnTo>
                  <a:lnTo>
                    <a:pt x="332" y="142"/>
                  </a:lnTo>
                  <a:lnTo>
                    <a:pt x="332" y="149"/>
                  </a:lnTo>
                  <a:lnTo>
                    <a:pt x="332" y="161"/>
                  </a:lnTo>
                  <a:lnTo>
                    <a:pt x="332" y="163"/>
                  </a:lnTo>
                  <a:lnTo>
                    <a:pt x="332" y="173"/>
                  </a:lnTo>
                  <a:lnTo>
                    <a:pt x="330" y="178"/>
                  </a:lnTo>
                  <a:lnTo>
                    <a:pt x="332" y="178"/>
                  </a:lnTo>
                  <a:lnTo>
                    <a:pt x="330" y="187"/>
                  </a:lnTo>
                  <a:lnTo>
                    <a:pt x="330" y="194"/>
                  </a:lnTo>
                  <a:lnTo>
                    <a:pt x="330" y="203"/>
                  </a:lnTo>
                  <a:lnTo>
                    <a:pt x="330" y="206"/>
                  </a:lnTo>
                  <a:lnTo>
                    <a:pt x="330" y="211"/>
                  </a:lnTo>
                  <a:lnTo>
                    <a:pt x="330" y="218"/>
                  </a:lnTo>
                  <a:lnTo>
                    <a:pt x="329" y="218"/>
                  </a:lnTo>
                  <a:lnTo>
                    <a:pt x="329" y="220"/>
                  </a:lnTo>
                  <a:lnTo>
                    <a:pt x="329" y="225"/>
                  </a:lnTo>
                  <a:lnTo>
                    <a:pt x="329" y="234"/>
                  </a:lnTo>
                  <a:lnTo>
                    <a:pt x="329" y="239"/>
                  </a:lnTo>
                  <a:lnTo>
                    <a:pt x="317" y="239"/>
                  </a:lnTo>
                  <a:lnTo>
                    <a:pt x="305" y="239"/>
                  </a:lnTo>
                  <a:lnTo>
                    <a:pt x="303" y="239"/>
                  </a:lnTo>
                  <a:lnTo>
                    <a:pt x="301" y="239"/>
                  </a:lnTo>
                  <a:lnTo>
                    <a:pt x="294" y="239"/>
                  </a:lnTo>
                  <a:lnTo>
                    <a:pt x="272" y="239"/>
                  </a:lnTo>
                  <a:lnTo>
                    <a:pt x="272" y="237"/>
                  </a:lnTo>
                  <a:lnTo>
                    <a:pt x="267" y="237"/>
                  </a:lnTo>
                  <a:lnTo>
                    <a:pt x="260" y="237"/>
                  </a:lnTo>
                  <a:lnTo>
                    <a:pt x="253" y="237"/>
                  </a:lnTo>
                  <a:lnTo>
                    <a:pt x="248" y="237"/>
                  </a:lnTo>
                  <a:lnTo>
                    <a:pt x="241" y="237"/>
                  </a:lnTo>
                  <a:lnTo>
                    <a:pt x="239" y="237"/>
                  </a:lnTo>
                  <a:lnTo>
                    <a:pt x="236" y="237"/>
                  </a:lnTo>
                  <a:lnTo>
                    <a:pt x="234" y="235"/>
                  </a:lnTo>
                  <a:lnTo>
                    <a:pt x="232" y="235"/>
                  </a:lnTo>
                  <a:lnTo>
                    <a:pt x="227" y="235"/>
                  </a:lnTo>
                  <a:lnTo>
                    <a:pt x="225" y="235"/>
                  </a:lnTo>
                  <a:lnTo>
                    <a:pt x="224" y="235"/>
                  </a:lnTo>
                  <a:lnTo>
                    <a:pt x="215" y="235"/>
                  </a:lnTo>
                  <a:lnTo>
                    <a:pt x="213" y="235"/>
                  </a:lnTo>
                  <a:lnTo>
                    <a:pt x="212" y="235"/>
                  </a:lnTo>
                  <a:lnTo>
                    <a:pt x="205" y="235"/>
                  </a:lnTo>
                  <a:lnTo>
                    <a:pt x="198" y="234"/>
                  </a:lnTo>
                  <a:lnTo>
                    <a:pt x="196" y="234"/>
                  </a:lnTo>
                  <a:lnTo>
                    <a:pt x="194" y="234"/>
                  </a:lnTo>
                  <a:lnTo>
                    <a:pt x="191" y="234"/>
                  </a:lnTo>
                  <a:lnTo>
                    <a:pt x="188" y="234"/>
                  </a:lnTo>
                  <a:lnTo>
                    <a:pt x="186" y="234"/>
                  </a:lnTo>
                  <a:lnTo>
                    <a:pt x="182" y="234"/>
                  </a:lnTo>
                  <a:lnTo>
                    <a:pt x="181" y="234"/>
                  </a:lnTo>
                  <a:lnTo>
                    <a:pt x="177" y="234"/>
                  </a:lnTo>
                  <a:lnTo>
                    <a:pt x="170" y="234"/>
                  </a:lnTo>
                  <a:lnTo>
                    <a:pt x="160" y="232"/>
                  </a:lnTo>
                  <a:lnTo>
                    <a:pt x="150" y="232"/>
                  </a:lnTo>
                  <a:lnTo>
                    <a:pt x="148" y="232"/>
                  </a:lnTo>
                  <a:lnTo>
                    <a:pt x="145" y="232"/>
                  </a:lnTo>
                  <a:lnTo>
                    <a:pt x="138" y="232"/>
                  </a:lnTo>
                  <a:lnTo>
                    <a:pt x="129" y="230"/>
                  </a:lnTo>
                  <a:lnTo>
                    <a:pt x="117" y="230"/>
                  </a:lnTo>
                  <a:lnTo>
                    <a:pt x="115" y="230"/>
                  </a:lnTo>
                  <a:lnTo>
                    <a:pt x="105" y="230"/>
                  </a:lnTo>
                  <a:lnTo>
                    <a:pt x="98" y="230"/>
                  </a:lnTo>
                  <a:lnTo>
                    <a:pt x="93" y="228"/>
                  </a:lnTo>
                  <a:lnTo>
                    <a:pt x="91" y="228"/>
                  </a:lnTo>
                  <a:lnTo>
                    <a:pt x="83" y="228"/>
                  </a:lnTo>
                  <a:lnTo>
                    <a:pt x="81" y="228"/>
                  </a:lnTo>
                  <a:lnTo>
                    <a:pt x="77" y="228"/>
                  </a:lnTo>
                  <a:lnTo>
                    <a:pt x="76" y="227"/>
                  </a:lnTo>
                  <a:lnTo>
                    <a:pt x="72" y="227"/>
                  </a:lnTo>
                  <a:lnTo>
                    <a:pt x="71" y="227"/>
                  </a:lnTo>
                  <a:lnTo>
                    <a:pt x="69" y="227"/>
                  </a:lnTo>
                  <a:lnTo>
                    <a:pt x="65" y="227"/>
                  </a:lnTo>
                  <a:lnTo>
                    <a:pt x="62" y="227"/>
                  </a:lnTo>
                  <a:lnTo>
                    <a:pt x="60" y="227"/>
                  </a:lnTo>
                  <a:lnTo>
                    <a:pt x="60" y="227"/>
                  </a:lnTo>
                  <a:lnTo>
                    <a:pt x="57" y="225"/>
                  </a:lnTo>
                  <a:lnTo>
                    <a:pt x="48" y="225"/>
                  </a:lnTo>
                  <a:lnTo>
                    <a:pt x="45" y="225"/>
                  </a:lnTo>
                  <a:lnTo>
                    <a:pt x="36" y="225"/>
                  </a:lnTo>
                  <a:lnTo>
                    <a:pt x="31" y="223"/>
                  </a:lnTo>
                  <a:lnTo>
                    <a:pt x="31" y="223"/>
                  </a:lnTo>
                  <a:lnTo>
                    <a:pt x="26" y="223"/>
                  </a:lnTo>
                  <a:lnTo>
                    <a:pt x="24" y="223"/>
                  </a:lnTo>
                  <a:lnTo>
                    <a:pt x="22" y="223"/>
                  </a:lnTo>
                  <a:lnTo>
                    <a:pt x="19" y="223"/>
                  </a:lnTo>
                  <a:lnTo>
                    <a:pt x="16" y="223"/>
                  </a:lnTo>
                  <a:lnTo>
                    <a:pt x="0" y="223"/>
                  </a:lnTo>
                  <a:lnTo>
                    <a:pt x="0" y="221"/>
                  </a:lnTo>
                  <a:lnTo>
                    <a:pt x="0" y="215"/>
                  </a:lnTo>
                  <a:lnTo>
                    <a:pt x="0" y="211"/>
                  </a:lnTo>
                  <a:lnTo>
                    <a:pt x="0" y="209"/>
                  </a:lnTo>
                  <a:lnTo>
                    <a:pt x="0" y="203"/>
                  </a:lnTo>
                  <a:lnTo>
                    <a:pt x="0" y="199"/>
                  </a:lnTo>
                  <a:lnTo>
                    <a:pt x="0" y="192"/>
                  </a:lnTo>
                  <a:lnTo>
                    <a:pt x="0" y="191"/>
                  </a:lnTo>
                  <a:lnTo>
                    <a:pt x="0" y="189"/>
                  </a:lnTo>
                  <a:lnTo>
                    <a:pt x="0" y="187"/>
                  </a:lnTo>
                  <a:lnTo>
                    <a:pt x="0" y="185"/>
                  </a:lnTo>
                  <a:lnTo>
                    <a:pt x="0" y="178"/>
                  </a:lnTo>
                  <a:lnTo>
                    <a:pt x="0" y="177"/>
                  </a:lnTo>
                  <a:lnTo>
                    <a:pt x="0" y="175"/>
                  </a:lnTo>
                  <a:lnTo>
                    <a:pt x="0" y="172"/>
                  </a:lnTo>
                  <a:lnTo>
                    <a:pt x="0" y="170"/>
                  </a:lnTo>
                  <a:lnTo>
                    <a:pt x="0" y="165"/>
                  </a:lnTo>
                  <a:lnTo>
                    <a:pt x="0" y="163"/>
                  </a:lnTo>
                  <a:lnTo>
                    <a:pt x="0" y="160"/>
                  </a:lnTo>
                  <a:lnTo>
                    <a:pt x="0" y="158"/>
                  </a:lnTo>
                  <a:lnTo>
                    <a:pt x="0" y="153"/>
                  </a:lnTo>
                  <a:lnTo>
                    <a:pt x="0" y="151"/>
                  </a:lnTo>
                  <a:lnTo>
                    <a:pt x="0" y="149"/>
                  </a:lnTo>
                  <a:lnTo>
                    <a:pt x="0" y="146"/>
                  </a:lnTo>
                  <a:lnTo>
                    <a:pt x="0" y="142"/>
                  </a:lnTo>
                  <a:lnTo>
                    <a:pt x="0" y="139"/>
                  </a:lnTo>
                  <a:lnTo>
                    <a:pt x="2" y="135"/>
                  </a:lnTo>
                  <a:lnTo>
                    <a:pt x="2" y="132"/>
                  </a:lnTo>
                  <a:lnTo>
                    <a:pt x="2" y="125"/>
                  </a:lnTo>
                  <a:lnTo>
                    <a:pt x="2" y="118"/>
                  </a:lnTo>
                  <a:lnTo>
                    <a:pt x="2" y="115"/>
                  </a:lnTo>
                  <a:lnTo>
                    <a:pt x="2" y="113"/>
                  </a:lnTo>
                  <a:lnTo>
                    <a:pt x="2" y="111"/>
                  </a:lnTo>
                  <a:lnTo>
                    <a:pt x="2" y="108"/>
                  </a:lnTo>
                  <a:lnTo>
                    <a:pt x="2" y="103"/>
                  </a:lnTo>
                  <a:lnTo>
                    <a:pt x="2" y="98"/>
                  </a:lnTo>
                  <a:lnTo>
                    <a:pt x="2" y="94"/>
                  </a:lnTo>
                  <a:lnTo>
                    <a:pt x="2" y="92"/>
                  </a:lnTo>
                  <a:lnTo>
                    <a:pt x="2" y="91"/>
                  </a:lnTo>
                  <a:lnTo>
                    <a:pt x="2" y="89"/>
                  </a:lnTo>
                  <a:lnTo>
                    <a:pt x="2" y="87"/>
                  </a:lnTo>
                  <a:lnTo>
                    <a:pt x="2" y="87"/>
                  </a:lnTo>
                  <a:lnTo>
                    <a:pt x="2" y="86"/>
                  </a:lnTo>
                  <a:lnTo>
                    <a:pt x="2" y="82"/>
                  </a:lnTo>
                  <a:lnTo>
                    <a:pt x="2" y="80"/>
                  </a:lnTo>
                  <a:lnTo>
                    <a:pt x="2" y="79"/>
                  </a:lnTo>
                  <a:lnTo>
                    <a:pt x="2" y="77"/>
                  </a:lnTo>
                  <a:lnTo>
                    <a:pt x="2" y="75"/>
                  </a:lnTo>
                  <a:lnTo>
                    <a:pt x="2" y="74"/>
                  </a:lnTo>
                  <a:lnTo>
                    <a:pt x="2" y="74"/>
                  </a:lnTo>
                  <a:lnTo>
                    <a:pt x="2" y="72"/>
                  </a:lnTo>
                  <a:lnTo>
                    <a:pt x="2" y="70"/>
                  </a:lnTo>
                  <a:lnTo>
                    <a:pt x="2" y="68"/>
                  </a:lnTo>
                  <a:lnTo>
                    <a:pt x="2" y="63"/>
                  </a:lnTo>
                  <a:lnTo>
                    <a:pt x="2" y="61"/>
                  </a:lnTo>
                  <a:lnTo>
                    <a:pt x="2" y="58"/>
                  </a:lnTo>
                  <a:lnTo>
                    <a:pt x="2" y="58"/>
                  </a:lnTo>
                  <a:lnTo>
                    <a:pt x="2" y="56"/>
                  </a:lnTo>
                  <a:lnTo>
                    <a:pt x="2" y="53"/>
                  </a:lnTo>
                  <a:lnTo>
                    <a:pt x="2" y="49"/>
                  </a:lnTo>
                  <a:lnTo>
                    <a:pt x="2" y="48"/>
                  </a:lnTo>
                  <a:lnTo>
                    <a:pt x="2" y="46"/>
                  </a:lnTo>
                  <a:lnTo>
                    <a:pt x="2" y="44"/>
                  </a:lnTo>
                  <a:lnTo>
                    <a:pt x="2" y="43"/>
                  </a:lnTo>
                  <a:lnTo>
                    <a:pt x="2" y="43"/>
                  </a:lnTo>
                  <a:lnTo>
                    <a:pt x="2" y="39"/>
                  </a:lnTo>
                  <a:lnTo>
                    <a:pt x="4" y="34"/>
                  </a:lnTo>
                  <a:lnTo>
                    <a:pt x="4" y="29"/>
                  </a:lnTo>
                  <a:lnTo>
                    <a:pt x="4" y="24"/>
                  </a:lnTo>
                  <a:lnTo>
                    <a:pt x="4" y="20"/>
                  </a:lnTo>
                  <a:lnTo>
                    <a:pt x="4" y="15"/>
                  </a:lnTo>
                  <a:lnTo>
                    <a:pt x="4" y="13"/>
                  </a:lnTo>
                  <a:lnTo>
                    <a:pt x="4" y="13"/>
                  </a:lnTo>
                  <a:lnTo>
                    <a:pt x="4" y="12"/>
                  </a:lnTo>
                  <a:lnTo>
                    <a:pt x="4" y="10"/>
                  </a:lnTo>
                  <a:lnTo>
                    <a:pt x="4" y="8"/>
                  </a:lnTo>
                  <a:lnTo>
                    <a:pt x="4" y="6"/>
                  </a:lnTo>
                  <a:lnTo>
                    <a:pt x="4" y="5"/>
                  </a:lnTo>
                  <a:lnTo>
                    <a:pt x="4" y="0"/>
                  </a:lnTo>
                  <a:lnTo>
                    <a:pt x="12" y="1"/>
                  </a:lnTo>
                  <a:lnTo>
                    <a:pt x="17" y="1"/>
                  </a:lnTo>
                  <a:lnTo>
                    <a:pt x="19" y="1"/>
                  </a:lnTo>
                  <a:lnTo>
                    <a:pt x="31" y="1"/>
                  </a:lnTo>
                  <a:lnTo>
                    <a:pt x="34" y="1"/>
                  </a:lnTo>
                  <a:lnTo>
                    <a:pt x="38" y="1"/>
                  </a:lnTo>
                  <a:lnTo>
                    <a:pt x="41" y="1"/>
                  </a:lnTo>
                  <a:lnTo>
                    <a:pt x="45" y="3"/>
                  </a:lnTo>
                  <a:lnTo>
                    <a:pt x="48" y="3"/>
                  </a:lnTo>
                  <a:lnTo>
                    <a:pt x="52" y="3"/>
                  </a:lnTo>
                  <a:lnTo>
                    <a:pt x="59" y="3"/>
                  </a:lnTo>
                  <a:lnTo>
                    <a:pt x="69" y="3"/>
                  </a:lnTo>
                  <a:lnTo>
                    <a:pt x="76" y="3"/>
                  </a:lnTo>
                  <a:lnTo>
                    <a:pt x="79" y="5"/>
                  </a:lnTo>
                  <a:lnTo>
                    <a:pt x="84" y="5"/>
                  </a:lnTo>
                  <a:lnTo>
                    <a:pt x="86" y="5"/>
                  </a:lnTo>
                  <a:lnTo>
                    <a:pt x="88" y="5"/>
                  </a:lnTo>
                  <a:lnTo>
                    <a:pt x="91" y="5"/>
                  </a:lnTo>
                  <a:lnTo>
                    <a:pt x="91" y="5"/>
                  </a:lnTo>
                  <a:lnTo>
                    <a:pt x="103" y="5"/>
                  </a:lnTo>
                  <a:lnTo>
                    <a:pt x="114" y="5"/>
                  </a:lnTo>
                  <a:lnTo>
                    <a:pt x="119" y="6"/>
                  </a:lnTo>
                  <a:lnTo>
                    <a:pt x="120" y="6"/>
                  </a:lnTo>
                  <a:lnTo>
                    <a:pt x="127" y="6"/>
                  </a:lnTo>
                  <a:lnTo>
                    <a:pt x="136" y="6"/>
                  </a:lnTo>
                  <a:lnTo>
                    <a:pt x="138" y="6"/>
                  </a:lnTo>
                  <a:lnTo>
                    <a:pt x="141" y="6"/>
                  </a:lnTo>
                  <a:lnTo>
                    <a:pt x="143" y="6"/>
                  </a:lnTo>
                  <a:lnTo>
                    <a:pt x="148" y="6"/>
                  </a:lnTo>
                  <a:lnTo>
                    <a:pt x="150" y="6"/>
                  </a:lnTo>
                  <a:lnTo>
                    <a:pt x="151" y="6"/>
                  </a:lnTo>
                  <a:lnTo>
                    <a:pt x="155" y="6"/>
                  </a:lnTo>
                  <a:lnTo>
                    <a:pt x="158" y="8"/>
                  </a:lnTo>
                  <a:lnTo>
                    <a:pt x="160" y="8"/>
                  </a:lnTo>
                  <a:lnTo>
                    <a:pt x="162" y="8"/>
                  </a:lnTo>
                  <a:lnTo>
                    <a:pt x="169" y="8"/>
                  </a:lnTo>
                  <a:lnTo>
                    <a:pt x="172" y="8"/>
                  </a:lnTo>
                  <a:lnTo>
                    <a:pt x="181" y="8"/>
                  </a:lnTo>
                  <a:lnTo>
                    <a:pt x="181" y="8"/>
                  </a:lnTo>
                  <a:lnTo>
                    <a:pt x="186" y="8"/>
                  </a:lnTo>
                  <a:lnTo>
                    <a:pt x="188" y="8"/>
                  </a:lnTo>
                  <a:lnTo>
                    <a:pt x="191" y="8"/>
                  </a:lnTo>
                  <a:lnTo>
                    <a:pt x="193" y="8"/>
                  </a:lnTo>
                  <a:lnTo>
                    <a:pt x="194" y="8"/>
                  </a:lnTo>
                  <a:lnTo>
                    <a:pt x="196" y="10"/>
                  </a:lnTo>
                  <a:lnTo>
                    <a:pt x="196" y="10"/>
                  </a:lnTo>
                  <a:lnTo>
                    <a:pt x="200" y="10"/>
                  </a:lnTo>
                  <a:lnTo>
                    <a:pt x="203" y="10"/>
                  </a:lnTo>
                  <a:lnTo>
                    <a:pt x="205" y="10"/>
                  </a:lnTo>
                  <a:lnTo>
                    <a:pt x="208" y="10"/>
                  </a:lnTo>
                  <a:lnTo>
                    <a:pt x="210" y="10"/>
                  </a:lnTo>
                  <a:lnTo>
                    <a:pt x="213" y="10"/>
                  </a:lnTo>
                  <a:lnTo>
                    <a:pt x="225" y="10"/>
                  </a:lnTo>
                  <a:lnTo>
                    <a:pt x="227" y="10"/>
                  </a:lnTo>
                  <a:lnTo>
                    <a:pt x="227" y="10"/>
                  </a:lnTo>
                  <a:lnTo>
                    <a:pt x="236" y="12"/>
                  </a:lnTo>
                  <a:lnTo>
                    <a:pt x="239" y="12"/>
                  </a:lnTo>
                  <a:lnTo>
                    <a:pt x="241" y="12"/>
                  </a:lnTo>
                  <a:lnTo>
                    <a:pt x="241" y="12"/>
                  </a:lnTo>
                  <a:lnTo>
                    <a:pt x="243" y="12"/>
                  </a:lnTo>
                  <a:lnTo>
                    <a:pt x="248" y="12"/>
                  </a:lnTo>
                  <a:lnTo>
                    <a:pt x="260" y="13"/>
                  </a:lnTo>
                  <a:lnTo>
                    <a:pt x="270" y="13"/>
                  </a:lnTo>
                  <a:lnTo>
                    <a:pt x="277" y="13"/>
                  </a:lnTo>
                  <a:lnTo>
                    <a:pt x="279" y="13"/>
                  </a:lnTo>
                  <a:lnTo>
                    <a:pt x="280" y="13"/>
                  </a:lnTo>
                  <a:lnTo>
                    <a:pt x="291" y="13"/>
                  </a:lnTo>
                  <a:lnTo>
                    <a:pt x="294" y="13"/>
                  </a:lnTo>
                  <a:lnTo>
                    <a:pt x="305" y="13"/>
                  </a:lnTo>
                  <a:lnTo>
                    <a:pt x="310" y="13"/>
                  </a:lnTo>
                  <a:lnTo>
                    <a:pt x="311" y="13"/>
                  </a:lnTo>
                  <a:lnTo>
                    <a:pt x="311" y="15"/>
                  </a:lnTo>
                  <a:lnTo>
                    <a:pt x="313" y="15"/>
                  </a:lnTo>
                  <a:lnTo>
                    <a:pt x="317" y="15"/>
                  </a:lnTo>
                  <a:lnTo>
                    <a:pt x="318" y="15"/>
                  </a:lnTo>
                  <a:lnTo>
                    <a:pt x="320" y="15"/>
                  </a:lnTo>
                  <a:lnTo>
                    <a:pt x="322" y="15"/>
                  </a:lnTo>
                  <a:lnTo>
                    <a:pt x="323" y="15"/>
                  </a:lnTo>
                  <a:lnTo>
                    <a:pt x="325" y="15"/>
                  </a:lnTo>
                  <a:lnTo>
                    <a:pt x="329" y="15"/>
                  </a:lnTo>
                  <a:lnTo>
                    <a:pt x="330" y="15"/>
                  </a:lnTo>
                  <a:lnTo>
                    <a:pt x="332" y="15"/>
                  </a:lnTo>
                  <a:lnTo>
                    <a:pt x="335" y="17"/>
                  </a:lnTo>
                  <a:lnTo>
                    <a:pt x="335" y="17"/>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6" name="Freeform 239"/>
            <p:cNvSpPr>
              <a:spLocks/>
            </p:cNvSpPr>
            <p:nvPr/>
          </p:nvSpPr>
          <p:spPr bwMode="auto">
            <a:xfrm>
              <a:off x="4531608" y="5295694"/>
              <a:ext cx="300038" cy="609600"/>
            </a:xfrm>
            <a:custGeom>
              <a:avLst/>
              <a:gdLst/>
              <a:ahLst/>
              <a:cxnLst>
                <a:cxn ang="0">
                  <a:pos x="189" y="156"/>
                </a:cxn>
                <a:cxn ang="0">
                  <a:pos x="188" y="182"/>
                </a:cxn>
                <a:cxn ang="0">
                  <a:pos x="186" y="205"/>
                </a:cxn>
                <a:cxn ang="0">
                  <a:pos x="186" y="230"/>
                </a:cxn>
                <a:cxn ang="0">
                  <a:pos x="186" y="243"/>
                </a:cxn>
                <a:cxn ang="0">
                  <a:pos x="186" y="267"/>
                </a:cxn>
                <a:cxn ang="0">
                  <a:pos x="186" y="286"/>
                </a:cxn>
                <a:cxn ang="0">
                  <a:pos x="184" y="311"/>
                </a:cxn>
                <a:cxn ang="0">
                  <a:pos x="184" y="327"/>
                </a:cxn>
                <a:cxn ang="0">
                  <a:pos x="184" y="342"/>
                </a:cxn>
                <a:cxn ang="0">
                  <a:pos x="184" y="354"/>
                </a:cxn>
                <a:cxn ang="0">
                  <a:pos x="182" y="366"/>
                </a:cxn>
                <a:cxn ang="0">
                  <a:pos x="182" y="384"/>
                </a:cxn>
                <a:cxn ang="0">
                  <a:pos x="145" y="382"/>
                </a:cxn>
                <a:cxn ang="0">
                  <a:pos x="129" y="382"/>
                </a:cxn>
                <a:cxn ang="0">
                  <a:pos x="115" y="382"/>
                </a:cxn>
                <a:cxn ang="0">
                  <a:pos x="90" y="382"/>
                </a:cxn>
                <a:cxn ang="0">
                  <a:pos x="67" y="382"/>
                </a:cxn>
                <a:cxn ang="0">
                  <a:pos x="47" y="382"/>
                </a:cxn>
                <a:cxn ang="0">
                  <a:pos x="31" y="382"/>
                </a:cxn>
                <a:cxn ang="0">
                  <a:pos x="16" y="380"/>
                </a:cxn>
                <a:cxn ang="0">
                  <a:pos x="17" y="351"/>
                </a:cxn>
                <a:cxn ang="0">
                  <a:pos x="17" y="325"/>
                </a:cxn>
                <a:cxn ang="0">
                  <a:pos x="17" y="313"/>
                </a:cxn>
                <a:cxn ang="0">
                  <a:pos x="19" y="303"/>
                </a:cxn>
                <a:cxn ang="0">
                  <a:pos x="19" y="287"/>
                </a:cxn>
                <a:cxn ang="0">
                  <a:pos x="19" y="267"/>
                </a:cxn>
                <a:cxn ang="0">
                  <a:pos x="19" y="239"/>
                </a:cxn>
                <a:cxn ang="0">
                  <a:pos x="21" y="203"/>
                </a:cxn>
                <a:cxn ang="0">
                  <a:pos x="21" y="177"/>
                </a:cxn>
                <a:cxn ang="0">
                  <a:pos x="22" y="148"/>
                </a:cxn>
                <a:cxn ang="0">
                  <a:pos x="16" y="134"/>
                </a:cxn>
                <a:cxn ang="0">
                  <a:pos x="4" y="134"/>
                </a:cxn>
                <a:cxn ang="0">
                  <a:pos x="0" y="127"/>
                </a:cxn>
                <a:cxn ang="0">
                  <a:pos x="0" y="101"/>
                </a:cxn>
                <a:cxn ang="0">
                  <a:pos x="0" y="76"/>
                </a:cxn>
                <a:cxn ang="0">
                  <a:pos x="2" y="55"/>
                </a:cxn>
                <a:cxn ang="0">
                  <a:pos x="2" y="27"/>
                </a:cxn>
                <a:cxn ang="0">
                  <a:pos x="4" y="0"/>
                </a:cxn>
                <a:cxn ang="0">
                  <a:pos x="19" y="0"/>
                </a:cxn>
                <a:cxn ang="0">
                  <a:pos x="41" y="0"/>
                </a:cxn>
                <a:cxn ang="0">
                  <a:pos x="55" y="0"/>
                </a:cxn>
                <a:cxn ang="0">
                  <a:pos x="64" y="2"/>
                </a:cxn>
                <a:cxn ang="0">
                  <a:pos x="79" y="2"/>
                </a:cxn>
                <a:cxn ang="0">
                  <a:pos x="96" y="2"/>
                </a:cxn>
                <a:cxn ang="0">
                  <a:pos x="119" y="2"/>
                </a:cxn>
                <a:cxn ang="0">
                  <a:pos x="146" y="2"/>
                </a:cxn>
                <a:cxn ang="0">
                  <a:pos x="164" y="3"/>
                </a:cxn>
                <a:cxn ang="0">
                  <a:pos x="170" y="10"/>
                </a:cxn>
                <a:cxn ang="0">
                  <a:pos x="170" y="34"/>
                </a:cxn>
                <a:cxn ang="0">
                  <a:pos x="169" y="58"/>
                </a:cxn>
                <a:cxn ang="0">
                  <a:pos x="169" y="84"/>
                </a:cxn>
                <a:cxn ang="0">
                  <a:pos x="167" y="107"/>
                </a:cxn>
                <a:cxn ang="0">
                  <a:pos x="177" y="138"/>
                </a:cxn>
                <a:cxn ang="0">
                  <a:pos x="189" y="138"/>
                </a:cxn>
              </a:cxnLst>
              <a:rect l="0" t="0" r="r" b="b"/>
              <a:pathLst>
                <a:path w="189" h="384">
                  <a:moveTo>
                    <a:pt x="189" y="138"/>
                  </a:moveTo>
                  <a:lnTo>
                    <a:pt x="189" y="146"/>
                  </a:lnTo>
                  <a:lnTo>
                    <a:pt x="189" y="148"/>
                  </a:lnTo>
                  <a:lnTo>
                    <a:pt x="189" y="153"/>
                  </a:lnTo>
                  <a:lnTo>
                    <a:pt x="189" y="155"/>
                  </a:lnTo>
                  <a:lnTo>
                    <a:pt x="189" y="156"/>
                  </a:lnTo>
                  <a:lnTo>
                    <a:pt x="189" y="158"/>
                  </a:lnTo>
                  <a:lnTo>
                    <a:pt x="188" y="160"/>
                  </a:lnTo>
                  <a:lnTo>
                    <a:pt x="188" y="165"/>
                  </a:lnTo>
                  <a:lnTo>
                    <a:pt x="188" y="172"/>
                  </a:lnTo>
                  <a:lnTo>
                    <a:pt x="188" y="174"/>
                  </a:lnTo>
                  <a:lnTo>
                    <a:pt x="188" y="182"/>
                  </a:lnTo>
                  <a:lnTo>
                    <a:pt x="188" y="186"/>
                  </a:lnTo>
                  <a:lnTo>
                    <a:pt x="188" y="189"/>
                  </a:lnTo>
                  <a:lnTo>
                    <a:pt x="188" y="198"/>
                  </a:lnTo>
                  <a:lnTo>
                    <a:pt x="188" y="203"/>
                  </a:lnTo>
                  <a:lnTo>
                    <a:pt x="188" y="205"/>
                  </a:lnTo>
                  <a:lnTo>
                    <a:pt x="186" y="205"/>
                  </a:lnTo>
                  <a:lnTo>
                    <a:pt x="186" y="208"/>
                  </a:lnTo>
                  <a:lnTo>
                    <a:pt x="186" y="213"/>
                  </a:lnTo>
                  <a:lnTo>
                    <a:pt x="186" y="217"/>
                  </a:lnTo>
                  <a:lnTo>
                    <a:pt x="186" y="225"/>
                  </a:lnTo>
                  <a:lnTo>
                    <a:pt x="186" y="229"/>
                  </a:lnTo>
                  <a:lnTo>
                    <a:pt x="186" y="230"/>
                  </a:lnTo>
                  <a:lnTo>
                    <a:pt x="186" y="234"/>
                  </a:lnTo>
                  <a:lnTo>
                    <a:pt x="186" y="236"/>
                  </a:lnTo>
                  <a:lnTo>
                    <a:pt x="186" y="237"/>
                  </a:lnTo>
                  <a:lnTo>
                    <a:pt x="186" y="239"/>
                  </a:lnTo>
                  <a:lnTo>
                    <a:pt x="186" y="241"/>
                  </a:lnTo>
                  <a:lnTo>
                    <a:pt x="186" y="243"/>
                  </a:lnTo>
                  <a:lnTo>
                    <a:pt x="186" y="246"/>
                  </a:lnTo>
                  <a:lnTo>
                    <a:pt x="186" y="248"/>
                  </a:lnTo>
                  <a:lnTo>
                    <a:pt x="186" y="249"/>
                  </a:lnTo>
                  <a:lnTo>
                    <a:pt x="186" y="253"/>
                  </a:lnTo>
                  <a:lnTo>
                    <a:pt x="186" y="260"/>
                  </a:lnTo>
                  <a:lnTo>
                    <a:pt x="186" y="267"/>
                  </a:lnTo>
                  <a:lnTo>
                    <a:pt x="186" y="270"/>
                  </a:lnTo>
                  <a:lnTo>
                    <a:pt x="186" y="273"/>
                  </a:lnTo>
                  <a:lnTo>
                    <a:pt x="186" y="277"/>
                  </a:lnTo>
                  <a:lnTo>
                    <a:pt x="186" y="282"/>
                  </a:lnTo>
                  <a:lnTo>
                    <a:pt x="186" y="282"/>
                  </a:lnTo>
                  <a:lnTo>
                    <a:pt x="186" y="286"/>
                  </a:lnTo>
                  <a:lnTo>
                    <a:pt x="186" y="289"/>
                  </a:lnTo>
                  <a:lnTo>
                    <a:pt x="184" y="299"/>
                  </a:lnTo>
                  <a:lnTo>
                    <a:pt x="184" y="301"/>
                  </a:lnTo>
                  <a:lnTo>
                    <a:pt x="184" y="308"/>
                  </a:lnTo>
                  <a:lnTo>
                    <a:pt x="184" y="310"/>
                  </a:lnTo>
                  <a:lnTo>
                    <a:pt x="184" y="311"/>
                  </a:lnTo>
                  <a:lnTo>
                    <a:pt x="184" y="313"/>
                  </a:lnTo>
                  <a:lnTo>
                    <a:pt x="184" y="315"/>
                  </a:lnTo>
                  <a:lnTo>
                    <a:pt x="184" y="316"/>
                  </a:lnTo>
                  <a:lnTo>
                    <a:pt x="184" y="318"/>
                  </a:lnTo>
                  <a:lnTo>
                    <a:pt x="184" y="325"/>
                  </a:lnTo>
                  <a:lnTo>
                    <a:pt x="184" y="327"/>
                  </a:lnTo>
                  <a:lnTo>
                    <a:pt x="184" y="329"/>
                  </a:lnTo>
                  <a:lnTo>
                    <a:pt x="184" y="332"/>
                  </a:lnTo>
                  <a:lnTo>
                    <a:pt x="184" y="337"/>
                  </a:lnTo>
                  <a:lnTo>
                    <a:pt x="184" y="339"/>
                  </a:lnTo>
                  <a:lnTo>
                    <a:pt x="184" y="342"/>
                  </a:lnTo>
                  <a:lnTo>
                    <a:pt x="184" y="342"/>
                  </a:lnTo>
                  <a:lnTo>
                    <a:pt x="184" y="344"/>
                  </a:lnTo>
                  <a:lnTo>
                    <a:pt x="184" y="346"/>
                  </a:lnTo>
                  <a:lnTo>
                    <a:pt x="184" y="349"/>
                  </a:lnTo>
                  <a:lnTo>
                    <a:pt x="184" y="351"/>
                  </a:lnTo>
                  <a:lnTo>
                    <a:pt x="184" y="353"/>
                  </a:lnTo>
                  <a:lnTo>
                    <a:pt x="184" y="354"/>
                  </a:lnTo>
                  <a:lnTo>
                    <a:pt x="184" y="356"/>
                  </a:lnTo>
                  <a:lnTo>
                    <a:pt x="184" y="358"/>
                  </a:lnTo>
                  <a:lnTo>
                    <a:pt x="182" y="358"/>
                  </a:lnTo>
                  <a:lnTo>
                    <a:pt x="182" y="358"/>
                  </a:lnTo>
                  <a:lnTo>
                    <a:pt x="182" y="363"/>
                  </a:lnTo>
                  <a:lnTo>
                    <a:pt x="182" y="366"/>
                  </a:lnTo>
                  <a:lnTo>
                    <a:pt x="182" y="368"/>
                  </a:lnTo>
                  <a:lnTo>
                    <a:pt x="182" y="372"/>
                  </a:lnTo>
                  <a:lnTo>
                    <a:pt x="182" y="375"/>
                  </a:lnTo>
                  <a:lnTo>
                    <a:pt x="182" y="377"/>
                  </a:lnTo>
                  <a:lnTo>
                    <a:pt x="182" y="382"/>
                  </a:lnTo>
                  <a:lnTo>
                    <a:pt x="182" y="384"/>
                  </a:lnTo>
                  <a:lnTo>
                    <a:pt x="174" y="384"/>
                  </a:lnTo>
                  <a:lnTo>
                    <a:pt x="172" y="384"/>
                  </a:lnTo>
                  <a:lnTo>
                    <a:pt x="165" y="384"/>
                  </a:lnTo>
                  <a:lnTo>
                    <a:pt x="157" y="384"/>
                  </a:lnTo>
                  <a:lnTo>
                    <a:pt x="153" y="384"/>
                  </a:lnTo>
                  <a:lnTo>
                    <a:pt x="145" y="382"/>
                  </a:lnTo>
                  <a:lnTo>
                    <a:pt x="139" y="382"/>
                  </a:lnTo>
                  <a:lnTo>
                    <a:pt x="136" y="382"/>
                  </a:lnTo>
                  <a:lnTo>
                    <a:pt x="134" y="382"/>
                  </a:lnTo>
                  <a:lnTo>
                    <a:pt x="133" y="382"/>
                  </a:lnTo>
                  <a:lnTo>
                    <a:pt x="131" y="382"/>
                  </a:lnTo>
                  <a:lnTo>
                    <a:pt x="129" y="382"/>
                  </a:lnTo>
                  <a:lnTo>
                    <a:pt x="126" y="382"/>
                  </a:lnTo>
                  <a:lnTo>
                    <a:pt x="124" y="382"/>
                  </a:lnTo>
                  <a:lnTo>
                    <a:pt x="122" y="382"/>
                  </a:lnTo>
                  <a:lnTo>
                    <a:pt x="121" y="382"/>
                  </a:lnTo>
                  <a:lnTo>
                    <a:pt x="119" y="382"/>
                  </a:lnTo>
                  <a:lnTo>
                    <a:pt x="115" y="382"/>
                  </a:lnTo>
                  <a:lnTo>
                    <a:pt x="112" y="382"/>
                  </a:lnTo>
                  <a:lnTo>
                    <a:pt x="110" y="382"/>
                  </a:lnTo>
                  <a:lnTo>
                    <a:pt x="108" y="382"/>
                  </a:lnTo>
                  <a:lnTo>
                    <a:pt x="105" y="382"/>
                  </a:lnTo>
                  <a:lnTo>
                    <a:pt x="100" y="382"/>
                  </a:lnTo>
                  <a:lnTo>
                    <a:pt x="90" y="382"/>
                  </a:lnTo>
                  <a:lnTo>
                    <a:pt x="83" y="382"/>
                  </a:lnTo>
                  <a:lnTo>
                    <a:pt x="81" y="382"/>
                  </a:lnTo>
                  <a:lnTo>
                    <a:pt x="79" y="382"/>
                  </a:lnTo>
                  <a:lnTo>
                    <a:pt x="74" y="382"/>
                  </a:lnTo>
                  <a:lnTo>
                    <a:pt x="72" y="382"/>
                  </a:lnTo>
                  <a:lnTo>
                    <a:pt x="67" y="382"/>
                  </a:lnTo>
                  <a:lnTo>
                    <a:pt x="65" y="382"/>
                  </a:lnTo>
                  <a:lnTo>
                    <a:pt x="64" y="382"/>
                  </a:lnTo>
                  <a:lnTo>
                    <a:pt x="59" y="382"/>
                  </a:lnTo>
                  <a:lnTo>
                    <a:pt x="53" y="382"/>
                  </a:lnTo>
                  <a:lnTo>
                    <a:pt x="50" y="382"/>
                  </a:lnTo>
                  <a:lnTo>
                    <a:pt x="47" y="382"/>
                  </a:lnTo>
                  <a:lnTo>
                    <a:pt x="43" y="382"/>
                  </a:lnTo>
                  <a:lnTo>
                    <a:pt x="40" y="382"/>
                  </a:lnTo>
                  <a:lnTo>
                    <a:pt x="38" y="382"/>
                  </a:lnTo>
                  <a:lnTo>
                    <a:pt x="36" y="382"/>
                  </a:lnTo>
                  <a:lnTo>
                    <a:pt x="35" y="382"/>
                  </a:lnTo>
                  <a:lnTo>
                    <a:pt x="31" y="382"/>
                  </a:lnTo>
                  <a:lnTo>
                    <a:pt x="28" y="382"/>
                  </a:lnTo>
                  <a:lnTo>
                    <a:pt x="21" y="382"/>
                  </a:lnTo>
                  <a:lnTo>
                    <a:pt x="19" y="382"/>
                  </a:lnTo>
                  <a:lnTo>
                    <a:pt x="17" y="382"/>
                  </a:lnTo>
                  <a:lnTo>
                    <a:pt x="16" y="382"/>
                  </a:lnTo>
                  <a:lnTo>
                    <a:pt x="16" y="380"/>
                  </a:lnTo>
                  <a:lnTo>
                    <a:pt x="16" y="375"/>
                  </a:lnTo>
                  <a:lnTo>
                    <a:pt x="16" y="373"/>
                  </a:lnTo>
                  <a:lnTo>
                    <a:pt x="16" y="373"/>
                  </a:lnTo>
                  <a:lnTo>
                    <a:pt x="16" y="366"/>
                  </a:lnTo>
                  <a:lnTo>
                    <a:pt x="16" y="354"/>
                  </a:lnTo>
                  <a:lnTo>
                    <a:pt x="17" y="351"/>
                  </a:lnTo>
                  <a:lnTo>
                    <a:pt x="17" y="347"/>
                  </a:lnTo>
                  <a:lnTo>
                    <a:pt x="17" y="339"/>
                  </a:lnTo>
                  <a:lnTo>
                    <a:pt x="17" y="334"/>
                  </a:lnTo>
                  <a:lnTo>
                    <a:pt x="17" y="332"/>
                  </a:lnTo>
                  <a:lnTo>
                    <a:pt x="17" y="327"/>
                  </a:lnTo>
                  <a:lnTo>
                    <a:pt x="17" y="325"/>
                  </a:lnTo>
                  <a:lnTo>
                    <a:pt x="17" y="322"/>
                  </a:lnTo>
                  <a:lnTo>
                    <a:pt x="17" y="320"/>
                  </a:lnTo>
                  <a:lnTo>
                    <a:pt x="17" y="318"/>
                  </a:lnTo>
                  <a:lnTo>
                    <a:pt x="17" y="316"/>
                  </a:lnTo>
                  <a:lnTo>
                    <a:pt x="17" y="315"/>
                  </a:lnTo>
                  <a:lnTo>
                    <a:pt x="17" y="313"/>
                  </a:lnTo>
                  <a:lnTo>
                    <a:pt x="17" y="311"/>
                  </a:lnTo>
                  <a:lnTo>
                    <a:pt x="17" y="310"/>
                  </a:lnTo>
                  <a:lnTo>
                    <a:pt x="17" y="308"/>
                  </a:lnTo>
                  <a:lnTo>
                    <a:pt x="19" y="304"/>
                  </a:lnTo>
                  <a:lnTo>
                    <a:pt x="17" y="304"/>
                  </a:lnTo>
                  <a:lnTo>
                    <a:pt x="19" y="303"/>
                  </a:lnTo>
                  <a:lnTo>
                    <a:pt x="17" y="303"/>
                  </a:lnTo>
                  <a:lnTo>
                    <a:pt x="19" y="301"/>
                  </a:lnTo>
                  <a:lnTo>
                    <a:pt x="19" y="298"/>
                  </a:lnTo>
                  <a:lnTo>
                    <a:pt x="19" y="298"/>
                  </a:lnTo>
                  <a:lnTo>
                    <a:pt x="19" y="292"/>
                  </a:lnTo>
                  <a:lnTo>
                    <a:pt x="19" y="287"/>
                  </a:lnTo>
                  <a:lnTo>
                    <a:pt x="19" y="284"/>
                  </a:lnTo>
                  <a:lnTo>
                    <a:pt x="19" y="282"/>
                  </a:lnTo>
                  <a:lnTo>
                    <a:pt x="19" y="282"/>
                  </a:lnTo>
                  <a:lnTo>
                    <a:pt x="19" y="280"/>
                  </a:lnTo>
                  <a:lnTo>
                    <a:pt x="19" y="277"/>
                  </a:lnTo>
                  <a:lnTo>
                    <a:pt x="19" y="267"/>
                  </a:lnTo>
                  <a:lnTo>
                    <a:pt x="19" y="265"/>
                  </a:lnTo>
                  <a:lnTo>
                    <a:pt x="19" y="256"/>
                  </a:lnTo>
                  <a:lnTo>
                    <a:pt x="19" y="255"/>
                  </a:lnTo>
                  <a:lnTo>
                    <a:pt x="19" y="248"/>
                  </a:lnTo>
                  <a:lnTo>
                    <a:pt x="19" y="243"/>
                  </a:lnTo>
                  <a:lnTo>
                    <a:pt x="19" y="239"/>
                  </a:lnTo>
                  <a:lnTo>
                    <a:pt x="19" y="237"/>
                  </a:lnTo>
                  <a:lnTo>
                    <a:pt x="19" y="232"/>
                  </a:lnTo>
                  <a:lnTo>
                    <a:pt x="19" y="229"/>
                  </a:lnTo>
                  <a:lnTo>
                    <a:pt x="19" y="220"/>
                  </a:lnTo>
                  <a:lnTo>
                    <a:pt x="21" y="213"/>
                  </a:lnTo>
                  <a:lnTo>
                    <a:pt x="21" y="203"/>
                  </a:lnTo>
                  <a:lnTo>
                    <a:pt x="21" y="201"/>
                  </a:lnTo>
                  <a:lnTo>
                    <a:pt x="21" y="199"/>
                  </a:lnTo>
                  <a:lnTo>
                    <a:pt x="21" y="189"/>
                  </a:lnTo>
                  <a:lnTo>
                    <a:pt x="21" y="184"/>
                  </a:lnTo>
                  <a:lnTo>
                    <a:pt x="21" y="182"/>
                  </a:lnTo>
                  <a:lnTo>
                    <a:pt x="21" y="177"/>
                  </a:lnTo>
                  <a:lnTo>
                    <a:pt x="21" y="170"/>
                  </a:lnTo>
                  <a:lnTo>
                    <a:pt x="22" y="170"/>
                  </a:lnTo>
                  <a:lnTo>
                    <a:pt x="22" y="165"/>
                  </a:lnTo>
                  <a:lnTo>
                    <a:pt x="22" y="162"/>
                  </a:lnTo>
                  <a:lnTo>
                    <a:pt x="22" y="158"/>
                  </a:lnTo>
                  <a:lnTo>
                    <a:pt x="22" y="148"/>
                  </a:lnTo>
                  <a:lnTo>
                    <a:pt x="22" y="146"/>
                  </a:lnTo>
                  <a:lnTo>
                    <a:pt x="22" y="144"/>
                  </a:lnTo>
                  <a:lnTo>
                    <a:pt x="22" y="139"/>
                  </a:lnTo>
                  <a:lnTo>
                    <a:pt x="22" y="134"/>
                  </a:lnTo>
                  <a:lnTo>
                    <a:pt x="17" y="134"/>
                  </a:lnTo>
                  <a:lnTo>
                    <a:pt x="16" y="134"/>
                  </a:lnTo>
                  <a:lnTo>
                    <a:pt x="12" y="134"/>
                  </a:lnTo>
                  <a:lnTo>
                    <a:pt x="10" y="134"/>
                  </a:lnTo>
                  <a:lnTo>
                    <a:pt x="9" y="134"/>
                  </a:lnTo>
                  <a:lnTo>
                    <a:pt x="7" y="134"/>
                  </a:lnTo>
                  <a:lnTo>
                    <a:pt x="5" y="134"/>
                  </a:lnTo>
                  <a:lnTo>
                    <a:pt x="4" y="134"/>
                  </a:lnTo>
                  <a:lnTo>
                    <a:pt x="4" y="134"/>
                  </a:lnTo>
                  <a:lnTo>
                    <a:pt x="2" y="134"/>
                  </a:lnTo>
                  <a:lnTo>
                    <a:pt x="0" y="134"/>
                  </a:lnTo>
                  <a:lnTo>
                    <a:pt x="0" y="132"/>
                  </a:lnTo>
                  <a:lnTo>
                    <a:pt x="0" y="131"/>
                  </a:lnTo>
                  <a:lnTo>
                    <a:pt x="0" y="127"/>
                  </a:lnTo>
                  <a:lnTo>
                    <a:pt x="0" y="126"/>
                  </a:lnTo>
                  <a:lnTo>
                    <a:pt x="0" y="124"/>
                  </a:lnTo>
                  <a:lnTo>
                    <a:pt x="0" y="122"/>
                  </a:lnTo>
                  <a:lnTo>
                    <a:pt x="0" y="120"/>
                  </a:lnTo>
                  <a:lnTo>
                    <a:pt x="0" y="112"/>
                  </a:lnTo>
                  <a:lnTo>
                    <a:pt x="0" y="101"/>
                  </a:lnTo>
                  <a:lnTo>
                    <a:pt x="0" y="95"/>
                  </a:lnTo>
                  <a:lnTo>
                    <a:pt x="0" y="93"/>
                  </a:lnTo>
                  <a:lnTo>
                    <a:pt x="0" y="89"/>
                  </a:lnTo>
                  <a:lnTo>
                    <a:pt x="0" y="84"/>
                  </a:lnTo>
                  <a:lnTo>
                    <a:pt x="0" y="77"/>
                  </a:lnTo>
                  <a:lnTo>
                    <a:pt x="0" y="76"/>
                  </a:lnTo>
                  <a:lnTo>
                    <a:pt x="0" y="70"/>
                  </a:lnTo>
                  <a:lnTo>
                    <a:pt x="0" y="67"/>
                  </a:lnTo>
                  <a:lnTo>
                    <a:pt x="2" y="62"/>
                  </a:lnTo>
                  <a:lnTo>
                    <a:pt x="2" y="60"/>
                  </a:lnTo>
                  <a:lnTo>
                    <a:pt x="2" y="57"/>
                  </a:lnTo>
                  <a:lnTo>
                    <a:pt x="2" y="55"/>
                  </a:lnTo>
                  <a:lnTo>
                    <a:pt x="2" y="50"/>
                  </a:lnTo>
                  <a:lnTo>
                    <a:pt x="2" y="45"/>
                  </a:lnTo>
                  <a:lnTo>
                    <a:pt x="2" y="41"/>
                  </a:lnTo>
                  <a:lnTo>
                    <a:pt x="2" y="41"/>
                  </a:lnTo>
                  <a:lnTo>
                    <a:pt x="2" y="33"/>
                  </a:lnTo>
                  <a:lnTo>
                    <a:pt x="2" y="27"/>
                  </a:lnTo>
                  <a:lnTo>
                    <a:pt x="2" y="22"/>
                  </a:lnTo>
                  <a:lnTo>
                    <a:pt x="2" y="21"/>
                  </a:lnTo>
                  <a:lnTo>
                    <a:pt x="2" y="15"/>
                  </a:lnTo>
                  <a:lnTo>
                    <a:pt x="2" y="10"/>
                  </a:lnTo>
                  <a:lnTo>
                    <a:pt x="2" y="0"/>
                  </a:lnTo>
                  <a:lnTo>
                    <a:pt x="4" y="0"/>
                  </a:lnTo>
                  <a:lnTo>
                    <a:pt x="7" y="0"/>
                  </a:lnTo>
                  <a:lnTo>
                    <a:pt x="12" y="0"/>
                  </a:lnTo>
                  <a:lnTo>
                    <a:pt x="14" y="0"/>
                  </a:lnTo>
                  <a:lnTo>
                    <a:pt x="16" y="0"/>
                  </a:lnTo>
                  <a:lnTo>
                    <a:pt x="19" y="0"/>
                  </a:lnTo>
                  <a:lnTo>
                    <a:pt x="19" y="0"/>
                  </a:lnTo>
                  <a:lnTo>
                    <a:pt x="21" y="0"/>
                  </a:lnTo>
                  <a:lnTo>
                    <a:pt x="22" y="0"/>
                  </a:lnTo>
                  <a:lnTo>
                    <a:pt x="24" y="0"/>
                  </a:lnTo>
                  <a:lnTo>
                    <a:pt x="29" y="0"/>
                  </a:lnTo>
                  <a:lnTo>
                    <a:pt x="35" y="0"/>
                  </a:lnTo>
                  <a:lnTo>
                    <a:pt x="41" y="0"/>
                  </a:lnTo>
                  <a:lnTo>
                    <a:pt x="43" y="0"/>
                  </a:lnTo>
                  <a:lnTo>
                    <a:pt x="45" y="0"/>
                  </a:lnTo>
                  <a:lnTo>
                    <a:pt x="47" y="0"/>
                  </a:lnTo>
                  <a:lnTo>
                    <a:pt x="48" y="0"/>
                  </a:lnTo>
                  <a:lnTo>
                    <a:pt x="52" y="0"/>
                  </a:lnTo>
                  <a:lnTo>
                    <a:pt x="55" y="0"/>
                  </a:lnTo>
                  <a:lnTo>
                    <a:pt x="57" y="0"/>
                  </a:lnTo>
                  <a:lnTo>
                    <a:pt x="57" y="2"/>
                  </a:lnTo>
                  <a:lnTo>
                    <a:pt x="59" y="2"/>
                  </a:lnTo>
                  <a:lnTo>
                    <a:pt x="60" y="2"/>
                  </a:lnTo>
                  <a:lnTo>
                    <a:pt x="62" y="2"/>
                  </a:lnTo>
                  <a:lnTo>
                    <a:pt x="64" y="2"/>
                  </a:lnTo>
                  <a:lnTo>
                    <a:pt x="64" y="2"/>
                  </a:lnTo>
                  <a:lnTo>
                    <a:pt x="67" y="2"/>
                  </a:lnTo>
                  <a:lnTo>
                    <a:pt x="69" y="2"/>
                  </a:lnTo>
                  <a:lnTo>
                    <a:pt x="74" y="2"/>
                  </a:lnTo>
                  <a:lnTo>
                    <a:pt x="78" y="2"/>
                  </a:lnTo>
                  <a:lnTo>
                    <a:pt x="79" y="2"/>
                  </a:lnTo>
                  <a:lnTo>
                    <a:pt x="83" y="2"/>
                  </a:lnTo>
                  <a:lnTo>
                    <a:pt x="84" y="2"/>
                  </a:lnTo>
                  <a:lnTo>
                    <a:pt x="88" y="2"/>
                  </a:lnTo>
                  <a:lnTo>
                    <a:pt x="91" y="2"/>
                  </a:lnTo>
                  <a:lnTo>
                    <a:pt x="95" y="2"/>
                  </a:lnTo>
                  <a:lnTo>
                    <a:pt x="96" y="2"/>
                  </a:lnTo>
                  <a:lnTo>
                    <a:pt x="102" y="2"/>
                  </a:lnTo>
                  <a:lnTo>
                    <a:pt x="105" y="2"/>
                  </a:lnTo>
                  <a:lnTo>
                    <a:pt x="110" y="2"/>
                  </a:lnTo>
                  <a:lnTo>
                    <a:pt x="114" y="2"/>
                  </a:lnTo>
                  <a:lnTo>
                    <a:pt x="117" y="2"/>
                  </a:lnTo>
                  <a:lnTo>
                    <a:pt x="119" y="2"/>
                  </a:lnTo>
                  <a:lnTo>
                    <a:pt x="124" y="2"/>
                  </a:lnTo>
                  <a:lnTo>
                    <a:pt x="126" y="2"/>
                  </a:lnTo>
                  <a:lnTo>
                    <a:pt x="127" y="2"/>
                  </a:lnTo>
                  <a:lnTo>
                    <a:pt x="129" y="2"/>
                  </a:lnTo>
                  <a:lnTo>
                    <a:pt x="138" y="2"/>
                  </a:lnTo>
                  <a:lnTo>
                    <a:pt x="146" y="2"/>
                  </a:lnTo>
                  <a:lnTo>
                    <a:pt x="148" y="2"/>
                  </a:lnTo>
                  <a:lnTo>
                    <a:pt x="150" y="2"/>
                  </a:lnTo>
                  <a:lnTo>
                    <a:pt x="151" y="3"/>
                  </a:lnTo>
                  <a:lnTo>
                    <a:pt x="155" y="3"/>
                  </a:lnTo>
                  <a:lnTo>
                    <a:pt x="155" y="3"/>
                  </a:lnTo>
                  <a:lnTo>
                    <a:pt x="164" y="3"/>
                  </a:lnTo>
                  <a:lnTo>
                    <a:pt x="167" y="3"/>
                  </a:lnTo>
                  <a:lnTo>
                    <a:pt x="169" y="3"/>
                  </a:lnTo>
                  <a:lnTo>
                    <a:pt x="170" y="3"/>
                  </a:lnTo>
                  <a:lnTo>
                    <a:pt x="170" y="5"/>
                  </a:lnTo>
                  <a:lnTo>
                    <a:pt x="170" y="7"/>
                  </a:lnTo>
                  <a:lnTo>
                    <a:pt x="170" y="10"/>
                  </a:lnTo>
                  <a:lnTo>
                    <a:pt x="170" y="14"/>
                  </a:lnTo>
                  <a:lnTo>
                    <a:pt x="170" y="17"/>
                  </a:lnTo>
                  <a:lnTo>
                    <a:pt x="170" y="21"/>
                  </a:lnTo>
                  <a:lnTo>
                    <a:pt x="170" y="26"/>
                  </a:lnTo>
                  <a:lnTo>
                    <a:pt x="170" y="27"/>
                  </a:lnTo>
                  <a:lnTo>
                    <a:pt x="170" y="34"/>
                  </a:lnTo>
                  <a:lnTo>
                    <a:pt x="169" y="38"/>
                  </a:lnTo>
                  <a:lnTo>
                    <a:pt x="169" y="40"/>
                  </a:lnTo>
                  <a:lnTo>
                    <a:pt x="169" y="43"/>
                  </a:lnTo>
                  <a:lnTo>
                    <a:pt x="169" y="46"/>
                  </a:lnTo>
                  <a:lnTo>
                    <a:pt x="169" y="57"/>
                  </a:lnTo>
                  <a:lnTo>
                    <a:pt x="169" y="58"/>
                  </a:lnTo>
                  <a:lnTo>
                    <a:pt x="169" y="64"/>
                  </a:lnTo>
                  <a:lnTo>
                    <a:pt x="169" y="70"/>
                  </a:lnTo>
                  <a:lnTo>
                    <a:pt x="169" y="72"/>
                  </a:lnTo>
                  <a:lnTo>
                    <a:pt x="169" y="76"/>
                  </a:lnTo>
                  <a:lnTo>
                    <a:pt x="169" y="83"/>
                  </a:lnTo>
                  <a:lnTo>
                    <a:pt x="169" y="84"/>
                  </a:lnTo>
                  <a:lnTo>
                    <a:pt x="169" y="86"/>
                  </a:lnTo>
                  <a:lnTo>
                    <a:pt x="169" y="93"/>
                  </a:lnTo>
                  <a:lnTo>
                    <a:pt x="169" y="95"/>
                  </a:lnTo>
                  <a:lnTo>
                    <a:pt x="167" y="103"/>
                  </a:lnTo>
                  <a:lnTo>
                    <a:pt x="167" y="105"/>
                  </a:lnTo>
                  <a:lnTo>
                    <a:pt x="167" y="107"/>
                  </a:lnTo>
                  <a:lnTo>
                    <a:pt x="167" y="115"/>
                  </a:lnTo>
                  <a:lnTo>
                    <a:pt x="167" y="126"/>
                  </a:lnTo>
                  <a:lnTo>
                    <a:pt x="167" y="131"/>
                  </a:lnTo>
                  <a:lnTo>
                    <a:pt x="167" y="138"/>
                  </a:lnTo>
                  <a:lnTo>
                    <a:pt x="170" y="138"/>
                  </a:lnTo>
                  <a:lnTo>
                    <a:pt x="177" y="138"/>
                  </a:lnTo>
                  <a:lnTo>
                    <a:pt x="179" y="138"/>
                  </a:lnTo>
                  <a:lnTo>
                    <a:pt x="182" y="138"/>
                  </a:lnTo>
                  <a:lnTo>
                    <a:pt x="184" y="138"/>
                  </a:lnTo>
                  <a:lnTo>
                    <a:pt x="186" y="138"/>
                  </a:lnTo>
                  <a:lnTo>
                    <a:pt x="188" y="138"/>
                  </a:lnTo>
                  <a:lnTo>
                    <a:pt x="189" y="138"/>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7" name="Freeform 247"/>
            <p:cNvSpPr>
              <a:spLocks/>
            </p:cNvSpPr>
            <p:nvPr/>
          </p:nvSpPr>
          <p:spPr bwMode="auto">
            <a:xfrm>
              <a:off x="3537833" y="5563981"/>
              <a:ext cx="546100" cy="331788"/>
            </a:xfrm>
            <a:custGeom>
              <a:avLst/>
              <a:gdLst/>
              <a:ahLst/>
              <a:cxnLst>
                <a:cxn ang="0">
                  <a:pos x="344" y="27"/>
                </a:cxn>
                <a:cxn ang="0">
                  <a:pos x="342" y="60"/>
                </a:cxn>
                <a:cxn ang="0">
                  <a:pos x="341" y="84"/>
                </a:cxn>
                <a:cxn ang="0">
                  <a:pos x="341" y="108"/>
                </a:cxn>
                <a:cxn ang="0">
                  <a:pos x="339" y="139"/>
                </a:cxn>
                <a:cxn ang="0">
                  <a:pos x="339" y="153"/>
                </a:cxn>
                <a:cxn ang="0">
                  <a:pos x="337" y="187"/>
                </a:cxn>
                <a:cxn ang="0">
                  <a:pos x="332" y="209"/>
                </a:cxn>
                <a:cxn ang="0">
                  <a:pos x="315" y="209"/>
                </a:cxn>
                <a:cxn ang="0">
                  <a:pos x="296" y="209"/>
                </a:cxn>
                <a:cxn ang="0">
                  <a:pos x="275" y="209"/>
                </a:cxn>
                <a:cxn ang="0">
                  <a:pos x="255" y="208"/>
                </a:cxn>
                <a:cxn ang="0">
                  <a:pos x="241" y="208"/>
                </a:cxn>
                <a:cxn ang="0">
                  <a:pos x="222" y="208"/>
                </a:cxn>
                <a:cxn ang="0">
                  <a:pos x="212" y="208"/>
                </a:cxn>
                <a:cxn ang="0">
                  <a:pos x="203" y="208"/>
                </a:cxn>
                <a:cxn ang="0">
                  <a:pos x="174" y="206"/>
                </a:cxn>
                <a:cxn ang="0">
                  <a:pos x="158" y="206"/>
                </a:cxn>
                <a:cxn ang="0">
                  <a:pos x="145" y="206"/>
                </a:cxn>
                <a:cxn ang="0">
                  <a:pos x="126" y="206"/>
                </a:cxn>
                <a:cxn ang="0">
                  <a:pos x="103" y="206"/>
                </a:cxn>
                <a:cxn ang="0">
                  <a:pos x="74" y="206"/>
                </a:cxn>
                <a:cxn ang="0">
                  <a:pos x="57" y="204"/>
                </a:cxn>
                <a:cxn ang="0">
                  <a:pos x="43" y="204"/>
                </a:cxn>
                <a:cxn ang="0">
                  <a:pos x="14" y="204"/>
                </a:cxn>
                <a:cxn ang="0">
                  <a:pos x="0" y="204"/>
                </a:cxn>
                <a:cxn ang="0">
                  <a:pos x="0" y="190"/>
                </a:cxn>
                <a:cxn ang="0">
                  <a:pos x="0" y="177"/>
                </a:cxn>
                <a:cxn ang="0">
                  <a:pos x="0" y="151"/>
                </a:cxn>
                <a:cxn ang="0">
                  <a:pos x="2" y="132"/>
                </a:cxn>
                <a:cxn ang="0">
                  <a:pos x="2" y="117"/>
                </a:cxn>
                <a:cxn ang="0">
                  <a:pos x="2" y="87"/>
                </a:cxn>
                <a:cxn ang="0">
                  <a:pos x="2" y="74"/>
                </a:cxn>
                <a:cxn ang="0">
                  <a:pos x="3" y="49"/>
                </a:cxn>
                <a:cxn ang="0">
                  <a:pos x="3" y="24"/>
                </a:cxn>
                <a:cxn ang="0">
                  <a:pos x="5" y="0"/>
                </a:cxn>
                <a:cxn ang="0">
                  <a:pos x="17" y="0"/>
                </a:cxn>
                <a:cxn ang="0">
                  <a:pos x="43" y="1"/>
                </a:cxn>
                <a:cxn ang="0">
                  <a:pos x="60" y="3"/>
                </a:cxn>
                <a:cxn ang="0">
                  <a:pos x="76" y="5"/>
                </a:cxn>
                <a:cxn ang="0">
                  <a:pos x="117" y="6"/>
                </a:cxn>
                <a:cxn ang="0">
                  <a:pos x="129" y="8"/>
                </a:cxn>
                <a:cxn ang="0">
                  <a:pos x="155" y="8"/>
                </a:cxn>
                <a:cxn ang="0">
                  <a:pos x="177" y="8"/>
                </a:cxn>
                <a:cxn ang="0">
                  <a:pos x="206" y="12"/>
                </a:cxn>
                <a:cxn ang="0">
                  <a:pos x="227" y="12"/>
                </a:cxn>
                <a:cxn ang="0">
                  <a:pos x="249" y="13"/>
                </a:cxn>
                <a:cxn ang="0">
                  <a:pos x="270" y="15"/>
                </a:cxn>
                <a:cxn ang="0">
                  <a:pos x="299" y="17"/>
                </a:cxn>
                <a:cxn ang="0">
                  <a:pos x="313" y="17"/>
                </a:cxn>
                <a:cxn ang="0">
                  <a:pos x="334" y="18"/>
                </a:cxn>
                <a:cxn ang="0">
                  <a:pos x="344" y="18"/>
                </a:cxn>
              </a:cxnLst>
              <a:rect l="0" t="0" r="r" b="b"/>
              <a:pathLst>
                <a:path w="344" h="209">
                  <a:moveTo>
                    <a:pt x="344" y="18"/>
                  </a:moveTo>
                  <a:lnTo>
                    <a:pt x="344" y="18"/>
                  </a:lnTo>
                  <a:lnTo>
                    <a:pt x="344" y="18"/>
                  </a:lnTo>
                  <a:lnTo>
                    <a:pt x="344" y="20"/>
                  </a:lnTo>
                  <a:lnTo>
                    <a:pt x="344" y="27"/>
                  </a:lnTo>
                  <a:lnTo>
                    <a:pt x="344" y="30"/>
                  </a:lnTo>
                  <a:lnTo>
                    <a:pt x="344" y="37"/>
                  </a:lnTo>
                  <a:lnTo>
                    <a:pt x="344" y="46"/>
                  </a:lnTo>
                  <a:lnTo>
                    <a:pt x="342" y="51"/>
                  </a:lnTo>
                  <a:lnTo>
                    <a:pt x="342" y="60"/>
                  </a:lnTo>
                  <a:lnTo>
                    <a:pt x="342" y="61"/>
                  </a:lnTo>
                  <a:lnTo>
                    <a:pt x="342" y="63"/>
                  </a:lnTo>
                  <a:lnTo>
                    <a:pt x="342" y="67"/>
                  </a:lnTo>
                  <a:lnTo>
                    <a:pt x="342" y="75"/>
                  </a:lnTo>
                  <a:lnTo>
                    <a:pt x="341" y="84"/>
                  </a:lnTo>
                  <a:lnTo>
                    <a:pt x="342" y="84"/>
                  </a:lnTo>
                  <a:lnTo>
                    <a:pt x="341" y="92"/>
                  </a:lnTo>
                  <a:lnTo>
                    <a:pt x="341" y="94"/>
                  </a:lnTo>
                  <a:lnTo>
                    <a:pt x="341" y="96"/>
                  </a:lnTo>
                  <a:lnTo>
                    <a:pt x="341" y="108"/>
                  </a:lnTo>
                  <a:lnTo>
                    <a:pt x="341" y="113"/>
                  </a:lnTo>
                  <a:lnTo>
                    <a:pt x="341" y="113"/>
                  </a:lnTo>
                  <a:lnTo>
                    <a:pt x="341" y="117"/>
                  </a:lnTo>
                  <a:lnTo>
                    <a:pt x="339" y="127"/>
                  </a:lnTo>
                  <a:lnTo>
                    <a:pt x="339" y="139"/>
                  </a:lnTo>
                  <a:lnTo>
                    <a:pt x="339" y="144"/>
                  </a:lnTo>
                  <a:lnTo>
                    <a:pt x="339" y="146"/>
                  </a:lnTo>
                  <a:lnTo>
                    <a:pt x="339" y="147"/>
                  </a:lnTo>
                  <a:lnTo>
                    <a:pt x="339" y="151"/>
                  </a:lnTo>
                  <a:lnTo>
                    <a:pt x="339" y="153"/>
                  </a:lnTo>
                  <a:lnTo>
                    <a:pt x="337" y="158"/>
                  </a:lnTo>
                  <a:lnTo>
                    <a:pt x="337" y="172"/>
                  </a:lnTo>
                  <a:lnTo>
                    <a:pt x="337" y="175"/>
                  </a:lnTo>
                  <a:lnTo>
                    <a:pt x="337" y="178"/>
                  </a:lnTo>
                  <a:lnTo>
                    <a:pt x="337" y="187"/>
                  </a:lnTo>
                  <a:lnTo>
                    <a:pt x="335" y="203"/>
                  </a:lnTo>
                  <a:lnTo>
                    <a:pt x="335" y="206"/>
                  </a:lnTo>
                  <a:lnTo>
                    <a:pt x="335" y="208"/>
                  </a:lnTo>
                  <a:lnTo>
                    <a:pt x="335" y="209"/>
                  </a:lnTo>
                  <a:lnTo>
                    <a:pt x="332" y="209"/>
                  </a:lnTo>
                  <a:lnTo>
                    <a:pt x="330" y="209"/>
                  </a:lnTo>
                  <a:lnTo>
                    <a:pt x="325" y="209"/>
                  </a:lnTo>
                  <a:lnTo>
                    <a:pt x="322" y="209"/>
                  </a:lnTo>
                  <a:lnTo>
                    <a:pt x="320" y="209"/>
                  </a:lnTo>
                  <a:lnTo>
                    <a:pt x="315" y="209"/>
                  </a:lnTo>
                  <a:lnTo>
                    <a:pt x="313" y="209"/>
                  </a:lnTo>
                  <a:lnTo>
                    <a:pt x="313" y="209"/>
                  </a:lnTo>
                  <a:lnTo>
                    <a:pt x="311" y="209"/>
                  </a:lnTo>
                  <a:lnTo>
                    <a:pt x="306" y="209"/>
                  </a:lnTo>
                  <a:lnTo>
                    <a:pt x="296" y="209"/>
                  </a:lnTo>
                  <a:lnTo>
                    <a:pt x="294" y="209"/>
                  </a:lnTo>
                  <a:lnTo>
                    <a:pt x="287" y="209"/>
                  </a:lnTo>
                  <a:lnTo>
                    <a:pt x="286" y="209"/>
                  </a:lnTo>
                  <a:lnTo>
                    <a:pt x="277" y="209"/>
                  </a:lnTo>
                  <a:lnTo>
                    <a:pt x="275" y="209"/>
                  </a:lnTo>
                  <a:lnTo>
                    <a:pt x="270" y="209"/>
                  </a:lnTo>
                  <a:lnTo>
                    <a:pt x="268" y="209"/>
                  </a:lnTo>
                  <a:lnTo>
                    <a:pt x="261" y="209"/>
                  </a:lnTo>
                  <a:lnTo>
                    <a:pt x="256" y="208"/>
                  </a:lnTo>
                  <a:lnTo>
                    <a:pt x="255" y="208"/>
                  </a:lnTo>
                  <a:lnTo>
                    <a:pt x="253" y="208"/>
                  </a:lnTo>
                  <a:lnTo>
                    <a:pt x="251" y="208"/>
                  </a:lnTo>
                  <a:lnTo>
                    <a:pt x="248" y="208"/>
                  </a:lnTo>
                  <a:lnTo>
                    <a:pt x="244" y="208"/>
                  </a:lnTo>
                  <a:lnTo>
                    <a:pt x="241" y="208"/>
                  </a:lnTo>
                  <a:lnTo>
                    <a:pt x="239" y="208"/>
                  </a:lnTo>
                  <a:lnTo>
                    <a:pt x="231" y="208"/>
                  </a:lnTo>
                  <a:lnTo>
                    <a:pt x="229" y="208"/>
                  </a:lnTo>
                  <a:lnTo>
                    <a:pt x="225" y="208"/>
                  </a:lnTo>
                  <a:lnTo>
                    <a:pt x="222" y="208"/>
                  </a:lnTo>
                  <a:lnTo>
                    <a:pt x="220" y="208"/>
                  </a:lnTo>
                  <a:lnTo>
                    <a:pt x="218" y="208"/>
                  </a:lnTo>
                  <a:lnTo>
                    <a:pt x="217" y="208"/>
                  </a:lnTo>
                  <a:lnTo>
                    <a:pt x="215" y="208"/>
                  </a:lnTo>
                  <a:lnTo>
                    <a:pt x="212" y="208"/>
                  </a:lnTo>
                  <a:lnTo>
                    <a:pt x="210" y="208"/>
                  </a:lnTo>
                  <a:lnTo>
                    <a:pt x="208" y="208"/>
                  </a:lnTo>
                  <a:lnTo>
                    <a:pt x="206" y="208"/>
                  </a:lnTo>
                  <a:lnTo>
                    <a:pt x="205" y="208"/>
                  </a:lnTo>
                  <a:lnTo>
                    <a:pt x="203" y="208"/>
                  </a:lnTo>
                  <a:lnTo>
                    <a:pt x="189" y="208"/>
                  </a:lnTo>
                  <a:lnTo>
                    <a:pt x="188" y="208"/>
                  </a:lnTo>
                  <a:lnTo>
                    <a:pt x="179" y="208"/>
                  </a:lnTo>
                  <a:lnTo>
                    <a:pt x="177" y="208"/>
                  </a:lnTo>
                  <a:lnTo>
                    <a:pt x="174" y="206"/>
                  </a:lnTo>
                  <a:lnTo>
                    <a:pt x="170" y="206"/>
                  </a:lnTo>
                  <a:lnTo>
                    <a:pt x="169" y="206"/>
                  </a:lnTo>
                  <a:lnTo>
                    <a:pt x="163" y="206"/>
                  </a:lnTo>
                  <a:lnTo>
                    <a:pt x="160" y="206"/>
                  </a:lnTo>
                  <a:lnTo>
                    <a:pt x="158" y="206"/>
                  </a:lnTo>
                  <a:lnTo>
                    <a:pt x="151" y="206"/>
                  </a:lnTo>
                  <a:lnTo>
                    <a:pt x="150" y="206"/>
                  </a:lnTo>
                  <a:lnTo>
                    <a:pt x="148" y="206"/>
                  </a:lnTo>
                  <a:lnTo>
                    <a:pt x="146" y="206"/>
                  </a:lnTo>
                  <a:lnTo>
                    <a:pt x="145" y="206"/>
                  </a:lnTo>
                  <a:lnTo>
                    <a:pt x="143" y="206"/>
                  </a:lnTo>
                  <a:lnTo>
                    <a:pt x="132" y="206"/>
                  </a:lnTo>
                  <a:lnTo>
                    <a:pt x="131" y="206"/>
                  </a:lnTo>
                  <a:lnTo>
                    <a:pt x="127" y="206"/>
                  </a:lnTo>
                  <a:lnTo>
                    <a:pt x="126" y="206"/>
                  </a:lnTo>
                  <a:lnTo>
                    <a:pt x="114" y="206"/>
                  </a:lnTo>
                  <a:lnTo>
                    <a:pt x="110" y="206"/>
                  </a:lnTo>
                  <a:lnTo>
                    <a:pt x="108" y="206"/>
                  </a:lnTo>
                  <a:lnTo>
                    <a:pt x="105" y="206"/>
                  </a:lnTo>
                  <a:lnTo>
                    <a:pt x="103" y="206"/>
                  </a:lnTo>
                  <a:lnTo>
                    <a:pt x="102" y="206"/>
                  </a:lnTo>
                  <a:lnTo>
                    <a:pt x="88" y="206"/>
                  </a:lnTo>
                  <a:lnTo>
                    <a:pt x="88" y="206"/>
                  </a:lnTo>
                  <a:lnTo>
                    <a:pt x="86" y="206"/>
                  </a:lnTo>
                  <a:lnTo>
                    <a:pt x="74" y="206"/>
                  </a:lnTo>
                  <a:lnTo>
                    <a:pt x="72" y="206"/>
                  </a:lnTo>
                  <a:lnTo>
                    <a:pt x="71" y="206"/>
                  </a:lnTo>
                  <a:lnTo>
                    <a:pt x="60" y="206"/>
                  </a:lnTo>
                  <a:lnTo>
                    <a:pt x="59" y="206"/>
                  </a:lnTo>
                  <a:lnTo>
                    <a:pt x="57" y="204"/>
                  </a:lnTo>
                  <a:lnTo>
                    <a:pt x="53" y="204"/>
                  </a:lnTo>
                  <a:lnTo>
                    <a:pt x="50" y="204"/>
                  </a:lnTo>
                  <a:lnTo>
                    <a:pt x="46" y="204"/>
                  </a:lnTo>
                  <a:lnTo>
                    <a:pt x="43" y="204"/>
                  </a:lnTo>
                  <a:lnTo>
                    <a:pt x="43" y="204"/>
                  </a:lnTo>
                  <a:lnTo>
                    <a:pt x="41" y="204"/>
                  </a:lnTo>
                  <a:lnTo>
                    <a:pt x="40" y="204"/>
                  </a:lnTo>
                  <a:lnTo>
                    <a:pt x="38" y="204"/>
                  </a:lnTo>
                  <a:lnTo>
                    <a:pt x="36" y="204"/>
                  </a:lnTo>
                  <a:lnTo>
                    <a:pt x="14" y="204"/>
                  </a:lnTo>
                  <a:lnTo>
                    <a:pt x="12" y="204"/>
                  </a:lnTo>
                  <a:lnTo>
                    <a:pt x="10" y="204"/>
                  </a:lnTo>
                  <a:lnTo>
                    <a:pt x="9" y="204"/>
                  </a:lnTo>
                  <a:lnTo>
                    <a:pt x="0" y="204"/>
                  </a:lnTo>
                  <a:lnTo>
                    <a:pt x="0" y="204"/>
                  </a:lnTo>
                  <a:lnTo>
                    <a:pt x="0" y="199"/>
                  </a:lnTo>
                  <a:lnTo>
                    <a:pt x="0" y="197"/>
                  </a:lnTo>
                  <a:lnTo>
                    <a:pt x="0" y="194"/>
                  </a:lnTo>
                  <a:lnTo>
                    <a:pt x="0" y="192"/>
                  </a:lnTo>
                  <a:lnTo>
                    <a:pt x="0" y="190"/>
                  </a:lnTo>
                  <a:lnTo>
                    <a:pt x="0" y="189"/>
                  </a:lnTo>
                  <a:lnTo>
                    <a:pt x="0" y="187"/>
                  </a:lnTo>
                  <a:lnTo>
                    <a:pt x="0" y="185"/>
                  </a:lnTo>
                  <a:lnTo>
                    <a:pt x="0" y="178"/>
                  </a:lnTo>
                  <a:lnTo>
                    <a:pt x="0" y="177"/>
                  </a:lnTo>
                  <a:lnTo>
                    <a:pt x="0" y="175"/>
                  </a:lnTo>
                  <a:lnTo>
                    <a:pt x="0" y="168"/>
                  </a:lnTo>
                  <a:lnTo>
                    <a:pt x="0" y="166"/>
                  </a:lnTo>
                  <a:lnTo>
                    <a:pt x="0" y="161"/>
                  </a:lnTo>
                  <a:lnTo>
                    <a:pt x="0" y="151"/>
                  </a:lnTo>
                  <a:lnTo>
                    <a:pt x="2" y="144"/>
                  </a:lnTo>
                  <a:lnTo>
                    <a:pt x="2" y="141"/>
                  </a:lnTo>
                  <a:lnTo>
                    <a:pt x="2" y="137"/>
                  </a:lnTo>
                  <a:lnTo>
                    <a:pt x="2" y="135"/>
                  </a:lnTo>
                  <a:lnTo>
                    <a:pt x="2" y="132"/>
                  </a:lnTo>
                  <a:lnTo>
                    <a:pt x="2" y="129"/>
                  </a:lnTo>
                  <a:lnTo>
                    <a:pt x="2" y="129"/>
                  </a:lnTo>
                  <a:lnTo>
                    <a:pt x="2" y="127"/>
                  </a:lnTo>
                  <a:lnTo>
                    <a:pt x="2" y="122"/>
                  </a:lnTo>
                  <a:lnTo>
                    <a:pt x="2" y="117"/>
                  </a:lnTo>
                  <a:lnTo>
                    <a:pt x="2" y="108"/>
                  </a:lnTo>
                  <a:lnTo>
                    <a:pt x="2" y="101"/>
                  </a:lnTo>
                  <a:lnTo>
                    <a:pt x="2" y="98"/>
                  </a:lnTo>
                  <a:lnTo>
                    <a:pt x="2" y="91"/>
                  </a:lnTo>
                  <a:lnTo>
                    <a:pt x="2" y="87"/>
                  </a:lnTo>
                  <a:lnTo>
                    <a:pt x="2" y="86"/>
                  </a:lnTo>
                  <a:lnTo>
                    <a:pt x="2" y="82"/>
                  </a:lnTo>
                  <a:lnTo>
                    <a:pt x="2" y="80"/>
                  </a:lnTo>
                  <a:lnTo>
                    <a:pt x="2" y="75"/>
                  </a:lnTo>
                  <a:lnTo>
                    <a:pt x="2" y="74"/>
                  </a:lnTo>
                  <a:lnTo>
                    <a:pt x="2" y="70"/>
                  </a:lnTo>
                  <a:lnTo>
                    <a:pt x="2" y="68"/>
                  </a:lnTo>
                  <a:lnTo>
                    <a:pt x="2" y="67"/>
                  </a:lnTo>
                  <a:lnTo>
                    <a:pt x="2" y="65"/>
                  </a:lnTo>
                  <a:lnTo>
                    <a:pt x="3" y="49"/>
                  </a:lnTo>
                  <a:lnTo>
                    <a:pt x="3" y="46"/>
                  </a:lnTo>
                  <a:lnTo>
                    <a:pt x="3" y="44"/>
                  </a:lnTo>
                  <a:lnTo>
                    <a:pt x="3" y="37"/>
                  </a:lnTo>
                  <a:lnTo>
                    <a:pt x="3" y="25"/>
                  </a:lnTo>
                  <a:lnTo>
                    <a:pt x="3" y="24"/>
                  </a:lnTo>
                  <a:lnTo>
                    <a:pt x="3" y="22"/>
                  </a:lnTo>
                  <a:lnTo>
                    <a:pt x="3" y="12"/>
                  </a:lnTo>
                  <a:lnTo>
                    <a:pt x="3" y="8"/>
                  </a:lnTo>
                  <a:lnTo>
                    <a:pt x="3" y="0"/>
                  </a:lnTo>
                  <a:lnTo>
                    <a:pt x="5" y="0"/>
                  </a:lnTo>
                  <a:lnTo>
                    <a:pt x="7" y="0"/>
                  </a:lnTo>
                  <a:lnTo>
                    <a:pt x="12" y="0"/>
                  </a:lnTo>
                  <a:lnTo>
                    <a:pt x="12" y="0"/>
                  </a:lnTo>
                  <a:lnTo>
                    <a:pt x="14" y="0"/>
                  </a:lnTo>
                  <a:lnTo>
                    <a:pt x="17" y="0"/>
                  </a:lnTo>
                  <a:lnTo>
                    <a:pt x="21" y="1"/>
                  </a:lnTo>
                  <a:lnTo>
                    <a:pt x="28" y="1"/>
                  </a:lnTo>
                  <a:lnTo>
                    <a:pt x="36" y="1"/>
                  </a:lnTo>
                  <a:lnTo>
                    <a:pt x="41" y="1"/>
                  </a:lnTo>
                  <a:lnTo>
                    <a:pt x="43" y="1"/>
                  </a:lnTo>
                  <a:lnTo>
                    <a:pt x="45" y="1"/>
                  </a:lnTo>
                  <a:lnTo>
                    <a:pt x="52" y="3"/>
                  </a:lnTo>
                  <a:lnTo>
                    <a:pt x="57" y="3"/>
                  </a:lnTo>
                  <a:lnTo>
                    <a:pt x="59" y="3"/>
                  </a:lnTo>
                  <a:lnTo>
                    <a:pt x="60" y="3"/>
                  </a:lnTo>
                  <a:lnTo>
                    <a:pt x="62" y="3"/>
                  </a:lnTo>
                  <a:lnTo>
                    <a:pt x="64" y="3"/>
                  </a:lnTo>
                  <a:lnTo>
                    <a:pt x="71" y="3"/>
                  </a:lnTo>
                  <a:lnTo>
                    <a:pt x="72" y="3"/>
                  </a:lnTo>
                  <a:lnTo>
                    <a:pt x="76" y="5"/>
                  </a:lnTo>
                  <a:lnTo>
                    <a:pt x="84" y="5"/>
                  </a:lnTo>
                  <a:lnTo>
                    <a:pt x="98" y="5"/>
                  </a:lnTo>
                  <a:lnTo>
                    <a:pt x="105" y="6"/>
                  </a:lnTo>
                  <a:lnTo>
                    <a:pt x="107" y="6"/>
                  </a:lnTo>
                  <a:lnTo>
                    <a:pt x="117" y="6"/>
                  </a:lnTo>
                  <a:lnTo>
                    <a:pt x="119" y="6"/>
                  </a:lnTo>
                  <a:lnTo>
                    <a:pt x="124" y="6"/>
                  </a:lnTo>
                  <a:lnTo>
                    <a:pt x="126" y="6"/>
                  </a:lnTo>
                  <a:lnTo>
                    <a:pt x="127" y="8"/>
                  </a:lnTo>
                  <a:lnTo>
                    <a:pt x="129" y="8"/>
                  </a:lnTo>
                  <a:lnTo>
                    <a:pt x="139" y="8"/>
                  </a:lnTo>
                  <a:lnTo>
                    <a:pt x="141" y="8"/>
                  </a:lnTo>
                  <a:lnTo>
                    <a:pt x="146" y="8"/>
                  </a:lnTo>
                  <a:lnTo>
                    <a:pt x="153" y="8"/>
                  </a:lnTo>
                  <a:lnTo>
                    <a:pt x="155" y="8"/>
                  </a:lnTo>
                  <a:lnTo>
                    <a:pt x="158" y="8"/>
                  </a:lnTo>
                  <a:lnTo>
                    <a:pt x="160" y="8"/>
                  </a:lnTo>
                  <a:lnTo>
                    <a:pt x="163" y="8"/>
                  </a:lnTo>
                  <a:lnTo>
                    <a:pt x="172" y="8"/>
                  </a:lnTo>
                  <a:lnTo>
                    <a:pt x="177" y="8"/>
                  </a:lnTo>
                  <a:lnTo>
                    <a:pt x="184" y="10"/>
                  </a:lnTo>
                  <a:lnTo>
                    <a:pt x="189" y="10"/>
                  </a:lnTo>
                  <a:lnTo>
                    <a:pt x="191" y="10"/>
                  </a:lnTo>
                  <a:lnTo>
                    <a:pt x="206" y="10"/>
                  </a:lnTo>
                  <a:lnTo>
                    <a:pt x="206" y="12"/>
                  </a:lnTo>
                  <a:lnTo>
                    <a:pt x="208" y="12"/>
                  </a:lnTo>
                  <a:lnTo>
                    <a:pt x="210" y="12"/>
                  </a:lnTo>
                  <a:lnTo>
                    <a:pt x="212" y="12"/>
                  </a:lnTo>
                  <a:lnTo>
                    <a:pt x="217" y="12"/>
                  </a:lnTo>
                  <a:lnTo>
                    <a:pt x="227" y="12"/>
                  </a:lnTo>
                  <a:lnTo>
                    <a:pt x="231" y="12"/>
                  </a:lnTo>
                  <a:lnTo>
                    <a:pt x="234" y="12"/>
                  </a:lnTo>
                  <a:lnTo>
                    <a:pt x="239" y="13"/>
                  </a:lnTo>
                  <a:lnTo>
                    <a:pt x="248" y="13"/>
                  </a:lnTo>
                  <a:lnTo>
                    <a:pt x="249" y="13"/>
                  </a:lnTo>
                  <a:lnTo>
                    <a:pt x="253" y="13"/>
                  </a:lnTo>
                  <a:lnTo>
                    <a:pt x="255" y="13"/>
                  </a:lnTo>
                  <a:lnTo>
                    <a:pt x="263" y="13"/>
                  </a:lnTo>
                  <a:lnTo>
                    <a:pt x="267" y="15"/>
                  </a:lnTo>
                  <a:lnTo>
                    <a:pt x="270" y="15"/>
                  </a:lnTo>
                  <a:lnTo>
                    <a:pt x="274" y="15"/>
                  </a:lnTo>
                  <a:lnTo>
                    <a:pt x="277" y="15"/>
                  </a:lnTo>
                  <a:lnTo>
                    <a:pt x="284" y="15"/>
                  </a:lnTo>
                  <a:lnTo>
                    <a:pt x="289" y="15"/>
                  </a:lnTo>
                  <a:lnTo>
                    <a:pt x="299" y="17"/>
                  </a:lnTo>
                  <a:lnTo>
                    <a:pt x="304" y="17"/>
                  </a:lnTo>
                  <a:lnTo>
                    <a:pt x="308" y="17"/>
                  </a:lnTo>
                  <a:lnTo>
                    <a:pt x="310" y="17"/>
                  </a:lnTo>
                  <a:lnTo>
                    <a:pt x="311" y="17"/>
                  </a:lnTo>
                  <a:lnTo>
                    <a:pt x="313" y="17"/>
                  </a:lnTo>
                  <a:lnTo>
                    <a:pt x="325" y="18"/>
                  </a:lnTo>
                  <a:lnTo>
                    <a:pt x="329" y="18"/>
                  </a:lnTo>
                  <a:lnTo>
                    <a:pt x="330" y="18"/>
                  </a:lnTo>
                  <a:lnTo>
                    <a:pt x="332" y="18"/>
                  </a:lnTo>
                  <a:lnTo>
                    <a:pt x="334" y="18"/>
                  </a:lnTo>
                  <a:lnTo>
                    <a:pt x="335" y="18"/>
                  </a:lnTo>
                  <a:lnTo>
                    <a:pt x="337" y="18"/>
                  </a:lnTo>
                  <a:lnTo>
                    <a:pt x="341" y="18"/>
                  </a:lnTo>
                  <a:lnTo>
                    <a:pt x="342" y="18"/>
                  </a:lnTo>
                  <a:lnTo>
                    <a:pt x="344" y="18"/>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8" name="Freeform 223"/>
            <p:cNvSpPr>
              <a:spLocks/>
            </p:cNvSpPr>
            <p:nvPr/>
          </p:nvSpPr>
          <p:spPr bwMode="auto">
            <a:xfrm>
              <a:off x="4075996" y="4574969"/>
              <a:ext cx="458788" cy="371475"/>
            </a:xfrm>
            <a:custGeom>
              <a:avLst/>
              <a:gdLst/>
              <a:ahLst/>
              <a:cxnLst>
                <a:cxn ang="0">
                  <a:pos x="287" y="26"/>
                </a:cxn>
                <a:cxn ang="0">
                  <a:pos x="287" y="39"/>
                </a:cxn>
                <a:cxn ang="0">
                  <a:pos x="287" y="60"/>
                </a:cxn>
                <a:cxn ang="0">
                  <a:pos x="285" y="74"/>
                </a:cxn>
                <a:cxn ang="0">
                  <a:pos x="285" y="81"/>
                </a:cxn>
                <a:cxn ang="0">
                  <a:pos x="284" y="113"/>
                </a:cxn>
                <a:cxn ang="0">
                  <a:pos x="284" y="127"/>
                </a:cxn>
                <a:cxn ang="0">
                  <a:pos x="284" y="137"/>
                </a:cxn>
                <a:cxn ang="0">
                  <a:pos x="284" y="148"/>
                </a:cxn>
                <a:cxn ang="0">
                  <a:pos x="282" y="163"/>
                </a:cxn>
                <a:cxn ang="0">
                  <a:pos x="282" y="186"/>
                </a:cxn>
                <a:cxn ang="0">
                  <a:pos x="282" y="201"/>
                </a:cxn>
                <a:cxn ang="0">
                  <a:pos x="280" y="215"/>
                </a:cxn>
                <a:cxn ang="0">
                  <a:pos x="280" y="223"/>
                </a:cxn>
                <a:cxn ang="0">
                  <a:pos x="280" y="232"/>
                </a:cxn>
                <a:cxn ang="0">
                  <a:pos x="272" y="234"/>
                </a:cxn>
                <a:cxn ang="0">
                  <a:pos x="254" y="234"/>
                </a:cxn>
                <a:cxn ang="0">
                  <a:pos x="234" y="232"/>
                </a:cxn>
                <a:cxn ang="0">
                  <a:pos x="223" y="232"/>
                </a:cxn>
                <a:cxn ang="0">
                  <a:pos x="213" y="232"/>
                </a:cxn>
                <a:cxn ang="0">
                  <a:pos x="203" y="230"/>
                </a:cxn>
                <a:cxn ang="0">
                  <a:pos x="194" y="230"/>
                </a:cxn>
                <a:cxn ang="0">
                  <a:pos x="179" y="230"/>
                </a:cxn>
                <a:cxn ang="0">
                  <a:pos x="160" y="229"/>
                </a:cxn>
                <a:cxn ang="0">
                  <a:pos x="146" y="229"/>
                </a:cxn>
                <a:cxn ang="0">
                  <a:pos x="125" y="229"/>
                </a:cxn>
                <a:cxn ang="0">
                  <a:pos x="112" y="229"/>
                </a:cxn>
                <a:cxn ang="0">
                  <a:pos x="94" y="227"/>
                </a:cxn>
                <a:cxn ang="0">
                  <a:pos x="81" y="227"/>
                </a:cxn>
                <a:cxn ang="0">
                  <a:pos x="65" y="227"/>
                </a:cxn>
                <a:cxn ang="0">
                  <a:pos x="45" y="225"/>
                </a:cxn>
                <a:cxn ang="0">
                  <a:pos x="31" y="225"/>
                </a:cxn>
                <a:cxn ang="0">
                  <a:pos x="7" y="223"/>
                </a:cxn>
                <a:cxn ang="0">
                  <a:pos x="0" y="199"/>
                </a:cxn>
                <a:cxn ang="0">
                  <a:pos x="2" y="187"/>
                </a:cxn>
                <a:cxn ang="0">
                  <a:pos x="2" y="160"/>
                </a:cxn>
                <a:cxn ang="0">
                  <a:pos x="3" y="143"/>
                </a:cxn>
                <a:cxn ang="0">
                  <a:pos x="5" y="113"/>
                </a:cxn>
                <a:cxn ang="0">
                  <a:pos x="5" y="79"/>
                </a:cxn>
                <a:cxn ang="0">
                  <a:pos x="5" y="58"/>
                </a:cxn>
                <a:cxn ang="0">
                  <a:pos x="5" y="24"/>
                </a:cxn>
                <a:cxn ang="0">
                  <a:pos x="7" y="3"/>
                </a:cxn>
                <a:cxn ang="0">
                  <a:pos x="19" y="1"/>
                </a:cxn>
                <a:cxn ang="0">
                  <a:pos x="46" y="1"/>
                </a:cxn>
                <a:cxn ang="0">
                  <a:pos x="81" y="3"/>
                </a:cxn>
                <a:cxn ang="0">
                  <a:pos x="100" y="3"/>
                </a:cxn>
                <a:cxn ang="0">
                  <a:pos x="129" y="5"/>
                </a:cxn>
                <a:cxn ang="0">
                  <a:pos x="153" y="5"/>
                </a:cxn>
                <a:cxn ang="0">
                  <a:pos x="179" y="7"/>
                </a:cxn>
                <a:cxn ang="0">
                  <a:pos x="199" y="7"/>
                </a:cxn>
                <a:cxn ang="0">
                  <a:pos x="222" y="8"/>
                </a:cxn>
                <a:cxn ang="0">
                  <a:pos x="237" y="8"/>
                </a:cxn>
                <a:cxn ang="0">
                  <a:pos x="256" y="10"/>
                </a:cxn>
                <a:cxn ang="0">
                  <a:pos x="273" y="10"/>
                </a:cxn>
              </a:cxnLst>
              <a:rect l="0" t="0" r="r" b="b"/>
              <a:pathLst>
                <a:path w="289" h="234">
                  <a:moveTo>
                    <a:pt x="289" y="10"/>
                  </a:moveTo>
                  <a:lnTo>
                    <a:pt x="289" y="14"/>
                  </a:lnTo>
                  <a:lnTo>
                    <a:pt x="289" y="14"/>
                  </a:lnTo>
                  <a:lnTo>
                    <a:pt x="289" y="17"/>
                  </a:lnTo>
                  <a:lnTo>
                    <a:pt x="287" y="26"/>
                  </a:lnTo>
                  <a:lnTo>
                    <a:pt x="287" y="27"/>
                  </a:lnTo>
                  <a:lnTo>
                    <a:pt x="287" y="32"/>
                  </a:lnTo>
                  <a:lnTo>
                    <a:pt x="287" y="36"/>
                  </a:lnTo>
                  <a:lnTo>
                    <a:pt x="287" y="38"/>
                  </a:lnTo>
                  <a:lnTo>
                    <a:pt x="287" y="39"/>
                  </a:lnTo>
                  <a:lnTo>
                    <a:pt x="287" y="46"/>
                  </a:lnTo>
                  <a:lnTo>
                    <a:pt x="287" y="50"/>
                  </a:lnTo>
                  <a:lnTo>
                    <a:pt x="287" y="55"/>
                  </a:lnTo>
                  <a:lnTo>
                    <a:pt x="287" y="57"/>
                  </a:lnTo>
                  <a:lnTo>
                    <a:pt x="287" y="60"/>
                  </a:lnTo>
                  <a:lnTo>
                    <a:pt x="287" y="63"/>
                  </a:lnTo>
                  <a:lnTo>
                    <a:pt x="285" y="63"/>
                  </a:lnTo>
                  <a:lnTo>
                    <a:pt x="285" y="67"/>
                  </a:lnTo>
                  <a:lnTo>
                    <a:pt x="285" y="72"/>
                  </a:lnTo>
                  <a:lnTo>
                    <a:pt x="285" y="74"/>
                  </a:lnTo>
                  <a:lnTo>
                    <a:pt x="285" y="74"/>
                  </a:lnTo>
                  <a:lnTo>
                    <a:pt x="285" y="75"/>
                  </a:lnTo>
                  <a:lnTo>
                    <a:pt x="285" y="77"/>
                  </a:lnTo>
                  <a:lnTo>
                    <a:pt x="285" y="79"/>
                  </a:lnTo>
                  <a:lnTo>
                    <a:pt x="285" y="81"/>
                  </a:lnTo>
                  <a:lnTo>
                    <a:pt x="285" y="82"/>
                  </a:lnTo>
                  <a:lnTo>
                    <a:pt x="285" y="100"/>
                  </a:lnTo>
                  <a:lnTo>
                    <a:pt x="285" y="105"/>
                  </a:lnTo>
                  <a:lnTo>
                    <a:pt x="284" y="112"/>
                  </a:lnTo>
                  <a:lnTo>
                    <a:pt x="284" y="113"/>
                  </a:lnTo>
                  <a:lnTo>
                    <a:pt x="284" y="115"/>
                  </a:lnTo>
                  <a:lnTo>
                    <a:pt x="284" y="117"/>
                  </a:lnTo>
                  <a:lnTo>
                    <a:pt x="284" y="118"/>
                  </a:lnTo>
                  <a:lnTo>
                    <a:pt x="284" y="122"/>
                  </a:lnTo>
                  <a:lnTo>
                    <a:pt x="284" y="127"/>
                  </a:lnTo>
                  <a:lnTo>
                    <a:pt x="284" y="131"/>
                  </a:lnTo>
                  <a:lnTo>
                    <a:pt x="284" y="132"/>
                  </a:lnTo>
                  <a:lnTo>
                    <a:pt x="284" y="134"/>
                  </a:lnTo>
                  <a:lnTo>
                    <a:pt x="284" y="136"/>
                  </a:lnTo>
                  <a:lnTo>
                    <a:pt x="284" y="137"/>
                  </a:lnTo>
                  <a:lnTo>
                    <a:pt x="284" y="139"/>
                  </a:lnTo>
                  <a:lnTo>
                    <a:pt x="284" y="143"/>
                  </a:lnTo>
                  <a:lnTo>
                    <a:pt x="284" y="144"/>
                  </a:lnTo>
                  <a:lnTo>
                    <a:pt x="284" y="148"/>
                  </a:lnTo>
                  <a:lnTo>
                    <a:pt x="284" y="148"/>
                  </a:lnTo>
                  <a:lnTo>
                    <a:pt x="284" y="153"/>
                  </a:lnTo>
                  <a:lnTo>
                    <a:pt x="282" y="155"/>
                  </a:lnTo>
                  <a:lnTo>
                    <a:pt x="282" y="160"/>
                  </a:lnTo>
                  <a:lnTo>
                    <a:pt x="282" y="163"/>
                  </a:lnTo>
                  <a:lnTo>
                    <a:pt x="282" y="163"/>
                  </a:lnTo>
                  <a:lnTo>
                    <a:pt x="282" y="167"/>
                  </a:lnTo>
                  <a:lnTo>
                    <a:pt x="282" y="168"/>
                  </a:lnTo>
                  <a:lnTo>
                    <a:pt x="282" y="172"/>
                  </a:lnTo>
                  <a:lnTo>
                    <a:pt x="282" y="184"/>
                  </a:lnTo>
                  <a:lnTo>
                    <a:pt x="282" y="186"/>
                  </a:lnTo>
                  <a:lnTo>
                    <a:pt x="282" y="187"/>
                  </a:lnTo>
                  <a:lnTo>
                    <a:pt x="282" y="189"/>
                  </a:lnTo>
                  <a:lnTo>
                    <a:pt x="282" y="196"/>
                  </a:lnTo>
                  <a:lnTo>
                    <a:pt x="282" y="199"/>
                  </a:lnTo>
                  <a:lnTo>
                    <a:pt x="282" y="201"/>
                  </a:lnTo>
                  <a:lnTo>
                    <a:pt x="282" y="204"/>
                  </a:lnTo>
                  <a:lnTo>
                    <a:pt x="282" y="206"/>
                  </a:lnTo>
                  <a:lnTo>
                    <a:pt x="280" y="208"/>
                  </a:lnTo>
                  <a:lnTo>
                    <a:pt x="280" y="208"/>
                  </a:lnTo>
                  <a:lnTo>
                    <a:pt x="280" y="215"/>
                  </a:lnTo>
                  <a:lnTo>
                    <a:pt x="280" y="217"/>
                  </a:lnTo>
                  <a:lnTo>
                    <a:pt x="280" y="220"/>
                  </a:lnTo>
                  <a:lnTo>
                    <a:pt x="280" y="222"/>
                  </a:lnTo>
                  <a:lnTo>
                    <a:pt x="280" y="223"/>
                  </a:lnTo>
                  <a:lnTo>
                    <a:pt x="280" y="223"/>
                  </a:lnTo>
                  <a:lnTo>
                    <a:pt x="280" y="225"/>
                  </a:lnTo>
                  <a:lnTo>
                    <a:pt x="280" y="227"/>
                  </a:lnTo>
                  <a:lnTo>
                    <a:pt x="280" y="229"/>
                  </a:lnTo>
                  <a:lnTo>
                    <a:pt x="280" y="230"/>
                  </a:lnTo>
                  <a:lnTo>
                    <a:pt x="280" y="232"/>
                  </a:lnTo>
                  <a:lnTo>
                    <a:pt x="280" y="234"/>
                  </a:lnTo>
                  <a:lnTo>
                    <a:pt x="279" y="234"/>
                  </a:lnTo>
                  <a:lnTo>
                    <a:pt x="277" y="234"/>
                  </a:lnTo>
                  <a:lnTo>
                    <a:pt x="275" y="234"/>
                  </a:lnTo>
                  <a:lnTo>
                    <a:pt x="272" y="234"/>
                  </a:lnTo>
                  <a:lnTo>
                    <a:pt x="265" y="234"/>
                  </a:lnTo>
                  <a:lnTo>
                    <a:pt x="261" y="234"/>
                  </a:lnTo>
                  <a:lnTo>
                    <a:pt x="258" y="234"/>
                  </a:lnTo>
                  <a:lnTo>
                    <a:pt x="256" y="234"/>
                  </a:lnTo>
                  <a:lnTo>
                    <a:pt x="254" y="234"/>
                  </a:lnTo>
                  <a:lnTo>
                    <a:pt x="251" y="234"/>
                  </a:lnTo>
                  <a:lnTo>
                    <a:pt x="248" y="232"/>
                  </a:lnTo>
                  <a:lnTo>
                    <a:pt x="246" y="232"/>
                  </a:lnTo>
                  <a:lnTo>
                    <a:pt x="237" y="232"/>
                  </a:lnTo>
                  <a:lnTo>
                    <a:pt x="234" y="232"/>
                  </a:lnTo>
                  <a:lnTo>
                    <a:pt x="232" y="232"/>
                  </a:lnTo>
                  <a:lnTo>
                    <a:pt x="230" y="232"/>
                  </a:lnTo>
                  <a:lnTo>
                    <a:pt x="229" y="232"/>
                  </a:lnTo>
                  <a:lnTo>
                    <a:pt x="225" y="232"/>
                  </a:lnTo>
                  <a:lnTo>
                    <a:pt x="223" y="232"/>
                  </a:lnTo>
                  <a:lnTo>
                    <a:pt x="222" y="232"/>
                  </a:lnTo>
                  <a:lnTo>
                    <a:pt x="217" y="232"/>
                  </a:lnTo>
                  <a:lnTo>
                    <a:pt x="217" y="232"/>
                  </a:lnTo>
                  <a:lnTo>
                    <a:pt x="215" y="232"/>
                  </a:lnTo>
                  <a:lnTo>
                    <a:pt x="213" y="232"/>
                  </a:lnTo>
                  <a:lnTo>
                    <a:pt x="211" y="232"/>
                  </a:lnTo>
                  <a:lnTo>
                    <a:pt x="210" y="232"/>
                  </a:lnTo>
                  <a:lnTo>
                    <a:pt x="208" y="232"/>
                  </a:lnTo>
                  <a:lnTo>
                    <a:pt x="206" y="230"/>
                  </a:lnTo>
                  <a:lnTo>
                    <a:pt x="203" y="230"/>
                  </a:lnTo>
                  <a:lnTo>
                    <a:pt x="201" y="230"/>
                  </a:lnTo>
                  <a:lnTo>
                    <a:pt x="199" y="230"/>
                  </a:lnTo>
                  <a:lnTo>
                    <a:pt x="198" y="230"/>
                  </a:lnTo>
                  <a:lnTo>
                    <a:pt x="196" y="230"/>
                  </a:lnTo>
                  <a:lnTo>
                    <a:pt x="194" y="230"/>
                  </a:lnTo>
                  <a:lnTo>
                    <a:pt x="189" y="230"/>
                  </a:lnTo>
                  <a:lnTo>
                    <a:pt x="187" y="230"/>
                  </a:lnTo>
                  <a:lnTo>
                    <a:pt x="186" y="230"/>
                  </a:lnTo>
                  <a:lnTo>
                    <a:pt x="184" y="230"/>
                  </a:lnTo>
                  <a:lnTo>
                    <a:pt x="179" y="230"/>
                  </a:lnTo>
                  <a:lnTo>
                    <a:pt x="172" y="230"/>
                  </a:lnTo>
                  <a:lnTo>
                    <a:pt x="167" y="230"/>
                  </a:lnTo>
                  <a:lnTo>
                    <a:pt x="163" y="230"/>
                  </a:lnTo>
                  <a:lnTo>
                    <a:pt x="162" y="230"/>
                  </a:lnTo>
                  <a:lnTo>
                    <a:pt x="160" y="229"/>
                  </a:lnTo>
                  <a:lnTo>
                    <a:pt x="156" y="229"/>
                  </a:lnTo>
                  <a:lnTo>
                    <a:pt x="155" y="229"/>
                  </a:lnTo>
                  <a:lnTo>
                    <a:pt x="153" y="229"/>
                  </a:lnTo>
                  <a:lnTo>
                    <a:pt x="148" y="229"/>
                  </a:lnTo>
                  <a:lnTo>
                    <a:pt x="146" y="229"/>
                  </a:lnTo>
                  <a:lnTo>
                    <a:pt x="141" y="229"/>
                  </a:lnTo>
                  <a:lnTo>
                    <a:pt x="134" y="229"/>
                  </a:lnTo>
                  <a:lnTo>
                    <a:pt x="129" y="229"/>
                  </a:lnTo>
                  <a:lnTo>
                    <a:pt x="127" y="229"/>
                  </a:lnTo>
                  <a:lnTo>
                    <a:pt x="125" y="229"/>
                  </a:lnTo>
                  <a:lnTo>
                    <a:pt x="124" y="229"/>
                  </a:lnTo>
                  <a:lnTo>
                    <a:pt x="122" y="229"/>
                  </a:lnTo>
                  <a:lnTo>
                    <a:pt x="115" y="229"/>
                  </a:lnTo>
                  <a:lnTo>
                    <a:pt x="113" y="229"/>
                  </a:lnTo>
                  <a:lnTo>
                    <a:pt x="112" y="229"/>
                  </a:lnTo>
                  <a:lnTo>
                    <a:pt x="108" y="229"/>
                  </a:lnTo>
                  <a:lnTo>
                    <a:pt x="107" y="227"/>
                  </a:lnTo>
                  <a:lnTo>
                    <a:pt x="103" y="227"/>
                  </a:lnTo>
                  <a:lnTo>
                    <a:pt x="101" y="227"/>
                  </a:lnTo>
                  <a:lnTo>
                    <a:pt x="94" y="227"/>
                  </a:lnTo>
                  <a:lnTo>
                    <a:pt x="86" y="227"/>
                  </a:lnTo>
                  <a:lnTo>
                    <a:pt x="84" y="227"/>
                  </a:lnTo>
                  <a:lnTo>
                    <a:pt x="82" y="227"/>
                  </a:lnTo>
                  <a:lnTo>
                    <a:pt x="81" y="227"/>
                  </a:lnTo>
                  <a:lnTo>
                    <a:pt x="81" y="227"/>
                  </a:lnTo>
                  <a:lnTo>
                    <a:pt x="79" y="227"/>
                  </a:lnTo>
                  <a:lnTo>
                    <a:pt x="76" y="227"/>
                  </a:lnTo>
                  <a:lnTo>
                    <a:pt x="74" y="227"/>
                  </a:lnTo>
                  <a:lnTo>
                    <a:pt x="72" y="227"/>
                  </a:lnTo>
                  <a:lnTo>
                    <a:pt x="65" y="227"/>
                  </a:lnTo>
                  <a:lnTo>
                    <a:pt x="64" y="227"/>
                  </a:lnTo>
                  <a:lnTo>
                    <a:pt x="55" y="227"/>
                  </a:lnTo>
                  <a:lnTo>
                    <a:pt x="51" y="225"/>
                  </a:lnTo>
                  <a:lnTo>
                    <a:pt x="50" y="225"/>
                  </a:lnTo>
                  <a:lnTo>
                    <a:pt x="45" y="225"/>
                  </a:lnTo>
                  <a:lnTo>
                    <a:pt x="41" y="225"/>
                  </a:lnTo>
                  <a:lnTo>
                    <a:pt x="39" y="225"/>
                  </a:lnTo>
                  <a:lnTo>
                    <a:pt x="34" y="225"/>
                  </a:lnTo>
                  <a:lnTo>
                    <a:pt x="33" y="225"/>
                  </a:lnTo>
                  <a:lnTo>
                    <a:pt x="31" y="225"/>
                  </a:lnTo>
                  <a:lnTo>
                    <a:pt x="21" y="225"/>
                  </a:lnTo>
                  <a:lnTo>
                    <a:pt x="19" y="225"/>
                  </a:lnTo>
                  <a:lnTo>
                    <a:pt x="15" y="225"/>
                  </a:lnTo>
                  <a:lnTo>
                    <a:pt x="10" y="223"/>
                  </a:lnTo>
                  <a:lnTo>
                    <a:pt x="7" y="223"/>
                  </a:lnTo>
                  <a:lnTo>
                    <a:pt x="0" y="223"/>
                  </a:lnTo>
                  <a:lnTo>
                    <a:pt x="0" y="213"/>
                  </a:lnTo>
                  <a:lnTo>
                    <a:pt x="0" y="210"/>
                  </a:lnTo>
                  <a:lnTo>
                    <a:pt x="0" y="203"/>
                  </a:lnTo>
                  <a:lnTo>
                    <a:pt x="0" y="199"/>
                  </a:lnTo>
                  <a:lnTo>
                    <a:pt x="0" y="196"/>
                  </a:lnTo>
                  <a:lnTo>
                    <a:pt x="2" y="194"/>
                  </a:lnTo>
                  <a:lnTo>
                    <a:pt x="2" y="192"/>
                  </a:lnTo>
                  <a:lnTo>
                    <a:pt x="2" y="191"/>
                  </a:lnTo>
                  <a:lnTo>
                    <a:pt x="2" y="187"/>
                  </a:lnTo>
                  <a:lnTo>
                    <a:pt x="2" y="186"/>
                  </a:lnTo>
                  <a:lnTo>
                    <a:pt x="2" y="179"/>
                  </a:lnTo>
                  <a:lnTo>
                    <a:pt x="2" y="174"/>
                  </a:lnTo>
                  <a:lnTo>
                    <a:pt x="2" y="165"/>
                  </a:lnTo>
                  <a:lnTo>
                    <a:pt x="2" y="160"/>
                  </a:lnTo>
                  <a:lnTo>
                    <a:pt x="2" y="158"/>
                  </a:lnTo>
                  <a:lnTo>
                    <a:pt x="3" y="158"/>
                  </a:lnTo>
                  <a:lnTo>
                    <a:pt x="3" y="151"/>
                  </a:lnTo>
                  <a:lnTo>
                    <a:pt x="3" y="146"/>
                  </a:lnTo>
                  <a:lnTo>
                    <a:pt x="3" y="143"/>
                  </a:lnTo>
                  <a:lnTo>
                    <a:pt x="3" y="134"/>
                  </a:lnTo>
                  <a:lnTo>
                    <a:pt x="3" y="127"/>
                  </a:lnTo>
                  <a:lnTo>
                    <a:pt x="5" y="118"/>
                  </a:lnTo>
                  <a:lnTo>
                    <a:pt x="3" y="118"/>
                  </a:lnTo>
                  <a:lnTo>
                    <a:pt x="5" y="113"/>
                  </a:lnTo>
                  <a:lnTo>
                    <a:pt x="5" y="103"/>
                  </a:lnTo>
                  <a:lnTo>
                    <a:pt x="5" y="101"/>
                  </a:lnTo>
                  <a:lnTo>
                    <a:pt x="5" y="89"/>
                  </a:lnTo>
                  <a:lnTo>
                    <a:pt x="5" y="82"/>
                  </a:lnTo>
                  <a:lnTo>
                    <a:pt x="5" y="79"/>
                  </a:lnTo>
                  <a:lnTo>
                    <a:pt x="5" y="75"/>
                  </a:lnTo>
                  <a:lnTo>
                    <a:pt x="5" y="69"/>
                  </a:lnTo>
                  <a:lnTo>
                    <a:pt x="5" y="65"/>
                  </a:lnTo>
                  <a:lnTo>
                    <a:pt x="5" y="63"/>
                  </a:lnTo>
                  <a:lnTo>
                    <a:pt x="5" y="58"/>
                  </a:lnTo>
                  <a:lnTo>
                    <a:pt x="5" y="46"/>
                  </a:lnTo>
                  <a:lnTo>
                    <a:pt x="5" y="38"/>
                  </a:lnTo>
                  <a:lnTo>
                    <a:pt x="5" y="34"/>
                  </a:lnTo>
                  <a:lnTo>
                    <a:pt x="5" y="31"/>
                  </a:lnTo>
                  <a:lnTo>
                    <a:pt x="5" y="24"/>
                  </a:lnTo>
                  <a:lnTo>
                    <a:pt x="7" y="14"/>
                  </a:lnTo>
                  <a:lnTo>
                    <a:pt x="7" y="14"/>
                  </a:lnTo>
                  <a:lnTo>
                    <a:pt x="7" y="10"/>
                  </a:lnTo>
                  <a:lnTo>
                    <a:pt x="7" y="7"/>
                  </a:lnTo>
                  <a:lnTo>
                    <a:pt x="7" y="3"/>
                  </a:lnTo>
                  <a:lnTo>
                    <a:pt x="7" y="1"/>
                  </a:lnTo>
                  <a:lnTo>
                    <a:pt x="7" y="0"/>
                  </a:lnTo>
                  <a:lnTo>
                    <a:pt x="14" y="1"/>
                  </a:lnTo>
                  <a:lnTo>
                    <a:pt x="17" y="1"/>
                  </a:lnTo>
                  <a:lnTo>
                    <a:pt x="19" y="1"/>
                  </a:lnTo>
                  <a:lnTo>
                    <a:pt x="21" y="1"/>
                  </a:lnTo>
                  <a:lnTo>
                    <a:pt x="26" y="1"/>
                  </a:lnTo>
                  <a:lnTo>
                    <a:pt x="29" y="1"/>
                  </a:lnTo>
                  <a:lnTo>
                    <a:pt x="34" y="1"/>
                  </a:lnTo>
                  <a:lnTo>
                    <a:pt x="46" y="1"/>
                  </a:lnTo>
                  <a:lnTo>
                    <a:pt x="53" y="3"/>
                  </a:lnTo>
                  <a:lnTo>
                    <a:pt x="64" y="3"/>
                  </a:lnTo>
                  <a:lnTo>
                    <a:pt x="70" y="3"/>
                  </a:lnTo>
                  <a:lnTo>
                    <a:pt x="74" y="3"/>
                  </a:lnTo>
                  <a:lnTo>
                    <a:pt x="81" y="3"/>
                  </a:lnTo>
                  <a:lnTo>
                    <a:pt x="82" y="3"/>
                  </a:lnTo>
                  <a:lnTo>
                    <a:pt x="84" y="3"/>
                  </a:lnTo>
                  <a:lnTo>
                    <a:pt x="86" y="3"/>
                  </a:lnTo>
                  <a:lnTo>
                    <a:pt x="88" y="3"/>
                  </a:lnTo>
                  <a:lnTo>
                    <a:pt x="100" y="3"/>
                  </a:lnTo>
                  <a:lnTo>
                    <a:pt x="101" y="3"/>
                  </a:lnTo>
                  <a:lnTo>
                    <a:pt x="110" y="3"/>
                  </a:lnTo>
                  <a:lnTo>
                    <a:pt x="119" y="5"/>
                  </a:lnTo>
                  <a:lnTo>
                    <a:pt x="125" y="5"/>
                  </a:lnTo>
                  <a:lnTo>
                    <a:pt x="129" y="5"/>
                  </a:lnTo>
                  <a:lnTo>
                    <a:pt x="131" y="5"/>
                  </a:lnTo>
                  <a:lnTo>
                    <a:pt x="141" y="5"/>
                  </a:lnTo>
                  <a:lnTo>
                    <a:pt x="144" y="5"/>
                  </a:lnTo>
                  <a:lnTo>
                    <a:pt x="150" y="5"/>
                  </a:lnTo>
                  <a:lnTo>
                    <a:pt x="153" y="5"/>
                  </a:lnTo>
                  <a:lnTo>
                    <a:pt x="158" y="5"/>
                  </a:lnTo>
                  <a:lnTo>
                    <a:pt x="165" y="5"/>
                  </a:lnTo>
                  <a:lnTo>
                    <a:pt x="175" y="7"/>
                  </a:lnTo>
                  <a:lnTo>
                    <a:pt x="177" y="7"/>
                  </a:lnTo>
                  <a:lnTo>
                    <a:pt x="179" y="7"/>
                  </a:lnTo>
                  <a:lnTo>
                    <a:pt x="186" y="7"/>
                  </a:lnTo>
                  <a:lnTo>
                    <a:pt x="189" y="7"/>
                  </a:lnTo>
                  <a:lnTo>
                    <a:pt x="191" y="7"/>
                  </a:lnTo>
                  <a:lnTo>
                    <a:pt x="198" y="7"/>
                  </a:lnTo>
                  <a:lnTo>
                    <a:pt x="199" y="7"/>
                  </a:lnTo>
                  <a:lnTo>
                    <a:pt x="206" y="7"/>
                  </a:lnTo>
                  <a:lnTo>
                    <a:pt x="215" y="8"/>
                  </a:lnTo>
                  <a:lnTo>
                    <a:pt x="217" y="8"/>
                  </a:lnTo>
                  <a:lnTo>
                    <a:pt x="218" y="8"/>
                  </a:lnTo>
                  <a:lnTo>
                    <a:pt x="222" y="8"/>
                  </a:lnTo>
                  <a:lnTo>
                    <a:pt x="229" y="8"/>
                  </a:lnTo>
                  <a:lnTo>
                    <a:pt x="230" y="8"/>
                  </a:lnTo>
                  <a:lnTo>
                    <a:pt x="232" y="8"/>
                  </a:lnTo>
                  <a:lnTo>
                    <a:pt x="236" y="8"/>
                  </a:lnTo>
                  <a:lnTo>
                    <a:pt x="237" y="8"/>
                  </a:lnTo>
                  <a:lnTo>
                    <a:pt x="241" y="8"/>
                  </a:lnTo>
                  <a:lnTo>
                    <a:pt x="244" y="10"/>
                  </a:lnTo>
                  <a:lnTo>
                    <a:pt x="253" y="10"/>
                  </a:lnTo>
                  <a:lnTo>
                    <a:pt x="254" y="10"/>
                  </a:lnTo>
                  <a:lnTo>
                    <a:pt x="256" y="10"/>
                  </a:lnTo>
                  <a:lnTo>
                    <a:pt x="258" y="10"/>
                  </a:lnTo>
                  <a:lnTo>
                    <a:pt x="263" y="10"/>
                  </a:lnTo>
                  <a:lnTo>
                    <a:pt x="266" y="10"/>
                  </a:lnTo>
                  <a:lnTo>
                    <a:pt x="270" y="10"/>
                  </a:lnTo>
                  <a:lnTo>
                    <a:pt x="273" y="10"/>
                  </a:lnTo>
                  <a:lnTo>
                    <a:pt x="275" y="10"/>
                  </a:lnTo>
                  <a:lnTo>
                    <a:pt x="282" y="10"/>
                  </a:lnTo>
                  <a:lnTo>
                    <a:pt x="285" y="10"/>
                  </a:lnTo>
                  <a:lnTo>
                    <a:pt x="289" y="1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9" name="Freeform 224"/>
            <p:cNvSpPr>
              <a:spLocks/>
            </p:cNvSpPr>
            <p:nvPr/>
          </p:nvSpPr>
          <p:spPr bwMode="auto">
            <a:xfrm>
              <a:off x="5055483" y="4697206"/>
              <a:ext cx="388938" cy="514350"/>
            </a:xfrm>
            <a:custGeom>
              <a:avLst/>
              <a:gdLst/>
              <a:ahLst/>
              <a:cxnLst>
                <a:cxn ang="0">
                  <a:pos x="239" y="23"/>
                </a:cxn>
                <a:cxn ang="0">
                  <a:pos x="239" y="36"/>
                </a:cxn>
                <a:cxn ang="0">
                  <a:pos x="238" y="43"/>
                </a:cxn>
                <a:cxn ang="0">
                  <a:pos x="238" y="59"/>
                </a:cxn>
                <a:cxn ang="0">
                  <a:pos x="238" y="74"/>
                </a:cxn>
                <a:cxn ang="0">
                  <a:pos x="238" y="97"/>
                </a:cxn>
                <a:cxn ang="0">
                  <a:pos x="238" y="122"/>
                </a:cxn>
                <a:cxn ang="0">
                  <a:pos x="236" y="143"/>
                </a:cxn>
                <a:cxn ang="0">
                  <a:pos x="236" y="164"/>
                </a:cxn>
                <a:cxn ang="0">
                  <a:pos x="245" y="176"/>
                </a:cxn>
                <a:cxn ang="0">
                  <a:pos x="245" y="191"/>
                </a:cxn>
                <a:cxn ang="0">
                  <a:pos x="245" y="203"/>
                </a:cxn>
                <a:cxn ang="0">
                  <a:pos x="245" y="232"/>
                </a:cxn>
                <a:cxn ang="0">
                  <a:pos x="243" y="253"/>
                </a:cxn>
                <a:cxn ang="0">
                  <a:pos x="243" y="275"/>
                </a:cxn>
                <a:cxn ang="0">
                  <a:pos x="243" y="287"/>
                </a:cxn>
                <a:cxn ang="0">
                  <a:pos x="241" y="306"/>
                </a:cxn>
                <a:cxn ang="0">
                  <a:pos x="234" y="324"/>
                </a:cxn>
                <a:cxn ang="0">
                  <a:pos x="208" y="322"/>
                </a:cxn>
                <a:cxn ang="0">
                  <a:pos x="202" y="322"/>
                </a:cxn>
                <a:cxn ang="0">
                  <a:pos x="164" y="322"/>
                </a:cxn>
                <a:cxn ang="0">
                  <a:pos x="141" y="322"/>
                </a:cxn>
                <a:cxn ang="0">
                  <a:pos x="119" y="320"/>
                </a:cxn>
                <a:cxn ang="0">
                  <a:pos x="107" y="310"/>
                </a:cxn>
                <a:cxn ang="0">
                  <a:pos x="83" y="308"/>
                </a:cxn>
                <a:cxn ang="0">
                  <a:pos x="69" y="308"/>
                </a:cxn>
                <a:cxn ang="0">
                  <a:pos x="49" y="306"/>
                </a:cxn>
                <a:cxn ang="0">
                  <a:pos x="26" y="306"/>
                </a:cxn>
                <a:cxn ang="0">
                  <a:pos x="7" y="306"/>
                </a:cxn>
                <a:cxn ang="0">
                  <a:pos x="7" y="286"/>
                </a:cxn>
                <a:cxn ang="0">
                  <a:pos x="7" y="279"/>
                </a:cxn>
                <a:cxn ang="0">
                  <a:pos x="7" y="251"/>
                </a:cxn>
                <a:cxn ang="0">
                  <a:pos x="9" y="229"/>
                </a:cxn>
                <a:cxn ang="0">
                  <a:pos x="9" y="207"/>
                </a:cxn>
                <a:cxn ang="0">
                  <a:pos x="9" y="181"/>
                </a:cxn>
                <a:cxn ang="0">
                  <a:pos x="0" y="167"/>
                </a:cxn>
                <a:cxn ang="0">
                  <a:pos x="0" y="155"/>
                </a:cxn>
                <a:cxn ang="0">
                  <a:pos x="0" y="141"/>
                </a:cxn>
                <a:cxn ang="0">
                  <a:pos x="2" y="114"/>
                </a:cxn>
                <a:cxn ang="0">
                  <a:pos x="2" y="105"/>
                </a:cxn>
                <a:cxn ang="0">
                  <a:pos x="2" y="93"/>
                </a:cxn>
                <a:cxn ang="0">
                  <a:pos x="2" y="81"/>
                </a:cxn>
                <a:cxn ang="0">
                  <a:pos x="4" y="62"/>
                </a:cxn>
                <a:cxn ang="0">
                  <a:pos x="4" y="41"/>
                </a:cxn>
                <a:cxn ang="0">
                  <a:pos x="4" y="28"/>
                </a:cxn>
                <a:cxn ang="0">
                  <a:pos x="4" y="9"/>
                </a:cxn>
                <a:cxn ang="0">
                  <a:pos x="18" y="0"/>
                </a:cxn>
                <a:cxn ang="0">
                  <a:pos x="38" y="0"/>
                </a:cxn>
                <a:cxn ang="0">
                  <a:pos x="52" y="0"/>
                </a:cxn>
                <a:cxn ang="0">
                  <a:pos x="66" y="2"/>
                </a:cxn>
                <a:cxn ang="0">
                  <a:pos x="74" y="2"/>
                </a:cxn>
                <a:cxn ang="0">
                  <a:pos x="97" y="2"/>
                </a:cxn>
                <a:cxn ang="0">
                  <a:pos x="109" y="2"/>
                </a:cxn>
                <a:cxn ang="0">
                  <a:pos x="126" y="2"/>
                </a:cxn>
                <a:cxn ang="0">
                  <a:pos x="140" y="2"/>
                </a:cxn>
                <a:cxn ang="0">
                  <a:pos x="153" y="4"/>
                </a:cxn>
                <a:cxn ang="0">
                  <a:pos x="169" y="4"/>
                </a:cxn>
                <a:cxn ang="0">
                  <a:pos x="184" y="4"/>
                </a:cxn>
                <a:cxn ang="0">
                  <a:pos x="205" y="4"/>
                </a:cxn>
                <a:cxn ang="0">
                  <a:pos x="227" y="4"/>
                </a:cxn>
              </a:cxnLst>
              <a:rect l="0" t="0" r="r" b="b"/>
              <a:pathLst>
                <a:path w="245" h="324">
                  <a:moveTo>
                    <a:pt x="239" y="4"/>
                  </a:moveTo>
                  <a:lnTo>
                    <a:pt x="239" y="7"/>
                  </a:lnTo>
                  <a:lnTo>
                    <a:pt x="239" y="14"/>
                  </a:lnTo>
                  <a:lnTo>
                    <a:pt x="239" y="21"/>
                  </a:lnTo>
                  <a:lnTo>
                    <a:pt x="239" y="23"/>
                  </a:lnTo>
                  <a:lnTo>
                    <a:pt x="239" y="24"/>
                  </a:lnTo>
                  <a:lnTo>
                    <a:pt x="239" y="26"/>
                  </a:lnTo>
                  <a:lnTo>
                    <a:pt x="239" y="31"/>
                  </a:lnTo>
                  <a:lnTo>
                    <a:pt x="239" y="33"/>
                  </a:lnTo>
                  <a:lnTo>
                    <a:pt x="239" y="36"/>
                  </a:lnTo>
                  <a:lnTo>
                    <a:pt x="239" y="38"/>
                  </a:lnTo>
                  <a:lnTo>
                    <a:pt x="238" y="38"/>
                  </a:lnTo>
                  <a:lnTo>
                    <a:pt x="238" y="40"/>
                  </a:lnTo>
                  <a:lnTo>
                    <a:pt x="238" y="41"/>
                  </a:lnTo>
                  <a:lnTo>
                    <a:pt x="238" y="43"/>
                  </a:lnTo>
                  <a:lnTo>
                    <a:pt x="238" y="45"/>
                  </a:lnTo>
                  <a:lnTo>
                    <a:pt x="238" y="47"/>
                  </a:lnTo>
                  <a:lnTo>
                    <a:pt x="238" y="50"/>
                  </a:lnTo>
                  <a:lnTo>
                    <a:pt x="238" y="52"/>
                  </a:lnTo>
                  <a:lnTo>
                    <a:pt x="238" y="59"/>
                  </a:lnTo>
                  <a:lnTo>
                    <a:pt x="238" y="60"/>
                  </a:lnTo>
                  <a:lnTo>
                    <a:pt x="238" y="69"/>
                  </a:lnTo>
                  <a:lnTo>
                    <a:pt x="238" y="71"/>
                  </a:lnTo>
                  <a:lnTo>
                    <a:pt x="238" y="71"/>
                  </a:lnTo>
                  <a:lnTo>
                    <a:pt x="238" y="74"/>
                  </a:lnTo>
                  <a:lnTo>
                    <a:pt x="238" y="81"/>
                  </a:lnTo>
                  <a:lnTo>
                    <a:pt x="238" y="83"/>
                  </a:lnTo>
                  <a:lnTo>
                    <a:pt x="238" y="84"/>
                  </a:lnTo>
                  <a:lnTo>
                    <a:pt x="238" y="86"/>
                  </a:lnTo>
                  <a:lnTo>
                    <a:pt x="238" y="97"/>
                  </a:lnTo>
                  <a:lnTo>
                    <a:pt x="238" y="102"/>
                  </a:lnTo>
                  <a:lnTo>
                    <a:pt x="238" y="105"/>
                  </a:lnTo>
                  <a:lnTo>
                    <a:pt x="238" y="117"/>
                  </a:lnTo>
                  <a:lnTo>
                    <a:pt x="238" y="121"/>
                  </a:lnTo>
                  <a:lnTo>
                    <a:pt x="238" y="122"/>
                  </a:lnTo>
                  <a:lnTo>
                    <a:pt x="238" y="124"/>
                  </a:lnTo>
                  <a:lnTo>
                    <a:pt x="238" y="127"/>
                  </a:lnTo>
                  <a:lnTo>
                    <a:pt x="236" y="134"/>
                  </a:lnTo>
                  <a:lnTo>
                    <a:pt x="236" y="138"/>
                  </a:lnTo>
                  <a:lnTo>
                    <a:pt x="236" y="143"/>
                  </a:lnTo>
                  <a:lnTo>
                    <a:pt x="236" y="146"/>
                  </a:lnTo>
                  <a:lnTo>
                    <a:pt x="236" y="152"/>
                  </a:lnTo>
                  <a:lnTo>
                    <a:pt x="236" y="157"/>
                  </a:lnTo>
                  <a:lnTo>
                    <a:pt x="236" y="158"/>
                  </a:lnTo>
                  <a:lnTo>
                    <a:pt x="236" y="164"/>
                  </a:lnTo>
                  <a:lnTo>
                    <a:pt x="236" y="170"/>
                  </a:lnTo>
                  <a:lnTo>
                    <a:pt x="236" y="172"/>
                  </a:lnTo>
                  <a:lnTo>
                    <a:pt x="239" y="172"/>
                  </a:lnTo>
                  <a:lnTo>
                    <a:pt x="245" y="172"/>
                  </a:lnTo>
                  <a:lnTo>
                    <a:pt x="245" y="176"/>
                  </a:lnTo>
                  <a:lnTo>
                    <a:pt x="245" y="177"/>
                  </a:lnTo>
                  <a:lnTo>
                    <a:pt x="245" y="183"/>
                  </a:lnTo>
                  <a:lnTo>
                    <a:pt x="245" y="184"/>
                  </a:lnTo>
                  <a:lnTo>
                    <a:pt x="245" y="189"/>
                  </a:lnTo>
                  <a:lnTo>
                    <a:pt x="245" y="191"/>
                  </a:lnTo>
                  <a:lnTo>
                    <a:pt x="245" y="193"/>
                  </a:lnTo>
                  <a:lnTo>
                    <a:pt x="245" y="195"/>
                  </a:lnTo>
                  <a:lnTo>
                    <a:pt x="245" y="200"/>
                  </a:lnTo>
                  <a:lnTo>
                    <a:pt x="245" y="201"/>
                  </a:lnTo>
                  <a:lnTo>
                    <a:pt x="245" y="203"/>
                  </a:lnTo>
                  <a:lnTo>
                    <a:pt x="245" y="207"/>
                  </a:lnTo>
                  <a:lnTo>
                    <a:pt x="245" y="212"/>
                  </a:lnTo>
                  <a:lnTo>
                    <a:pt x="245" y="217"/>
                  </a:lnTo>
                  <a:lnTo>
                    <a:pt x="245" y="231"/>
                  </a:lnTo>
                  <a:lnTo>
                    <a:pt x="245" y="232"/>
                  </a:lnTo>
                  <a:lnTo>
                    <a:pt x="243" y="234"/>
                  </a:lnTo>
                  <a:lnTo>
                    <a:pt x="243" y="239"/>
                  </a:lnTo>
                  <a:lnTo>
                    <a:pt x="243" y="244"/>
                  </a:lnTo>
                  <a:lnTo>
                    <a:pt x="243" y="248"/>
                  </a:lnTo>
                  <a:lnTo>
                    <a:pt x="243" y="253"/>
                  </a:lnTo>
                  <a:lnTo>
                    <a:pt x="243" y="255"/>
                  </a:lnTo>
                  <a:lnTo>
                    <a:pt x="243" y="262"/>
                  </a:lnTo>
                  <a:lnTo>
                    <a:pt x="243" y="263"/>
                  </a:lnTo>
                  <a:lnTo>
                    <a:pt x="243" y="272"/>
                  </a:lnTo>
                  <a:lnTo>
                    <a:pt x="243" y="275"/>
                  </a:lnTo>
                  <a:lnTo>
                    <a:pt x="243" y="279"/>
                  </a:lnTo>
                  <a:lnTo>
                    <a:pt x="243" y="282"/>
                  </a:lnTo>
                  <a:lnTo>
                    <a:pt x="243" y="284"/>
                  </a:lnTo>
                  <a:lnTo>
                    <a:pt x="243" y="286"/>
                  </a:lnTo>
                  <a:lnTo>
                    <a:pt x="243" y="287"/>
                  </a:lnTo>
                  <a:lnTo>
                    <a:pt x="243" y="291"/>
                  </a:lnTo>
                  <a:lnTo>
                    <a:pt x="241" y="298"/>
                  </a:lnTo>
                  <a:lnTo>
                    <a:pt x="241" y="303"/>
                  </a:lnTo>
                  <a:lnTo>
                    <a:pt x="241" y="305"/>
                  </a:lnTo>
                  <a:lnTo>
                    <a:pt x="241" y="306"/>
                  </a:lnTo>
                  <a:lnTo>
                    <a:pt x="241" y="310"/>
                  </a:lnTo>
                  <a:lnTo>
                    <a:pt x="241" y="324"/>
                  </a:lnTo>
                  <a:lnTo>
                    <a:pt x="239" y="324"/>
                  </a:lnTo>
                  <a:lnTo>
                    <a:pt x="238" y="324"/>
                  </a:lnTo>
                  <a:lnTo>
                    <a:pt x="234" y="324"/>
                  </a:lnTo>
                  <a:lnTo>
                    <a:pt x="233" y="324"/>
                  </a:lnTo>
                  <a:lnTo>
                    <a:pt x="229" y="324"/>
                  </a:lnTo>
                  <a:lnTo>
                    <a:pt x="221" y="322"/>
                  </a:lnTo>
                  <a:lnTo>
                    <a:pt x="212" y="322"/>
                  </a:lnTo>
                  <a:lnTo>
                    <a:pt x="208" y="322"/>
                  </a:lnTo>
                  <a:lnTo>
                    <a:pt x="207" y="322"/>
                  </a:lnTo>
                  <a:lnTo>
                    <a:pt x="205" y="322"/>
                  </a:lnTo>
                  <a:lnTo>
                    <a:pt x="203" y="322"/>
                  </a:lnTo>
                  <a:lnTo>
                    <a:pt x="202" y="322"/>
                  </a:lnTo>
                  <a:lnTo>
                    <a:pt x="202" y="322"/>
                  </a:lnTo>
                  <a:lnTo>
                    <a:pt x="193" y="322"/>
                  </a:lnTo>
                  <a:lnTo>
                    <a:pt x="186" y="322"/>
                  </a:lnTo>
                  <a:lnTo>
                    <a:pt x="178" y="322"/>
                  </a:lnTo>
                  <a:lnTo>
                    <a:pt x="165" y="322"/>
                  </a:lnTo>
                  <a:lnTo>
                    <a:pt x="164" y="322"/>
                  </a:lnTo>
                  <a:lnTo>
                    <a:pt x="159" y="322"/>
                  </a:lnTo>
                  <a:lnTo>
                    <a:pt x="157" y="322"/>
                  </a:lnTo>
                  <a:lnTo>
                    <a:pt x="148" y="322"/>
                  </a:lnTo>
                  <a:lnTo>
                    <a:pt x="141" y="322"/>
                  </a:lnTo>
                  <a:lnTo>
                    <a:pt x="141" y="322"/>
                  </a:lnTo>
                  <a:lnTo>
                    <a:pt x="136" y="322"/>
                  </a:lnTo>
                  <a:lnTo>
                    <a:pt x="133" y="322"/>
                  </a:lnTo>
                  <a:lnTo>
                    <a:pt x="129" y="322"/>
                  </a:lnTo>
                  <a:lnTo>
                    <a:pt x="124" y="320"/>
                  </a:lnTo>
                  <a:lnTo>
                    <a:pt x="119" y="320"/>
                  </a:lnTo>
                  <a:lnTo>
                    <a:pt x="109" y="320"/>
                  </a:lnTo>
                  <a:lnTo>
                    <a:pt x="107" y="320"/>
                  </a:lnTo>
                  <a:lnTo>
                    <a:pt x="107" y="317"/>
                  </a:lnTo>
                  <a:lnTo>
                    <a:pt x="107" y="313"/>
                  </a:lnTo>
                  <a:lnTo>
                    <a:pt x="107" y="310"/>
                  </a:lnTo>
                  <a:lnTo>
                    <a:pt x="102" y="310"/>
                  </a:lnTo>
                  <a:lnTo>
                    <a:pt x="97" y="308"/>
                  </a:lnTo>
                  <a:lnTo>
                    <a:pt x="92" y="308"/>
                  </a:lnTo>
                  <a:lnTo>
                    <a:pt x="85" y="308"/>
                  </a:lnTo>
                  <a:lnTo>
                    <a:pt x="83" y="308"/>
                  </a:lnTo>
                  <a:lnTo>
                    <a:pt x="81" y="308"/>
                  </a:lnTo>
                  <a:lnTo>
                    <a:pt x="79" y="308"/>
                  </a:lnTo>
                  <a:lnTo>
                    <a:pt x="74" y="308"/>
                  </a:lnTo>
                  <a:lnTo>
                    <a:pt x="71" y="308"/>
                  </a:lnTo>
                  <a:lnTo>
                    <a:pt x="69" y="308"/>
                  </a:lnTo>
                  <a:lnTo>
                    <a:pt x="64" y="308"/>
                  </a:lnTo>
                  <a:lnTo>
                    <a:pt x="62" y="308"/>
                  </a:lnTo>
                  <a:lnTo>
                    <a:pt x="61" y="308"/>
                  </a:lnTo>
                  <a:lnTo>
                    <a:pt x="52" y="308"/>
                  </a:lnTo>
                  <a:lnTo>
                    <a:pt x="49" y="306"/>
                  </a:lnTo>
                  <a:lnTo>
                    <a:pt x="45" y="306"/>
                  </a:lnTo>
                  <a:lnTo>
                    <a:pt x="36" y="306"/>
                  </a:lnTo>
                  <a:lnTo>
                    <a:pt x="31" y="306"/>
                  </a:lnTo>
                  <a:lnTo>
                    <a:pt x="28" y="306"/>
                  </a:lnTo>
                  <a:lnTo>
                    <a:pt x="26" y="306"/>
                  </a:lnTo>
                  <a:lnTo>
                    <a:pt x="23" y="306"/>
                  </a:lnTo>
                  <a:lnTo>
                    <a:pt x="19" y="306"/>
                  </a:lnTo>
                  <a:lnTo>
                    <a:pt x="18" y="306"/>
                  </a:lnTo>
                  <a:lnTo>
                    <a:pt x="9" y="306"/>
                  </a:lnTo>
                  <a:lnTo>
                    <a:pt x="7" y="306"/>
                  </a:lnTo>
                  <a:lnTo>
                    <a:pt x="7" y="296"/>
                  </a:lnTo>
                  <a:lnTo>
                    <a:pt x="7" y="291"/>
                  </a:lnTo>
                  <a:lnTo>
                    <a:pt x="7" y="289"/>
                  </a:lnTo>
                  <a:lnTo>
                    <a:pt x="7" y="287"/>
                  </a:lnTo>
                  <a:lnTo>
                    <a:pt x="7" y="286"/>
                  </a:lnTo>
                  <a:lnTo>
                    <a:pt x="7" y="284"/>
                  </a:lnTo>
                  <a:lnTo>
                    <a:pt x="7" y="282"/>
                  </a:lnTo>
                  <a:lnTo>
                    <a:pt x="7" y="282"/>
                  </a:lnTo>
                  <a:lnTo>
                    <a:pt x="7" y="281"/>
                  </a:lnTo>
                  <a:lnTo>
                    <a:pt x="7" y="279"/>
                  </a:lnTo>
                  <a:lnTo>
                    <a:pt x="7" y="267"/>
                  </a:lnTo>
                  <a:lnTo>
                    <a:pt x="7" y="265"/>
                  </a:lnTo>
                  <a:lnTo>
                    <a:pt x="7" y="262"/>
                  </a:lnTo>
                  <a:lnTo>
                    <a:pt x="7" y="258"/>
                  </a:lnTo>
                  <a:lnTo>
                    <a:pt x="7" y="251"/>
                  </a:lnTo>
                  <a:lnTo>
                    <a:pt x="7" y="248"/>
                  </a:lnTo>
                  <a:lnTo>
                    <a:pt x="7" y="246"/>
                  </a:lnTo>
                  <a:lnTo>
                    <a:pt x="7" y="243"/>
                  </a:lnTo>
                  <a:lnTo>
                    <a:pt x="9" y="234"/>
                  </a:lnTo>
                  <a:lnTo>
                    <a:pt x="9" y="229"/>
                  </a:lnTo>
                  <a:lnTo>
                    <a:pt x="9" y="224"/>
                  </a:lnTo>
                  <a:lnTo>
                    <a:pt x="9" y="222"/>
                  </a:lnTo>
                  <a:lnTo>
                    <a:pt x="9" y="219"/>
                  </a:lnTo>
                  <a:lnTo>
                    <a:pt x="9" y="217"/>
                  </a:lnTo>
                  <a:lnTo>
                    <a:pt x="9" y="207"/>
                  </a:lnTo>
                  <a:lnTo>
                    <a:pt x="9" y="207"/>
                  </a:lnTo>
                  <a:lnTo>
                    <a:pt x="9" y="193"/>
                  </a:lnTo>
                  <a:lnTo>
                    <a:pt x="9" y="186"/>
                  </a:lnTo>
                  <a:lnTo>
                    <a:pt x="9" y="183"/>
                  </a:lnTo>
                  <a:lnTo>
                    <a:pt x="9" y="181"/>
                  </a:lnTo>
                  <a:lnTo>
                    <a:pt x="9" y="170"/>
                  </a:lnTo>
                  <a:lnTo>
                    <a:pt x="9" y="167"/>
                  </a:lnTo>
                  <a:lnTo>
                    <a:pt x="6" y="167"/>
                  </a:lnTo>
                  <a:lnTo>
                    <a:pt x="6" y="167"/>
                  </a:lnTo>
                  <a:lnTo>
                    <a:pt x="0" y="167"/>
                  </a:lnTo>
                  <a:lnTo>
                    <a:pt x="0" y="165"/>
                  </a:lnTo>
                  <a:lnTo>
                    <a:pt x="0" y="160"/>
                  </a:lnTo>
                  <a:lnTo>
                    <a:pt x="0" y="158"/>
                  </a:lnTo>
                  <a:lnTo>
                    <a:pt x="0" y="157"/>
                  </a:lnTo>
                  <a:lnTo>
                    <a:pt x="0" y="155"/>
                  </a:lnTo>
                  <a:lnTo>
                    <a:pt x="0" y="150"/>
                  </a:lnTo>
                  <a:lnTo>
                    <a:pt x="0" y="148"/>
                  </a:lnTo>
                  <a:lnTo>
                    <a:pt x="0" y="146"/>
                  </a:lnTo>
                  <a:lnTo>
                    <a:pt x="0" y="145"/>
                  </a:lnTo>
                  <a:lnTo>
                    <a:pt x="0" y="141"/>
                  </a:lnTo>
                  <a:lnTo>
                    <a:pt x="2" y="133"/>
                  </a:lnTo>
                  <a:lnTo>
                    <a:pt x="2" y="131"/>
                  </a:lnTo>
                  <a:lnTo>
                    <a:pt x="2" y="129"/>
                  </a:lnTo>
                  <a:lnTo>
                    <a:pt x="2" y="122"/>
                  </a:lnTo>
                  <a:lnTo>
                    <a:pt x="2" y="114"/>
                  </a:lnTo>
                  <a:lnTo>
                    <a:pt x="2" y="112"/>
                  </a:lnTo>
                  <a:lnTo>
                    <a:pt x="2" y="110"/>
                  </a:lnTo>
                  <a:lnTo>
                    <a:pt x="2" y="109"/>
                  </a:lnTo>
                  <a:lnTo>
                    <a:pt x="2" y="107"/>
                  </a:lnTo>
                  <a:lnTo>
                    <a:pt x="2" y="105"/>
                  </a:lnTo>
                  <a:lnTo>
                    <a:pt x="2" y="103"/>
                  </a:lnTo>
                  <a:lnTo>
                    <a:pt x="2" y="102"/>
                  </a:lnTo>
                  <a:lnTo>
                    <a:pt x="2" y="98"/>
                  </a:lnTo>
                  <a:lnTo>
                    <a:pt x="2" y="95"/>
                  </a:lnTo>
                  <a:lnTo>
                    <a:pt x="2" y="93"/>
                  </a:lnTo>
                  <a:lnTo>
                    <a:pt x="2" y="91"/>
                  </a:lnTo>
                  <a:lnTo>
                    <a:pt x="2" y="88"/>
                  </a:lnTo>
                  <a:lnTo>
                    <a:pt x="2" y="86"/>
                  </a:lnTo>
                  <a:lnTo>
                    <a:pt x="2" y="83"/>
                  </a:lnTo>
                  <a:lnTo>
                    <a:pt x="2" y="81"/>
                  </a:lnTo>
                  <a:lnTo>
                    <a:pt x="2" y="79"/>
                  </a:lnTo>
                  <a:lnTo>
                    <a:pt x="2" y="78"/>
                  </a:lnTo>
                  <a:lnTo>
                    <a:pt x="2" y="67"/>
                  </a:lnTo>
                  <a:lnTo>
                    <a:pt x="2" y="64"/>
                  </a:lnTo>
                  <a:lnTo>
                    <a:pt x="4" y="62"/>
                  </a:lnTo>
                  <a:lnTo>
                    <a:pt x="4" y="57"/>
                  </a:lnTo>
                  <a:lnTo>
                    <a:pt x="4" y="55"/>
                  </a:lnTo>
                  <a:lnTo>
                    <a:pt x="4" y="54"/>
                  </a:lnTo>
                  <a:lnTo>
                    <a:pt x="4" y="45"/>
                  </a:lnTo>
                  <a:lnTo>
                    <a:pt x="4" y="41"/>
                  </a:lnTo>
                  <a:lnTo>
                    <a:pt x="4" y="40"/>
                  </a:lnTo>
                  <a:lnTo>
                    <a:pt x="4" y="35"/>
                  </a:lnTo>
                  <a:lnTo>
                    <a:pt x="4" y="33"/>
                  </a:lnTo>
                  <a:lnTo>
                    <a:pt x="4" y="29"/>
                  </a:lnTo>
                  <a:lnTo>
                    <a:pt x="4" y="28"/>
                  </a:lnTo>
                  <a:lnTo>
                    <a:pt x="4" y="23"/>
                  </a:lnTo>
                  <a:lnTo>
                    <a:pt x="4" y="21"/>
                  </a:lnTo>
                  <a:lnTo>
                    <a:pt x="4" y="17"/>
                  </a:lnTo>
                  <a:lnTo>
                    <a:pt x="4" y="11"/>
                  </a:lnTo>
                  <a:lnTo>
                    <a:pt x="4" y="9"/>
                  </a:lnTo>
                  <a:lnTo>
                    <a:pt x="4" y="5"/>
                  </a:lnTo>
                  <a:lnTo>
                    <a:pt x="4" y="2"/>
                  </a:lnTo>
                  <a:lnTo>
                    <a:pt x="4" y="0"/>
                  </a:lnTo>
                  <a:lnTo>
                    <a:pt x="6" y="0"/>
                  </a:lnTo>
                  <a:lnTo>
                    <a:pt x="18" y="0"/>
                  </a:lnTo>
                  <a:lnTo>
                    <a:pt x="21" y="0"/>
                  </a:lnTo>
                  <a:lnTo>
                    <a:pt x="28" y="0"/>
                  </a:lnTo>
                  <a:lnTo>
                    <a:pt x="36" y="0"/>
                  </a:lnTo>
                  <a:lnTo>
                    <a:pt x="36" y="0"/>
                  </a:lnTo>
                  <a:lnTo>
                    <a:pt x="38" y="0"/>
                  </a:lnTo>
                  <a:lnTo>
                    <a:pt x="43" y="0"/>
                  </a:lnTo>
                  <a:lnTo>
                    <a:pt x="47" y="0"/>
                  </a:lnTo>
                  <a:lnTo>
                    <a:pt x="49" y="0"/>
                  </a:lnTo>
                  <a:lnTo>
                    <a:pt x="50" y="0"/>
                  </a:lnTo>
                  <a:lnTo>
                    <a:pt x="52" y="0"/>
                  </a:lnTo>
                  <a:lnTo>
                    <a:pt x="54" y="0"/>
                  </a:lnTo>
                  <a:lnTo>
                    <a:pt x="55" y="2"/>
                  </a:lnTo>
                  <a:lnTo>
                    <a:pt x="57" y="2"/>
                  </a:lnTo>
                  <a:lnTo>
                    <a:pt x="61" y="2"/>
                  </a:lnTo>
                  <a:lnTo>
                    <a:pt x="66" y="2"/>
                  </a:lnTo>
                  <a:lnTo>
                    <a:pt x="67" y="2"/>
                  </a:lnTo>
                  <a:lnTo>
                    <a:pt x="69" y="2"/>
                  </a:lnTo>
                  <a:lnTo>
                    <a:pt x="71" y="2"/>
                  </a:lnTo>
                  <a:lnTo>
                    <a:pt x="73" y="2"/>
                  </a:lnTo>
                  <a:lnTo>
                    <a:pt x="74" y="2"/>
                  </a:lnTo>
                  <a:lnTo>
                    <a:pt x="81" y="2"/>
                  </a:lnTo>
                  <a:lnTo>
                    <a:pt x="90" y="2"/>
                  </a:lnTo>
                  <a:lnTo>
                    <a:pt x="93" y="2"/>
                  </a:lnTo>
                  <a:lnTo>
                    <a:pt x="95" y="2"/>
                  </a:lnTo>
                  <a:lnTo>
                    <a:pt x="97" y="2"/>
                  </a:lnTo>
                  <a:lnTo>
                    <a:pt x="97" y="2"/>
                  </a:lnTo>
                  <a:lnTo>
                    <a:pt x="98" y="2"/>
                  </a:lnTo>
                  <a:lnTo>
                    <a:pt x="100" y="2"/>
                  </a:lnTo>
                  <a:lnTo>
                    <a:pt x="104" y="2"/>
                  </a:lnTo>
                  <a:lnTo>
                    <a:pt x="109" y="2"/>
                  </a:lnTo>
                  <a:lnTo>
                    <a:pt x="117" y="2"/>
                  </a:lnTo>
                  <a:lnTo>
                    <a:pt x="121" y="2"/>
                  </a:lnTo>
                  <a:lnTo>
                    <a:pt x="124" y="2"/>
                  </a:lnTo>
                  <a:lnTo>
                    <a:pt x="126" y="2"/>
                  </a:lnTo>
                  <a:lnTo>
                    <a:pt x="126" y="2"/>
                  </a:lnTo>
                  <a:lnTo>
                    <a:pt x="131" y="2"/>
                  </a:lnTo>
                  <a:lnTo>
                    <a:pt x="135" y="2"/>
                  </a:lnTo>
                  <a:lnTo>
                    <a:pt x="136" y="2"/>
                  </a:lnTo>
                  <a:lnTo>
                    <a:pt x="138" y="2"/>
                  </a:lnTo>
                  <a:lnTo>
                    <a:pt x="140" y="2"/>
                  </a:lnTo>
                  <a:lnTo>
                    <a:pt x="141" y="2"/>
                  </a:lnTo>
                  <a:lnTo>
                    <a:pt x="147" y="2"/>
                  </a:lnTo>
                  <a:lnTo>
                    <a:pt x="150" y="2"/>
                  </a:lnTo>
                  <a:lnTo>
                    <a:pt x="150" y="4"/>
                  </a:lnTo>
                  <a:lnTo>
                    <a:pt x="153" y="4"/>
                  </a:lnTo>
                  <a:lnTo>
                    <a:pt x="155" y="4"/>
                  </a:lnTo>
                  <a:lnTo>
                    <a:pt x="157" y="4"/>
                  </a:lnTo>
                  <a:lnTo>
                    <a:pt x="160" y="4"/>
                  </a:lnTo>
                  <a:lnTo>
                    <a:pt x="162" y="4"/>
                  </a:lnTo>
                  <a:lnTo>
                    <a:pt x="169" y="4"/>
                  </a:lnTo>
                  <a:lnTo>
                    <a:pt x="171" y="4"/>
                  </a:lnTo>
                  <a:lnTo>
                    <a:pt x="178" y="4"/>
                  </a:lnTo>
                  <a:lnTo>
                    <a:pt x="179" y="4"/>
                  </a:lnTo>
                  <a:lnTo>
                    <a:pt x="183" y="4"/>
                  </a:lnTo>
                  <a:lnTo>
                    <a:pt x="184" y="4"/>
                  </a:lnTo>
                  <a:lnTo>
                    <a:pt x="188" y="4"/>
                  </a:lnTo>
                  <a:lnTo>
                    <a:pt x="198" y="4"/>
                  </a:lnTo>
                  <a:lnTo>
                    <a:pt x="202" y="4"/>
                  </a:lnTo>
                  <a:lnTo>
                    <a:pt x="202" y="4"/>
                  </a:lnTo>
                  <a:lnTo>
                    <a:pt x="205" y="4"/>
                  </a:lnTo>
                  <a:lnTo>
                    <a:pt x="208" y="4"/>
                  </a:lnTo>
                  <a:lnTo>
                    <a:pt x="210" y="4"/>
                  </a:lnTo>
                  <a:lnTo>
                    <a:pt x="214" y="4"/>
                  </a:lnTo>
                  <a:lnTo>
                    <a:pt x="224" y="4"/>
                  </a:lnTo>
                  <a:lnTo>
                    <a:pt x="227" y="4"/>
                  </a:lnTo>
                  <a:lnTo>
                    <a:pt x="229" y="4"/>
                  </a:lnTo>
                  <a:lnTo>
                    <a:pt x="233" y="4"/>
                  </a:lnTo>
                  <a:lnTo>
                    <a:pt x="239" y="4"/>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0" name="Freeform 225"/>
            <p:cNvSpPr>
              <a:spLocks/>
            </p:cNvSpPr>
            <p:nvPr/>
          </p:nvSpPr>
          <p:spPr bwMode="auto">
            <a:xfrm>
              <a:off x="5430133" y="4703556"/>
              <a:ext cx="434975" cy="512763"/>
            </a:xfrm>
            <a:custGeom>
              <a:avLst/>
              <a:gdLst/>
              <a:ahLst/>
              <a:cxnLst>
                <a:cxn ang="0">
                  <a:pos x="268" y="29"/>
                </a:cxn>
                <a:cxn ang="0">
                  <a:pos x="268" y="70"/>
                </a:cxn>
                <a:cxn ang="0">
                  <a:pos x="270" y="87"/>
                </a:cxn>
                <a:cxn ang="0">
                  <a:pos x="270" y="103"/>
                </a:cxn>
                <a:cxn ang="0">
                  <a:pos x="270" y="117"/>
                </a:cxn>
                <a:cxn ang="0">
                  <a:pos x="270" y="136"/>
                </a:cxn>
                <a:cxn ang="0">
                  <a:pos x="270" y="158"/>
                </a:cxn>
                <a:cxn ang="0">
                  <a:pos x="272" y="173"/>
                </a:cxn>
                <a:cxn ang="0">
                  <a:pos x="274" y="189"/>
                </a:cxn>
                <a:cxn ang="0">
                  <a:pos x="274" y="211"/>
                </a:cxn>
                <a:cxn ang="0">
                  <a:pos x="274" y="228"/>
                </a:cxn>
                <a:cxn ang="0">
                  <a:pos x="274" y="249"/>
                </a:cxn>
                <a:cxn ang="0">
                  <a:pos x="274" y="263"/>
                </a:cxn>
                <a:cxn ang="0">
                  <a:pos x="274" y="270"/>
                </a:cxn>
                <a:cxn ang="0">
                  <a:pos x="274" y="278"/>
                </a:cxn>
                <a:cxn ang="0">
                  <a:pos x="274" y="297"/>
                </a:cxn>
                <a:cxn ang="0">
                  <a:pos x="272" y="313"/>
                </a:cxn>
                <a:cxn ang="0">
                  <a:pos x="268" y="323"/>
                </a:cxn>
                <a:cxn ang="0">
                  <a:pos x="251" y="323"/>
                </a:cxn>
                <a:cxn ang="0">
                  <a:pos x="231" y="323"/>
                </a:cxn>
                <a:cxn ang="0">
                  <a:pos x="212" y="323"/>
                </a:cxn>
                <a:cxn ang="0">
                  <a:pos x="186" y="321"/>
                </a:cxn>
                <a:cxn ang="0">
                  <a:pos x="163" y="321"/>
                </a:cxn>
                <a:cxn ang="0">
                  <a:pos x="139" y="321"/>
                </a:cxn>
                <a:cxn ang="0">
                  <a:pos x="124" y="321"/>
                </a:cxn>
                <a:cxn ang="0">
                  <a:pos x="105" y="321"/>
                </a:cxn>
                <a:cxn ang="0">
                  <a:pos x="84" y="321"/>
                </a:cxn>
                <a:cxn ang="0">
                  <a:pos x="64" y="320"/>
                </a:cxn>
                <a:cxn ang="0">
                  <a:pos x="53" y="320"/>
                </a:cxn>
                <a:cxn ang="0">
                  <a:pos x="41" y="320"/>
                </a:cxn>
                <a:cxn ang="0">
                  <a:pos x="33" y="320"/>
                </a:cxn>
                <a:cxn ang="0">
                  <a:pos x="19" y="320"/>
                </a:cxn>
                <a:cxn ang="0">
                  <a:pos x="5" y="302"/>
                </a:cxn>
                <a:cxn ang="0">
                  <a:pos x="7" y="283"/>
                </a:cxn>
                <a:cxn ang="0">
                  <a:pos x="7" y="271"/>
                </a:cxn>
                <a:cxn ang="0">
                  <a:pos x="7" y="249"/>
                </a:cxn>
                <a:cxn ang="0">
                  <a:pos x="9" y="228"/>
                </a:cxn>
                <a:cxn ang="0">
                  <a:pos x="9" y="199"/>
                </a:cxn>
                <a:cxn ang="0">
                  <a:pos x="9" y="187"/>
                </a:cxn>
                <a:cxn ang="0">
                  <a:pos x="9" y="172"/>
                </a:cxn>
                <a:cxn ang="0">
                  <a:pos x="0" y="160"/>
                </a:cxn>
                <a:cxn ang="0">
                  <a:pos x="0" y="139"/>
                </a:cxn>
                <a:cxn ang="0">
                  <a:pos x="2" y="118"/>
                </a:cxn>
                <a:cxn ang="0">
                  <a:pos x="2" y="93"/>
                </a:cxn>
                <a:cxn ang="0">
                  <a:pos x="2" y="70"/>
                </a:cxn>
                <a:cxn ang="0">
                  <a:pos x="2" y="55"/>
                </a:cxn>
                <a:cxn ang="0">
                  <a:pos x="2" y="39"/>
                </a:cxn>
                <a:cxn ang="0">
                  <a:pos x="3" y="32"/>
                </a:cxn>
                <a:cxn ang="0">
                  <a:pos x="3" y="19"/>
                </a:cxn>
                <a:cxn ang="0">
                  <a:pos x="10" y="1"/>
                </a:cxn>
                <a:cxn ang="0">
                  <a:pos x="26" y="1"/>
                </a:cxn>
                <a:cxn ang="0">
                  <a:pos x="52" y="1"/>
                </a:cxn>
                <a:cxn ang="0">
                  <a:pos x="65" y="1"/>
                </a:cxn>
                <a:cxn ang="0">
                  <a:pos x="81" y="3"/>
                </a:cxn>
                <a:cxn ang="0">
                  <a:pos x="91" y="3"/>
                </a:cxn>
                <a:cxn ang="0">
                  <a:pos x="105" y="3"/>
                </a:cxn>
                <a:cxn ang="0">
                  <a:pos x="126" y="5"/>
                </a:cxn>
                <a:cxn ang="0">
                  <a:pos x="148" y="5"/>
                </a:cxn>
                <a:cxn ang="0">
                  <a:pos x="170" y="5"/>
                </a:cxn>
                <a:cxn ang="0">
                  <a:pos x="200" y="7"/>
                </a:cxn>
                <a:cxn ang="0">
                  <a:pos x="218" y="7"/>
                </a:cxn>
                <a:cxn ang="0">
                  <a:pos x="246" y="7"/>
                </a:cxn>
                <a:cxn ang="0">
                  <a:pos x="263" y="7"/>
                </a:cxn>
              </a:cxnLst>
              <a:rect l="0" t="0" r="r" b="b"/>
              <a:pathLst>
                <a:path w="274" h="323">
                  <a:moveTo>
                    <a:pt x="268" y="7"/>
                  </a:moveTo>
                  <a:lnTo>
                    <a:pt x="268" y="7"/>
                  </a:lnTo>
                  <a:lnTo>
                    <a:pt x="268" y="12"/>
                  </a:lnTo>
                  <a:lnTo>
                    <a:pt x="268" y="19"/>
                  </a:lnTo>
                  <a:lnTo>
                    <a:pt x="268" y="29"/>
                  </a:lnTo>
                  <a:lnTo>
                    <a:pt x="268" y="31"/>
                  </a:lnTo>
                  <a:lnTo>
                    <a:pt x="268" y="39"/>
                  </a:lnTo>
                  <a:lnTo>
                    <a:pt x="268" y="53"/>
                  </a:lnTo>
                  <a:lnTo>
                    <a:pt x="268" y="58"/>
                  </a:lnTo>
                  <a:lnTo>
                    <a:pt x="268" y="70"/>
                  </a:lnTo>
                  <a:lnTo>
                    <a:pt x="268" y="72"/>
                  </a:lnTo>
                  <a:lnTo>
                    <a:pt x="268" y="79"/>
                  </a:lnTo>
                  <a:lnTo>
                    <a:pt x="268" y="80"/>
                  </a:lnTo>
                  <a:lnTo>
                    <a:pt x="270" y="82"/>
                  </a:lnTo>
                  <a:lnTo>
                    <a:pt x="270" y="87"/>
                  </a:lnTo>
                  <a:lnTo>
                    <a:pt x="270" y="93"/>
                  </a:lnTo>
                  <a:lnTo>
                    <a:pt x="270" y="94"/>
                  </a:lnTo>
                  <a:lnTo>
                    <a:pt x="270" y="98"/>
                  </a:lnTo>
                  <a:lnTo>
                    <a:pt x="270" y="99"/>
                  </a:lnTo>
                  <a:lnTo>
                    <a:pt x="270" y="103"/>
                  </a:lnTo>
                  <a:lnTo>
                    <a:pt x="270" y="106"/>
                  </a:lnTo>
                  <a:lnTo>
                    <a:pt x="270" y="108"/>
                  </a:lnTo>
                  <a:lnTo>
                    <a:pt x="270" y="111"/>
                  </a:lnTo>
                  <a:lnTo>
                    <a:pt x="270" y="113"/>
                  </a:lnTo>
                  <a:lnTo>
                    <a:pt x="270" y="117"/>
                  </a:lnTo>
                  <a:lnTo>
                    <a:pt x="270" y="120"/>
                  </a:lnTo>
                  <a:lnTo>
                    <a:pt x="270" y="127"/>
                  </a:lnTo>
                  <a:lnTo>
                    <a:pt x="270" y="129"/>
                  </a:lnTo>
                  <a:lnTo>
                    <a:pt x="270" y="130"/>
                  </a:lnTo>
                  <a:lnTo>
                    <a:pt x="270" y="136"/>
                  </a:lnTo>
                  <a:lnTo>
                    <a:pt x="270" y="139"/>
                  </a:lnTo>
                  <a:lnTo>
                    <a:pt x="270" y="141"/>
                  </a:lnTo>
                  <a:lnTo>
                    <a:pt x="270" y="146"/>
                  </a:lnTo>
                  <a:lnTo>
                    <a:pt x="270" y="156"/>
                  </a:lnTo>
                  <a:lnTo>
                    <a:pt x="270" y="158"/>
                  </a:lnTo>
                  <a:lnTo>
                    <a:pt x="270" y="163"/>
                  </a:lnTo>
                  <a:lnTo>
                    <a:pt x="270" y="165"/>
                  </a:lnTo>
                  <a:lnTo>
                    <a:pt x="270" y="168"/>
                  </a:lnTo>
                  <a:lnTo>
                    <a:pt x="270" y="173"/>
                  </a:lnTo>
                  <a:lnTo>
                    <a:pt x="272" y="173"/>
                  </a:lnTo>
                  <a:lnTo>
                    <a:pt x="274" y="173"/>
                  </a:lnTo>
                  <a:lnTo>
                    <a:pt x="274" y="177"/>
                  </a:lnTo>
                  <a:lnTo>
                    <a:pt x="274" y="180"/>
                  </a:lnTo>
                  <a:lnTo>
                    <a:pt x="274" y="184"/>
                  </a:lnTo>
                  <a:lnTo>
                    <a:pt x="274" y="189"/>
                  </a:lnTo>
                  <a:lnTo>
                    <a:pt x="274" y="199"/>
                  </a:lnTo>
                  <a:lnTo>
                    <a:pt x="274" y="201"/>
                  </a:lnTo>
                  <a:lnTo>
                    <a:pt x="274" y="203"/>
                  </a:lnTo>
                  <a:lnTo>
                    <a:pt x="274" y="204"/>
                  </a:lnTo>
                  <a:lnTo>
                    <a:pt x="274" y="211"/>
                  </a:lnTo>
                  <a:lnTo>
                    <a:pt x="274" y="218"/>
                  </a:lnTo>
                  <a:lnTo>
                    <a:pt x="274" y="218"/>
                  </a:lnTo>
                  <a:lnTo>
                    <a:pt x="274" y="220"/>
                  </a:lnTo>
                  <a:lnTo>
                    <a:pt x="274" y="222"/>
                  </a:lnTo>
                  <a:lnTo>
                    <a:pt x="274" y="228"/>
                  </a:lnTo>
                  <a:lnTo>
                    <a:pt x="274" y="239"/>
                  </a:lnTo>
                  <a:lnTo>
                    <a:pt x="274" y="242"/>
                  </a:lnTo>
                  <a:lnTo>
                    <a:pt x="274" y="246"/>
                  </a:lnTo>
                  <a:lnTo>
                    <a:pt x="274" y="247"/>
                  </a:lnTo>
                  <a:lnTo>
                    <a:pt x="274" y="249"/>
                  </a:lnTo>
                  <a:lnTo>
                    <a:pt x="274" y="251"/>
                  </a:lnTo>
                  <a:lnTo>
                    <a:pt x="274" y="256"/>
                  </a:lnTo>
                  <a:lnTo>
                    <a:pt x="274" y="259"/>
                  </a:lnTo>
                  <a:lnTo>
                    <a:pt x="274" y="261"/>
                  </a:lnTo>
                  <a:lnTo>
                    <a:pt x="274" y="263"/>
                  </a:lnTo>
                  <a:lnTo>
                    <a:pt x="274" y="263"/>
                  </a:lnTo>
                  <a:lnTo>
                    <a:pt x="274" y="265"/>
                  </a:lnTo>
                  <a:lnTo>
                    <a:pt x="274" y="266"/>
                  </a:lnTo>
                  <a:lnTo>
                    <a:pt x="274" y="268"/>
                  </a:lnTo>
                  <a:lnTo>
                    <a:pt x="274" y="270"/>
                  </a:lnTo>
                  <a:lnTo>
                    <a:pt x="274" y="273"/>
                  </a:lnTo>
                  <a:lnTo>
                    <a:pt x="274" y="275"/>
                  </a:lnTo>
                  <a:lnTo>
                    <a:pt x="274" y="277"/>
                  </a:lnTo>
                  <a:lnTo>
                    <a:pt x="274" y="278"/>
                  </a:lnTo>
                  <a:lnTo>
                    <a:pt x="274" y="278"/>
                  </a:lnTo>
                  <a:lnTo>
                    <a:pt x="274" y="289"/>
                  </a:lnTo>
                  <a:lnTo>
                    <a:pt x="274" y="292"/>
                  </a:lnTo>
                  <a:lnTo>
                    <a:pt x="274" y="294"/>
                  </a:lnTo>
                  <a:lnTo>
                    <a:pt x="274" y="296"/>
                  </a:lnTo>
                  <a:lnTo>
                    <a:pt x="274" y="297"/>
                  </a:lnTo>
                  <a:lnTo>
                    <a:pt x="274" y="299"/>
                  </a:lnTo>
                  <a:lnTo>
                    <a:pt x="274" y="301"/>
                  </a:lnTo>
                  <a:lnTo>
                    <a:pt x="272" y="306"/>
                  </a:lnTo>
                  <a:lnTo>
                    <a:pt x="272" y="311"/>
                  </a:lnTo>
                  <a:lnTo>
                    <a:pt x="272" y="313"/>
                  </a:lnTo>
                  <a:lnTo>
                    <a:pt x="272" y="316"/>
                  </a:lnTo>
                  <a:lnTo>
                    <a:pt x="272" y="318"/>
                  </a:lnTo>
                  <a:lnTo>
                    <a:pt x="272" y="323"/>
                  </a:lnTo>
                  <a:lnTo>
                    <a:pt x="268" y="323"/>
                  </a:lnTo>
                  <a:lnTo>
                    <a:pt x="268" y="323"/>
                  </a:lnTo>
                  <a:lnTo>
                    <a:pt x="267" y="323"/>
                  </a:lnTo>
                  <a:lnTo>
                    <a:pt x="265" y="323"/>
                  </a:lnTo>
                  <a:lnTo>
                    <a:pt x="260" y="323"/>
                  </a:lnTo>
                  <a:lnTo>
                    <a:pt x="255" y="323"/>
                  </a:lnTo>
                  <a:lnTo>
                    <a:pt x="251" y="323"/>
                  </a:lnTo>
                  <a:lnTo>
                    <a:pt x="249" y="323"/>
                  </a:lnTo>
                  <a:lnTo>
                    <a:pt x="248" y="323"/>
                  </a:lnTo>
                  <a:lnTo>
                    <a:pt x="239" y="323"/>
                  </a:lnTo>
                  <a:lnTo>
                    <a:pt x="237" y="323"/>
                  </a:lnTo>
                  <a:lnTo>
                    <a:pt x="231" y="323"/>
                  </a:lnTo>
                  <a:lnTo>
                    <a:pt x="227" y="323"/>
                  </a:lnTo>
                  <a:lnTo>
                    <a:pt x="225" y="323"/>
                  </a:lnTo>
                  <a:lnTo>
                    <a:pt x="220" y="323"/>
                  </a:lnTo>
                  <a:lnTo>
                    <a:pt x="217" y="323"/>
                  </a:lnTo>
                  <a:lnTo>
                    <a:pt x="212" y="323"/>
                  </a:lnTo>
                  <a:lnTo>
                    <a:pt x="205" y="323"/>
                  </a:lnTo>
                  <a:lnTo>
                    <a:pt x="200" y="323"/>
                  </a:lnTo>
                  <a:lnTo>
                    <a:pt x="196" y="323"/>
                  </a:lnTo>
                  <a:lnTo>
                    <a:pt x="194" y="323"/>
                  </a:lnTo>
                  <a:lnTo>
                    <a:pt x="186" y="321"/>
                  </a:lnTo>
                  <a:lnTo>
                    <a:pt x="182" y="321"/>
                  </a:lnTo>
                  <a:lnTo>
                    <a:pt x="174" y="321"/>
                  </a:lnTo>
                  <a:lnTo>
                    <a:pt x="172" y="321"/>
                  </a:lnTo>
                  <a:lnTo>
                    <a:pt x="170" y="321"/>
                  </a:lnTo>
                  <a:lnTo>
                    <a:pt x="163" y="321"/>
                  </a:lnTo>
                  <a:lnTo>
                    <a:pt x="160" y="321"/>
                  </a:lnTo>
                  <a:lnTo>
                    <a:pt x="153" y="321"/>
                  </a:lnTo>
                  <a:lnTo>
                    <a:pt x="146" y="321"/>
                  </a:lnTo>
                  <a:lnTo>
                    <a:pt x="143" y="321"/>
                  </a:lnTo>
                  <a:lnTo>
                    <a:pt x="139" y="321"/>
                  </a:lnTo>
                  <a:lnTo>
                    <a:pt x="134" y="321"/>
                  </a:lnTo>
                  <a:lnTo>
                    <a:pt x="132" y="321"/>
                  </a:lnTo>
                  <a:lnTo>
                    <a:pt x="129" y="321"/>
                  </a:lnTo>
                  <a:lnTo>
                    <a:pt x="127" y="321"/>
                  </a:lnTo>
                  <a:lnTo>
                    <a:pt x="124" y="321"/>
                  </a:lnTo>
                  <a:lnTo>
                    <a:pt x="120" y="321"/>
                  </a:lnTo>
                  <a:lnTo>
                    <a:pt x="119" y="321"/>
                  </a:lnTo>
                  <a:lnTo>
                    <a:pt x="115" y="321"/>
                  </a:lnTo>
                  <a:lnTo>
                    <a:pt x="107" y="321"/>
                  </a:lnTo>
                  <a:lnTo>
                    <a:pt x="105" y="321"/>
                  </a:lnTo>
                  <a:lnTo>
                    <a:pt x="103" y="321"/>
                  </a:lnTo>
                  <a:lnTo>
                    <a:pt x="95" y="321"/>
                  </a:lnTo>
                  <a:lnTo>
                    <a:pt x="91" y="321"/>
                  </a:lnTo>
                  <a:lnTo>
                    <a:pt x="88" y="321"/>
                  </a:lnTo>
                  <a:lnTo>
                    <a:pt x="84" y="321"/>
                  </a:lnTo>
                  <a:lnTo>
                    <a:pt x="83" y="321"/>
                  </a:lnTo>
                  <a:lnTo>
                    <a:pt x="81" y="321"/>
                  </a:lnTo>
                  <a:lnTo>
                    <a:pt x="72" y="321"/>
                  </a:lnTo>
                  <a:lnTo>
                    <a:pt x="71" y="321"/>
                  </a:lnTo>
                  <a:lnTo>
                    <a:pt x="64" y="320"/>
                  </a:lnTo>
                  <a:lnTo>
                    <a:pt x="60" y="320"/>
                  </a:lnTo>
                  <a:lnTo>
                    <a:pt x="57" y="320"/>
                  </a:lnTo>
                  <a:lnTo>
                    <a:pt x="57" y="320"/>
                  </a:lnTo>
                  <a:lnTo>
                    <a:pt x="55" y="320"/>
                  </a:lnTo>
                  <a:lnTo>
                    <a:pt x="53" y="320"/>
                  </a:lnTo>
                  <a:lnTo>
                    <a:pt x="50" y="320"/>
                  </a:lnTo>
                  <a:lnTo>
                    <a:pt x="46" y="320"/>
                  </a:lnTo>
                  <a:lnTo>
                    <a:pt x="43" y="320"/>
                  </a:lnTo>
                  <a:lnTo>
                    <a:pt x="41" y="320"/>
                  </a:lnTo>
                  <a:lnTo>
                    <a:pt x="41" y="320"/>
                  </a:lnTo>
                  <a:lnTo>
                    <a:pt x="40" y="320"/>
                  </a:lnTo>
                  <a:lnTo>
                    <a:pt x="38" y="320"/>
                  </a:lnTo>
                  <a:lnTo>
                    <a:pt x="36" y="320"/>
                  </a:lnTo>
                  <a:lnTo>
                    <a:pt x="34" y="320"/>
                  </a:lnTo>
                  <a:lnTo>
                    <a:pt x="33" y="320"/>
                  </a:lnTo>
                  <a:lnTo>
                    <a:pt x="31" y="320"/>
                  </a:lnTo>
                  <a:lnTo>
                    <a:pt x="28" y="320"/>
                  </a:lnTo>
                  <a:lnTo>
                    <a:pt x="26" y="320"/>
                  </a:lnTo>
                  <a:lnTo>
                    <a:pt x="21" y="320"/>
                  </a:lnTo>
                  <a:lnTo>
                    <a:pt x="19" y="320"/>
                  </a:lnTo>
                  <a:lnTo>
                    <a:pt x="16" y="320"/>
                  </a:lnTo>
                  <a:lnTo>
                    <a:pt x="10" y="320"/>
                  </a:lnTo>
                  <a:lnTo>
                    <a:pt x="5" y="320"/>
                  </a:lnTo>
                  <a:lnTo>
                    <a:pt x="5" y="306"/>
                  </a:lnTo>
                  <a:lnTo>
                    <a:pt x="5" y="302"/>
                  </a:lnTo>
                  <a:lnTo>
                    <a:pt x="5" y="301"/>
                  </a:lnTo>
                  <a:lnTo>
                    <a:pt x="5" y="299"/>
                  </a:lnTo>
                  <a:lnTo>
                    <a:pt x="5" y="294"/>
                  </a:lnTo>
                  <a:lnTo>
                    <a:pt x="7" y="287"/>
                  </a:lnTo>
                  <a:lnTo>
                    <a:pt x="7" y="283"/>
                  </a:lnTo>
                  <a:lnTo>
                    <a:pt x="7" y="282"/>
                  </a:lnTo>
                  <a:lnTo>
                    <a:pt x="7" y="280"/>
                  </a:lnTo>
                  <a:lnTo>
                    <a:pt x="7" y="278"/>
                  </a:lnTo>
                  <a:lnTo>
                    <a:pt x="7" y="275"/>
                  </a:lnTo>
                  <a:lnTo>
                    <a:pt x="7" y="271"/>
                  </a:lnTo>
                  <a:lnTo>
                    <a:pt x="7" y="268"/>
                  </a:lnTo>
                  <a:lnTo>
                    <a:pt x="7" y="259"/>
                  </a:lnTo>
                  <a:lnTo>
                    <a:pt x="7" y="258"/>
                  </a:lnTo>
                  <a:lnTo>
                    <a:pt x="7" y="251"/>
                  </a:lnTo>
                  <a:lnTo>
                    <a:pt x="7" y="249"/>
                  </a:lnTo>
                  <a:lnTo>
                    <a:pt x="7" y="244"/>
                  </a:lnTo>
                  <a:lnTo>
                    <a:pt x="7" y="240"/>
                  </a:lnTo>
                  <a:lnTo>
                    <a:pt x="7" y="235"/>
                  </a:lnTo>
                  <a:lnTo>
                    <a:pt x="7" y="230"/>
                  </a:lnTo>
                  <a:lnTo>
                    <a:pt x="9" y="228"/>
                  </a:lnTo>
                  <a:lnTo>
                    <a:pt x="9" y="227"/>
                  </a:lnTo>
                  <a:lnTo>
                    <a:pt x="9" y="213"/>
                  </a:lnTo>
                  <a:lnTo>
                    <a:pt x="9" y="208"/>
                  </a:lnTo>
                  <a:lnTo>
                    <a:pt x="9" y="203"/>
                  </a:lnTo>
                  <a:lnTo>
                    <a:pt x="9" y="199"/>
                  </a:lnTo>
                  <a:lnTo>
                    <a:pt x="9" y="197"/>
                  </a:lnTo>
                  <a:lnTo>
                    <a:pt x="9" y="196"/>
                  </a:lnTo>
                  <a:lnTo>
                    <a:pt x="9" y="191"/>
                  </a:lnTo>
                  <a:lnTo>
                    <a:pt x="9" y="189"/>
                  </a:lnTo>
                  <a:lnTo>
                    <a:pt x="9" y="187"/>
                  </a:lnTo>
                  <a:lnTo>
                    <a:pt x="9" y="185"/>
                  </a:lnTo>
                  <a:lnTo>
                    <a:pt x="9" y="180"/>
                  </a:lnTo>
                  <a:lnTo>
                    <a:pt x="9" y="179"/>
                  </a:lnTo>
                  <a:lnTo>
                    <a:pt x="9" y="173"/>
                  </a:lnTo>
                  <a:lnTo>
                    <a:pt x="9" y="172"/>
                  </a:lnTo>
                  <a:lnTo>
                    <a:pt x="9" y="168"/>
                  </a:lnTo>
                  <a:lnTo>
                    <a:pt x="3" y="168"/>
                  </a:lnTo>
                  <a:lnTo>
                    <a:pt x="0" y="168"/>
                  </a:lnTo>
                  <a:lnTo>
                    <a:pt x="0" y="166"/>
                  </a:lnTo>
                  <a:lnTo>
                    <a:pt x="0" y="160"/>
                  </a:lnTo>
                  <a:lnTo>
                    <a:pt x="0" y="154"/>
                  </a:lnTo>
                  <a:lnTo>
                    <a:pt x="0" y="153"/>
                  </a:lnTo>
                  <a:lnTo>
                    <a:pt x="0" y="148"/>
                  </a:lnTo>
                  <a:lnTo>
                    <a:pt x="0" y="142"/>
                  </a:lnTo>
                  <a:lnTo>
                    <a:pt x="0" y="139"/>
                  </a:lnTo>
                  <a:lnTo>
                    <a:pt x="0" y="134"/>
                  </a:lnTo>
                  <a:lnTo>
                    <a:pt x="0" y="130"/>
                  </a:lnTo>
                  <a:lnTo>
                    <a:pt x="2" y="123"/>
                  </a:lnTo>
                  <a:lnTo>
                    <a:pt x="2" y="120"/>
                  </a:lnTo>
                  <a:lnTo>
                    <a:pt x="2" y="118"/>
                  </a:lnTo>
                  <a:lnTo>
                    <a:pt x="2" y="117"/>
                  </a:lnTo>
                  <a:lnTo>
                    <a:pt x="2" y="113"/>
                  </a:lnTo>
                  <a:lnTo>
                    <a:pt x="2" y="101"/>
                  </a:lnTo>
                  <a:lnTo>
                    <a:pt x="2" y="98"/>
                  </a:lnTo>
                  <a:lnTo>
                    <a:pt x="2" y="93"/>
                  </a:lnTo>
                  <a:lnTo>
                    <a:pt x="2" y="82"/>
                  </a:lnTo>
                  <a:lnTo>
                    <a:pt x="2" y="80"/>
                  </a:lnTo>
                  <a:lnTo>
                    <a:pt x="2" y="79"/>
                  </a:lnTo>
                  <a:lnTo>
                    <a:pt x="2" y="77"/>
                  </a:lnTo>
                  <a:lnTo>
                    <a:pt x="2" y="70"/>
                  </a:lnTo>
                  <a:lnTo>
                    <a:pt x="2" y="67"/>
                  </a:lnTo>
                  <a:lnTo>
                    <a:pt x="2" y="67"/>
                  </a:lnTo>
                  <a:lnTo>
                    <a:pt x="2" y="65"/>
                  </a:lnTo>
                  <a:lnTo>
                    <a:pt x="2" y="56"/>
                  </a:lnTo>
                  <a:lnTo>
                    <a:pt x="2" y="55"/>
                  </a:lnTo>
                  <a:lnTo>
                    <a:pt x="2" y="48"/>
                  </a:lnTo>
                  <a:lnTo>
                    <a:pt x="2" y="46"/>
                  </a:lnTo>
                  <a:lnTo>
                    <a:pt x="2" y="43"/>
                  </a:lnTo>
                  <a:lnTo>
                    <a:pt x="2" y="41"/>
                  </a:lnTo>
                  <a:lnTo>
                    <a:pt x="2" y="39"/>
                  </a:lnTo>
                  <a:lnTo>
                    <a:pt x="2" y="37"/>
                  </a:lnTo>
                  <a:lnTo>
                    <a:pt x="2" y="36"/>
                  </a:lnTo>
                  <a:lnTo>
                    <a:pt x="2" y="34"/>
                  </a:lnTo>
                  <a:lnTo>
                    <a:pt x="3" y="34"/>
                  </a:lnTo>
                  <a:lnTo>
                    <a:pt x="3" y="32"/>
                  </a:lnTo>
                  <a:lnTo>
                    <a:pt x="3" y="29"/>
                  </a:lnTo>
                  <a:lnTo>
                    <a:pt x="3" y="27"/>
                  </a:lnTo>
                  <a:lnTo>
                    <a:pt x="3" y="22"/>
                  </a:lnTo>
                  <a:lnTo>
                    <a:pt x="3" y="20"/>
                  </a:lnTo>
                  <a:lnTo>
                    <a:pt x="3" y="19"/>
                  </a:lnTo>
                  <a:lnTo>
                    <a:pt x="3" y="17"/>
                  </a:lnTo>
                  <a:lnTo>
                    <a:pt x="3" y="10"/>
                  </a:lnTo>
                  <a:lnTo>
                    <a:pt x="3" y="3"/>
                  </a:lnTo>
                  <a:lnTo>
                    <a:pt x="3" y="0"/>
                  </a:lnTo>
                  <a:lnTo>
                    <a:pt x="10" y="1"/>
                  </a:lnTo>
                  <a:lnTo>
                    <a:pt x="17" y="1"/>
                  </a:lnTo>
                  <a:lnTo>
                    <a:pt x="19" y="1"/>
                  </a:lnTo>
                  <a:lnTo>
                    <a:pt x="21" y="1"/>
                  </a:lnTo>
                  <a:lnTo>
                    <a:pt x="26" y="1"/>
                  </a:lnTo>
                  <a:lnTo>
                    <a:pt x="26" y="1"/>
                  </a:lnTo>
                  <a:lnTo>
                    <a:pt x="41" y="1"/>
                  </a:lnTo>
                  <a:lnTo>
                    <a:pt x="41" y="1"/>
                  </a:lnTo>
                  <a:lnTo>
                    <a:pt x="48" y="1"/>
                  </a:lnTo>
                  <a:lnTo>
                    <a:pt x="50" y="1"/>
                  </a:lnTo>
                  <a:lnTo>
                    <a:pt x="52" y="1"/>
                  </a:lnTo>
                  <a:lnTo>
                    <a:pt x="59" y="1"/>
                  </a:lnTo>
                  <a:lnTo>
                    <a:pt x="62" y="1"/>
                  </a:lnTo>
                  <a:lnTo>
                    <a:pt x="64" y="1"/>
                  </a:lnTo>
                  <a:lnTo>
                    <a:pt x="65" y="3"/>
                  </a:lnTo>
                  <a:lnTo>
                    <a:pt x="65" y="1"/>
                  </a:lnTo>
                  <a:lnTo>
                    <a:pt x="67" y="3"/>
                  </a:lnTo>
                  <a:lnTo>
                    <a:pt x="72" y="3"/>
                  </a:lnTo>
                  <a:lnTo>
                    <a:pt x="76" y="3"/>
                  </a:lnTo>
                  <a:lnTo>
                    <a:pt x="79" y="3"/>
                  </a:lnTo>
                  <a:lnTo>
                    <a:pt x="81" y="3"/>
                  </a:lnTo>
                  <a:lnTo>
                    <a:pt x="83" y="3"/>
                  </a:lnTo>
                  <a:lnTo>
                    <a:pt x="84" y="3"/>
                  </a:lnTo>
                  <a:lnTo>
                    <a:pt x="86" y="3"/>
                  </a:lnTo>
                  <a:lnTo>
                    <a:pt x="89" y="3"/>
                  </a:lnTo>
                  <a:lnTo>
                    <a:pt x="91" y="3"/>
                  </a:lnTo>
                  <a:lnTo>
                    <a:pt x="93" y="3"/>
                  </a:lnTo>
                  <a:lnTo>
                    <a:pt x="96" y="3"/>
                  </a:lnTo>
                  <a:lnTo>
                    <a:pt x="98" y="3"/>
                  </a:lnTo>
                  <a:lnTo>
                    <a:pt x="103" y="3"/>
                  </a:lnTo>
                  <a:lnTo>
                    <a:pt x="105" y="3"/>
                  </a:lnTo>
                  <a:lnTo>
                    <a:pt x="112" y="5"/>
                  </a:lnTo>
                  <a:lnTo>
                    <a:pt x="114" y="5"/>
                  </a:lnTo>
                  <a:lnTo>
                    <a:pt x="117" y="5"/>
                  </a:lnTo>
                  <a:lnTo>
                    <a:pt x="117" y="5"/>
                  </a:lnTo>
                  <a:lnTo>
                    <a:pt x="126" y="5"/>
                  </a:lnTo>
                  <a:lnTo>
                    <a:pt x="132" y="5"/>
                  </a:lnTo>
                  <a:lnTo>
                    <a:pt x="136" y="5"/>
                  </a:lnTo>
                  <a:lnTo>
                    <a:pt x="138" y="5"/>
                  </a:lnTo>
                  <a:lnTo>
                    <a:pt x="141" y="5"/>
                  </a:lnTo>
                  <a:lnTo>
                    <a:pt x="148" y="5"/>
                  </a:lnTo>
                  <a:lnTo>
                    <a:pt x="150" y="5"/>
                  </a:lnTo>
                  <a:lnTo>
                    <a:pt x="151" y="5"/>
                  </a:lnTo>
                  <a:lnTo>
                    <a:pt x="160" y="5"/>
                  </a:lnTo>
                  <a:lnTo>
                    <a:pt x="167" y="5"/>
                  </a:lnTo>
                  <a:lnTo>
                    <a:pt x="170" y="5"/>
                  </a:lnTo>
                  <a:lnTo>
                    <a:pt x="172" y="5"/>
                  </a:lnTo>
                  <a:lnTo>
                    <a:pt x="189" y="7"/>
                  </a:lnTo>
                  <a:lnTo>
                    <a:pt x="193" y="7"/>
                  </a:lnTo>
                  <a:lnTo>
                    <a:pt x="196" y="7"/>
                  </a:lnTo>
                  <a:lnTo>
                    <a:pt x="200" y="7"/>
                  </a:lnTo>
                  <a:lnTo>
                    <a:pt x="203" y="7"/>
                  </a:lnTo>
                  <a:lnTo>
                    <a:pt x="205" y="7"/>
                  </a:lnTo>
                  <a:lnTo>
                    <a:pt x="208" y="7"/>
                  </a:lnTo>
                  <a:lnTo>
                    <a:pt x="217" y="7"/>
                  </a:lnTo>
                  <a:lnTo>
                    <a:pt x="218" y="7"/>
                  </a:lnTo>
                  <a:lnTo>
                    <a:pt x="227" y="7"/>
                  </a:lnTo>
                  <a:lnTo>
                    <a:pt x="236" y="7"/>
                  </a:lnTo>
                  <a:lnTo>
                    <a:pt x="237" y="7"/>
                  </a:lnTo>
                  <a:lnTo>
                    <a:pt x="237" y="7"/>
                  </a:lnTo>
                  <a:lnTo>
                    <a:pt x="246" y="7"/>
                  </a:lnTo>
                  <a:lnTo>
                    <a:pt x="248" y="7"/>
                  </a:lnTo>
                  <a:lnTo>
                    <a:pt x="251" y="7"/>
                  </a:lnTo>
                  <a:lnTo>
                    <a:pt x="253" y="7"/>
                  </a:lnTo>
                  <a:lnTo>
                    <a:pt x="260" y="7"/>
                  </a:lnTo>
                  <a:lnTo>
                    <a:pt x="263" y="7"/>
                  </a:lnTo>
                  <a:lnTo>
                    <a:pt x="267" y="7"/>
                  </a:lnTo>
                  <a:lnTo>
                    <a:pt x="268" y="7"/>
                  </a:lnTo>
                  <a:lnTo>
                    <a:pt x="268" y="7"/>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1" name="Freeform 227"/>
            <p:cNvSpPr>
              <a:spLocks/>
            </p:cNvSpPr>
            <p:nvPr/>
          </p:nvSpPr>
          <p:spPr bwMode="auto">
            <a:xfrm>
              <a:off x="4520496" y="4768644"/>
              <a:ext cx="549275" cy="414338"/>
            </a:xfrm>
            <a:custGeom>
              <a:avLst/>
              <a:gdLst/>
              <a:ahLst/>
              <a:cxnLst>
                <a:cxn ang="0">
                  <a:pos x="287" y="10"/>
                </a:cxn>
                <a:cxn ang="0">
                  <a:pos x="312" y="10"/>
                </a:cxn>
                <a:cxn ang="0">
                  <a:pos x="337" y="12"/>
                </a:cxn>
                <a:cxn ang="0">
                  <a:pos x="339" y="33"/>
                </a:cxn>
                <a:cxn ang="0">
                  <a:pos x="339" y="46"/>
                </a:cxn>
                <a:cxn ang="0">
                  <a:pos x="339" y="60"/>
                </a:cxn>
                <a:cxn ang="0">
                  <a:pos x="339" y="77"/>
                </a:cxn>
                <a:cxn ang="0">
                  <a:pos x="337" y="101"/>
                </a:cxn>
                <a:cxn ang="0">
                  <a:pos x="337" y="115"/>
                </a:cxn>
                <a:cxn ang="0">
                  <a:pos x="346" y="125"/>
                </a:cxn>
                <a:cxn ang="0">
                  <a:pos x="346" y="162"/>
                </a:cxn>
                <a:cxn ang="0">
                  <a:pos x="346" y="189"/>
                </a:cxn>
                <a:cxn ang="0">
                  <a:pos x="344" y="217"/>
                </a:cxn>
                <a:cxn ang="0">
                  <a:pos x="344" y="237"/>
                </a:cxn>
                <a:cxn ang="0">
                  <a:pos x="344" y="251"/>
                </a:cxn>
                <a:cxn ang="0">
                  <a:pos x="320" y="261"/>
                </a:cxn>
                <a:cxn ang="0">
                  <a:pos x="306" y="260"/>
                </a:cxn>
                <a:cxn ang="0">
                  <a:pos x="294" y="260"/>
                </a:cxn>
                <a:cxn ang="0">
                  <a:pos x="275" y="260"/>
                </a:cxn>
                <a:cxn ang="0">
                  <a:pos x="258" y="258"/>
                </a:cxn>
                <a:cxn ang="0">
                  <a:pos x="244" y="258"/>
                </a:cxn>
                <a:cxn ang="0">
                  <a:pos x="227" y="258"/>
                </a:cxn>
                <a:cxn ang="0">
                  <a:pos x="214" y="256"/>
                </a:cxn>
                <a:cxn ang="0">
                  <a:pos x="193" y="256"/>
                </a:cxn>
                <a:cxn ang="0">
                  <a:pos x="177" y="256"/>
                </a:cxn>
                <a:cxn ang="0">
                  <a:pos x="162" y="256"/>
                </a:cxn>
                <a:cxn ang="0">
                  <a:pos x="146" y="255"/>
                </a:cxn>
                <a:cxn ang="0">
                  <a:pos x="129" y="255"/>
                </a:cxn>
                <a:cxn ang="0">
                  <a:pos x="105" y="255"/>
                </a:cxn>
                <a:cxn ang="0">
                  <a:pos x="81" y="255"/>
                </a:cxn>
                <a:cxn ang="0">
                  <a:pos x="57" y="253"/>
                </a:cxn>
                <a:cxn ang="0">
                  <a:pos x="42" y="253"/>
                </a:cxn>
                <a:cxn ang="0">
                  <a:pos x="17" y="253"/>
                </a:cxn>
                <a:cxn ang="0">
                  <a:pos x="11" y="244"/>
                </a:cxn>
                <a:cxn ang="0">
                  <a:pos x="11" y="222"/>
                </a:cxn>
                <a:cxn ang="0">
                  <a:pos x="11" y="206"/>
                </a:cxn>
                <a:cxn ang="0">
                  <a:pos x="11" y="175"/>
                </a:cxn>
                <a:cxn ang="0">
                  <a:pos x="11" y="162"/>
                </a:cxn>
                <a:cxn ang="0">
                  <a:pos x="12" y="139"/>
                </a:cxn>
                <a:cxn ang="0">
                  <a:pos x="12" y="120"/>
                </a:cxn>
                <a:cxn ang="0">
                  <a:pos x="7" y="112"/>
                </a:cxn>
                <a:cxn ang="0">
                  <a:pos x="0" y="105"/>
                </a:cxn>
                <a:cxn ang="0">
                  <a:pos x="0" y="95"/>
                </a:cxn>
                <a:cxn ang="0">
                  <a:pos x="2" y="79"/>
                </a:cxn>
                <a:cxn ang="0">
                  <a:pos x="2" y="62"/>
                </a:cxn>
                <a:cxn ang="0">
                  <a:pos x="2" y="38"/>
                </a:cxn>
                <a:cxn ang="0">
                  <a:pos x="4" y="21"/>
                </a:cxn>
                <a:cxn ang="0">
                  <a:pos x="4" y="9"/>
                </a:cxn>
                <a:cxn ang="0">
                  <a:pos x="26" y="0"/>
                </a:cxn>
                <a:cxn ang="0">
                  <a:pos x="45" y="2"/>
                </a:cxn>
                <a:cxn ang="0">
                  <a:pos x="72" y="2"/>
                </a:cxn>
                <a:cxn ang="0">
                  <a:pos x="102" y="3"/>
                </a:cxn>
                <a:cxn ang="0">
                  <a:pos x="122" y="3"/>
                </a:cxn>
                <a:cxn ang="0">
                  <a:pos x="141" y="5"/>
                </a:cxn>
                <a:cxn ang="0">
                  <a:pos x="162" y="5"/>
                </a:cxn>
                <a:cxn ang="0">
                  <a:pos x="177" y="7"/>
                </a:cxn>
                <a:cxn ang="0">
                  <a:pos x="196" y="7"/>
                </a:cxn>
                <a:cxn ang="0">
                  <a:pos x="214" y="7"/>
                </a:cxn>
                <a:cxn ang="0">
                  <a:pos x="227" y="9"/>
                </a:cxn>
                <a:cxn ang="0">
                  <a:pos x="243" y="9"/>
                </a:cxn>
                <a:cxn ang="0">
                  <a:pos x="267" y="9"/>
                </a:cxn>
              </a:cxnLst>
              <a:rect l="0" t="0" r="r" b="b"/>
              <a:pathLst>
                <a:path w="346" h="261">
                  <a:moveTo>
                    <a:pt x="272" y="10"/>
                  </a:moveTo>
                  <a:lnTo>
                    <a:pt x="274" y="10"/>
                  </a:lnTo>
                  <a:lnTo>
                    <a:pt x="275" y="10"/>
                  </a:lnTo>
                  <a:lnTo>
                    <a:pt x="282" y="10"/>
                  </a:lnTo>
                  <a:lnTo>
                    <a:pt x="286" y="10"/>
                  </a:lnTo>
                  <a:lnTo>
                    <a:pt x="287" y="10"/>
                  </a:lnTo>
                  <a:lnTo>
                    <a:pt x="296" y="10"/>
                  </a:lnTo>
                  <a:lnTo>
                    <a:pt x="298" y="10"/>
                  </a:lnTo>
                  <a:lnTo>
                    <a:pt x="298" y="10"/>
                  </a:lnTo>
                  <a:lnTo>
                    <a:pt x="300" y="10"/>
                  </a:lnTo>
                  <a:lnTo>
                    <a:pt x="308" y="10"/>
                  </a:lnTo>
                  <a:lnTo>
                    <a:pt x="312" y="10"/>
                  </a:lnTo>
                  <a:lnTo>
                    <a:pt x="317" y="12"/>
                  </a:lnTo>
                  <a:lnTo>
                    <a:pt x="327" y="12"/>
                  </a:lnTo>
                  <a:lnTo>
                    <a:pt x="329" y="12"/>
                  </a:lnTo>
                  <a:lnTo>
                    <a:pt x="332" y="12"/>
                  </a:lnTo>
                  <a:lnTo>
                    <a:pt x="334" y="12"/>
                  </a:lnTo>
                  <a:lnTo>
                    <a:pt x="337" y="12"/>
                  </a:lnTo>
                  <a:lnTo>
                    <a:pt x="339" y="12"/>
                  </a:lnTo>
                  <a:lnTo>
                    <a:pt x="341" y="12"/>
                  </a:lnTo>
                  <a:lnTo>
                    <a:pt x="341" y="17"/>
                  </a:lnTo>
                  <a:lnTo>
                    <a:pt x="339" y="19"/>
                  </a:lnTo>
                  <a:lnTo>
                    <a:pt x="339" y="22"/>
                  </a:lnTo>
                  <a:lnTo>
                    <a:pt x="339" y="33"/>
                  </a:lnTo>
                  <a:lnTo>
                    <a:pt x="339" y="34"/>
                  </a:lnTo>
                  <a:lnTo>
                    <a:pt x="339" y="36"/>
                  </a:lnTo>
                  <a:lnTo>
                    <a:pt x="339" y="38"/>
                  </a:lnTo>
                  <a:lnTo>
                    <a:pt x="339" y="41"/>
                  </a:lnTo>
                  <a:lnTo>
                    <a:pt x="339" y="43"/>
                  </a:lnTo>
                  <a:lnTo>
                    <a:pt x="339" y="46"/>
                  </a:lnTo>
                  <a:lnTo>
                    <a:pt x="339" y="48"/>
                  </a:lnTo>
                  <a:lnTo>
                    <a:pt x="339" y="50"/>
                  </a:lnTo>
                  <a:lnTo>
                    <a:pt x="339" y="53"/>
                  </a:lnTo>
                  <a:lnTo>
                    <a:pt x="339" y="57"/>
                  </a:lnTo>
                  <a:lnTo>
                    <a:pt x="339" y="58"/>
                  </a:lnTo>
                  <a:lnTo>
                    <a:pt x="339" y="60"/>
                  </a:lnTo>
                  <a:lnTo>
                    <a:pt x="339" y="62"/>
                  </a:lnTo>
                  <a:lnTo>
                    <a:pt x="339" y="64"/>
                  </a:lnTo>
                  <a:lnTo>
                    <a:pt x="339" y="65"/>
                  </a:lnTo>
                  <a:lnTo>
                    <a:pt x="339" y="67"/>
                  </a:lnTo>
                  <a:lnTo>
                    <a:pt x="339" y="69"/>
                  </a:lnTo>
                  <a:lnTo>
                    <a:pt x="339" y="77"/>
                  </a:lnTo>
                  <a:lnTo>
                    <a:pt x="339" y="84"/>
                  </a:lnTo>
                  <a:lnTo>
                    <a:pt x="339" y="86"/>
                  </a:lnTo>
                  <a:lnTo>
                    <a:pt x="339" y="88"/>
                  </a:lnTo>
                  <a:lnTo>
                    <a:pt x="337" y="96"/>
                  </a:lnTo>
                  <a:lnTo>
                    <a:pt x="337" y="100"/>
                  </a:lnTo>
                  <a:lnTo>
                    <a:pt x="337" y="101"/>
                  </a:lnTo>
                  <a:lnTo>
                    <a:pt x="337" y="103"/>
                  </a:lnTo>
                  <a:lnTo>
                    <a:pt x="337" y="105"/>
                  </a:lnTo>
                  <a:lnTo>
                    <a:pt x="337" y="110"/>
                  </a:lnTo>
                  <a:lnTo>
                    <a:pt x="337" y="112"/>
                  </a:lnTo>
                  <a:lnTo>
                    <a:pt x="337" y="113"/>
                  </a:lnTo>
                  <a:lnTo>
                    <a:pt x="337" y="115"/>
                  </a:lnTo>
                  <a:lnTo>
                    <a:pt x="337" y="120"/>
                  </a:lnTo>
                  <a:lnTo>
                    <a:pt x="337" y="122"/>
                  </a:lnTo>
                  <a:lnTo>
                    <a:pt x="343" y="122"/>
                  </a:lnTo>
                  <a:lnTo>
                    <a:pt x="343" y="122"/>
                  </a:lnTo>
                  <a:lnTo>
                    <a:pt x="346" y="122"/>
                  </a:lnTo>
                  <a:lnTo>
                    <a:pt x="346" y="125"/>
                  </a:lnTo>
                  <a:lnTo>
                    <a:pt x="346" y="136"/>
                  </a:lnTo>
                  <a:lnTo>
                    <a:pt x="346" y="138"/>
                  </a:lnTo>
                  <a:lnTo>
                    <a:pt x="346" y="141"/>
                  </a:lnTo>
                  <a:lnTo>
                    <a:pt x="346" y="148"/>
                  </a:lnTo>
                  <a:lnTo>
                    <a:pt x="346" y="162"/>
                  </a:lnTo>
                  <a:lnTo>
                    <a:pt x="346" y="162"/>
                  </a:lnTo>
                  <a:lnTo>
                    <a:pt x="346" y="172"/>
                  </a:lnTo>
                  <a:lnTo>
                    <a:pt x="346" y="174"/>
                  </a:lnTo>
                  <a:lnTo>
                    <a:pt x="346" y="177"/>
                  </a:lnTo>
                  <a:lnTo>
                    <a:pt x="346" y="179"/>
                  </a:lnTo>
                  <a:lnTo>
                    <a:pt x="346" y="184"/>
                  </a:lnTo>
                  <a:lnTo>
                    <a:pt x="346" y="189"/>
                  </a:lnTo>
                  <a:lnTo>
                    <a:pt x="344" y="198"/>
                  </a:lnTo>
                  <a:lnTo>
                    <a:pt x="344" y="201"/>
                  </a:lnTo>
                  <a:lnTo>
                    <a:pt x="344" y="203"/>
                  </a:lnTo>
                  <a:lnTo>
                    <a:pt x="344" y="206"/>
                  </a:lnTo>
                  <a:lnTo>
                    <a:pt x="344" y="213"/>
                  </a:lnTo>
                  <a:lnTo>
                    <a:pt x="344" y="217"/>
                  </a:lnTo>
                  <a:lnTo>
                    <a:pt x="344" y="220"/>
                  </a:lnTo>
                  <a:lnTo>
                    <a:pt x="344" y="222"/>
                  </a:lnTo>
                  <a:lnTo>
                    <a:pt x="344" y="234"/>
                  </a:lnTo>
                  <a:lnTo>
                    <a:pt x="344" y="236"/>
                  </a:lnTo>
                  <a:lnTo>
                    <a:pt x="344" y="237"/>
                  </a:lnTo>
                  <a:lnTo>
                    <a:pt x="344" y="237"/>
                  </a:lnTo>
                  <a:lnTo>
                    <a:pt x="344" y="239"/>
                  </a:lnTo>
                  <a:lnTo>
                    <a:pt x="344" y="241"/>
                  </a:lnTo>
                  <a:lnTo>
                    <a:pt x="344" y="242"/>
                  </a:lnTo>
                  <a:lnTo>
                    <a:pt x="344" y="244"/>
                  </a:lnTo>
                  <a:lnTo>
                    <a:pt x="344" y="246"/>
                  </a:lnTo>
                  <a:lnTo>
                    <a:pt x="344" y="251"/>
                  </a:lnTo>
                  <a:lnTo>
                    <a:pt x="344" y="261"/>
                  </a:lnTo>
                  <a:lnTo>
                    <a:pt x="343" y="261"/>
                  </a:lnTo>
                  <a:lnTo>
                    <a:pt x="336" y="261"/>
                  </a:lnTo>
                  <a:lnTo>
                    <a:pt x="332" y="261"/>
                  </a:lnTo>
                  <a:lnTo>
                    <a:pt x="322" y="261"/>
                  </a:lnTo>
                  <a:lnTo>
                    <a:pt x="320" y="261"/>
                  </a:lnTo>
                  <a:lnTo>
                    <a:pt x="318" y="261"/>
                  </a:lnTo>
                  <a:lnTo>
                    <a:pt x="317" y="261"/>
                  </a:lnTo>
                  <a:lnTo>
                    <a:pt x="313" y="261"/>
                  </a:lnTo>
                  <a:lnTo>
                    <a:pt x="312" y="260"/>
                  </a:lnTo>
                  <a:lnTo>
                    <a:pt x="308" y="260"/>
                  </a:lnTo>
                  <a:lnTo>
                    <a:pt x="306" y="260"/>
                  </a:lnTo>
                  <a:lnTo>
                    <a:pt x="305" y="260"/>
                  </a:lnTo>
                  <a:lnTo>
                    <a:pt x="303" y="260"/>
                  </a:lnTo>
                  <a:lnTo>
                    <a:pt x="301" y="260"/>
                  </a:lnTo>
                  <a:lnTo>
                    <a:pt x="300" y="260"/>
                  </a:lnTo>
                  <a:lnTo>
                    <a:pt x="298" y="260"/>
                  </a:lnTo>
                  <a:lnTo>
                    <a:pt x="294" y="260"/>
                  </a:lnTo>
                  <a:lnTo>
                    <a:pt x="286" y="260"/>
                  </a:lnTo>
                  <a:lnTo>
                    <a:pt x="284" y="260"/>
                  </a:lnTo>
                  <a:lnTo>
                    <a:pt x="282" y="260"/>
                  </a:lnTo>
                  <a:lnTo>
                    <a:pt x="282" y="260"/>
                  </a:lnTo>
                  <a:lnTo>
                    <a:pt x="279" y="260"/>
                  </a:lnTo>
                  <a:lnTo>
                    <a:pt x="275" y="260"/>
                  </a:lnTo>
                  <a:lnTo>
                    <a:pt x="270" y="260"/>
                  </a:lnTo>
                  <a:lnTo>
                    <a:pt x="267" y="260"/>
                  </a:lnTo>
                  <a:lnTo>
                    <a:pt x="265" y="260"/>
                  </a:lnTo>
                  <a:lnTo>
                    <a:pt x="263" y="260"/>
                  </a:lnTo>
                  <a:lnTo>
                    <a:pt x="260" y="258"/>
                  </a:lnTo>
                  <a:lnTo>
                    <a:pt x="258" y="258"/>
                  </a:lnTo>
                  <a:lnTo>
                    <a:pt x="257" y="258"/>
                  </a:lnTo>
                  <a:lnTo>
                    <a:pt x="255" y="258"/>
                  </a:lnTo>
                  <a:lnTo>
                    <a:pt x="253" y="258"/>
                  </a:lnTo>
                  <a:lnTo>
                    <a:pt x="251" y="258"/>
                  </a:lnTo>
                  <a:lnTo>
                    <a:pt x="246" y="258"/>
                  </a:lnTo>
                  <a:lnTo>
                    <a:pt x="244" y="258"/>
                  </a:lnTo>
                  <a:lnTo>
                    <a:pt x="243" y="258"/>
                  </a:lnTo>
                  <a:lnTo>
                    <a:pt x="241" y="258"/>
                  </a:lnTo>
                  <a:lnTo>
                    <a:pt x="236" y="258"/>
                  </a:lnTo>
                  <a:lnTo>
                    <a:pt x="234" y="258"/>
                  </a:lnTo>
                  <a:lnTo>
                    <a:pt x="231" y="258"/>
                  </a:lnTo>
                  <a:lnTo>
                    <a:pt x="227" y="258"/>
                  </a:lnTo>
                  <a:lnTo>
                    <a:pt x="222" y="256"/>
                  </a:lnTo>
                  <a:lnTo>
                    <a:pt x="220" y="256"/>
                  </a:lnTo>
                  <a:lnTo>
                    <a:pt x="219" y="256"/>
                  </a:lnTo>
                  <a:lnTo>
                    <a:pt x="217" y="256"/>
                  </a:lnTo>
                  <a:lnTo>
                    <a:pt x="215" y="256"/>
                  </a:lnTo>
                  <a:lnTo>
                    <a:pt x="214" y="256"/>
                  </a:lnTo>
                  <a:lnTo>
                    <a:pt x="208" y="256"/>
                  </a:lnTo>
                  <a:lnTo>
                    <a:pt x="203" y="256"/>
                  </a:lnTo>
                  <a:lnTo>
                    <a:pt x="201" y="256"/>
                  </a:lnTo>
                  <a:lnTo>
                    <a:pt x="200" y="256"/>
                  </a:lnTo>
                  <a:lnTo>
                    <a:pt x="198" y="256"/>
                  </a:lnTo>
                  <a:lnTo>
                    <a:pt x="193" y="256"/>
                  </a:lnTo>
                  <a:lnTo>
                    <a:pt x="191" y="256"/>
                  </a:lnTo>
                  <a:lnTo>
                    <a:pt x="189" y="256"/>
                  </a:lnTo>
                  <a:lnTo>
                    <a:pt x="188" y="256"/>
                  </a:lnTo>
                  <a:lnTo>
                    <a:pt x="184" y="256"/>
                  </a:lnTo>
                  <a:lnTo>
                    <a:pt x="179" y="256"/>
                  </a:lnTo>
                  <a:lnTo>
                    <a:pt x="177" y="256"/>
                  </a:lnTo>
                  <a:lnTo>
                    <a:pt x="172" y="256"/>
                  </a:lnTo>
                  <a:lnTo>
                    <a:pt x="169" y="256"/>
                  </a:lnTo>
                  <a:lnTo>
                    <a:pt x="167" y="256"/>
                  </a:lnTo>
                  <a:lnTo>
                    <a:pt x="165" y="256"/>
                  </a:lnTo>
                  <a:lnTo>
                    <a:pt x="162" y="256"/>
                  </a:lnTo>
                  <a:lnTo>
                    <a:pt x="162" y="256"/>
                  </a:lnTo>
                  <a:lnTo>
                    <a:pt x="160" y="256"/>
                  </a:lnTo>
                  <a:lnTo>
                    <a:pt x="157" y="256"/>
                  </a:lnTo>
                  <a:lnTo>
                    <a:pt x="155" y="256"/>
                  </a:lnTo>
                  <a:lnTo>
                    <a:pt x="153" y="256"/>
                  </a:lnTo>
                  <a:lnTo>
                    <a:pt x="150" y="255"/>
                  </a:lnTo>
                  <a:lnTo>
                    <a:pt x="146" y="255"/>
                  </a:lnTo>
                  <a:lnTo>
                    <a:pt x="145" y="255"/>
                  </a:lnTo>
                  <a:lnTo>
                    <a:pt x="140" y="255"/>
                  </a:lnTo>
                  <a:lnTo>
                    <a:pt x="136" y="255"/>
                  </a:lnTo>
                  <a:lnTo>
                    <a:pt x="133" y="255"/>
                  </a:lnTo>
                  <a:lnTo>
                    <a:pt x="133" y="255"/>
                  </a:lnTo>
                  <a:lnTo>
                    <a:pt x="129" y="255"/>
                  </a:lnTo>
                  <a:lnTo>
                    <a:pt x="122" y="255"/>
                  </a:lnTo>
                  <a:lnTo>
                    <a:pt x="119" y="255"/>
                  </a:lnTo>
                  <a:lnTo>
                    <a:pt x="115" y="255"/>
                  </a:lnTo>
                  <a:lnTo>
                    <a:pt x="112" y="255"/>
                  </a:lnTo>
                  <a:lnTo>
                    <a:pt x="109" y="255"/>
                  </a:lnTo>
                  <a:lnTo>
                    <a:pt x="105" y="255"/>
                  </a:lnTo>
                  <a:lnTo>
                    <a:pt x="100" y="255"/>
                  </a:lnTo>
                  <a:lnTo>
                    <a:pt x="97" y="255"/>
                  </a:lnTo>
                  <a:lnTo>
                    <a:pt x="91" y="255"/>
                  </a:lnTo>
                  <a:lnTo>
                    <a:pt x="88" y="255"/>
                  </a:lnTo>
                  <a:lnTo>
                    <a:pt x="83" y="255"/>
                  </a:lnTo>
                  <a:lnTo>
                    <a:pt x="81" y="255"/>
                  </a:lnTo>
                  <a:lnTo>
                    <a:pt x="78" y="253"/>
                  </a:lnTo>
                  <a:lnTo>
                    <a:pt x="76" y="253"/>
                  </a:lnTo>
                  <a:lnTo>
                    <a:pt x="71" y="253"/>
                  </a:lnTo>
                  <a:lnTo>
                    <a:pt x="67" y="253"/>
                  </a:lnTo>
                  <a:lnTo>
                    <a:pt x="64" y="253"/>
                  </a:lnTo>
                  <a:lnTo>
                    <a:pt x="57" y="253"/>
                  </a:lnTo>
                  <a:lnTo>
                    <a:pt x="54" y="253"/>
                  </a:lnTo>
                  <a:lnTo>
                    <a:pt x="52" y="253"/>
                  </a:lnTo>
                  <a:lnTo>
                    <a:pt x="50" y="253"/>
                  </a:lnTo>
                  <a:lnTo>
                    <a:pt x="43" y="253"/>
                  </a:lnTo>
                  <a:lnTo>
                    <a:pt x="42" y="253"/>
                  </a:lnTo>
                  <a:lnTo>
                    <a:pt x="42" y="253"/>
                  </a:lnTo>
                  <a:lnTo>
                    <a:pt x="36" y="253"/>
                  </a:lnTo>
                  <a:lnTo>
                    <a:pt x="33" y="253"/>
                  </a:lnTo>
                  <a:lnTo>
                    <a:pt x="31" y="253"/>
                  </a:lnTo>
                  <a:lnTo>
                    <a:pt x="26" y="253"/>
                  </a:lnTo>
                  <a:lnTo>
                    <a:pt x="21" y="253"/>
                  </a:lnTo>
                  <a:lnTo>
                    <a:pt x="17" y="253"/>
                  </a:lnTo>
                  <a:lnTo>
                    <a:pt x="16" y="253"/>
                  </a:lnTo>
                  <a:lnTo>
                    <a:pt x="12" y="253"/>
                  </a:lnTo>
                  <a:lnTo>
                    <a:pt x="11" y="253"/>
                  </a:lnTo>
                  <a:lnTo>
                    <a:pt x="11" y="253"/>
                  </a:lnTo>
                  <a:lnTo>
                    <a:pt x="11" y="251"/>
                  </a:lnTo>
                  <a:lnTo>
                    <a:pt x="11" y="244"/>
                  </a:lnTo>
                  <a:lnTo>
                    <a:pt x="11" y="241"/>
                  </a:lnTo>
                  <a:lnTo>
                    <a:pt x="11" y="236"/>
                  </a:lnTo>
                  <a:lnTo>
                    <a:pt x="11" y="232"/>
                  </a:lnTo>
                  <a:lnTo>
                    <a:pt x="11" y="229"/>
                  </a:lnTo>
                  <a:lnTo>
                    <a:pt x="11" y="224"/>
                  </a:lnTo>
                  <a:lnTo>
                    <a:pt x="11" y="222"/>
                  </a:lnTo>
                  <a:lnTo>
                    <a:pt x="11" y="220"/>
                  </a:lnTo>
                  <a:lnTo>
                    <a:pt x="11" y="218"/>
                  </a:lnTo>
                  <a:lnTo>
                    <a:pt x="11" y="212"/>
                  </a:lnTo>
                  <a:lnTo>
                    <a:pt x="11" y="208"/>
                  </a:lnTo>
                  <a:lnTo>
                    <a:pt x="11" y="208"/>
                  </a:lnTo>
                  <a:lnTo>
                    <a:pt x="11" y="206"/>
                  </a:lnTo>
                  <a:lnTo>
                    <a:pt x="11" y="196"/>
                  </a:lnTo>
                  <a:lnTo>
                    <a:pt x="11" y="193"/>
                  </a:lnTo>
                  <a:lnTo>
                    <a:pt x="11" y="191"/>
                  </a:lnTo>
                  <a:lnTo>
                    <a:pt x="11" y="186"/>
                  </a:lnTo>
                  <a:lnTo>
                    <a:pt x="11" y="179"/>
                  </a:lnTo>
                  <a:lnTo>
                    <a:pt x="11" y="175"/>
                  </a:lnTo>
                  <a:lnTo>
                    <a:pt x="11" y="172"/>
                  </a:lnTo>
                  <a:lnTo>
                    <a:pt x="11" y="169"/>
                  </a:lnTo>
                  <a:lnTo>
                    <a:pt x="11" y="165"/>
                  </a:lnTo>
                  <a:lnTo>
                    <a:pt x="11" y="163"/>
                  </a:lnTo>
                  <a:lnTo>
                    <a:pt x="11" y="162"/>
                  </a:lnTo>
                  <a:lnTo>
                    <a:pt x="11" y="162"/>
                  </a:lnTo>
                  <a:lnTo>
                    <a:pt x="12" y="158"/>
                  </a:lnTo>
                  <a:lnTo>
                    <a:pt x="12" y="155"/>
                  </a:lnTo>
                  <a:lnTo>
                    <a:pt x="12" y="151"/>
                  </a:lnTo>
                  <a:lnTo>
                    <a:pt x="12" y="150"/>
                  </a:lnTo>
                  <a:lnTo>
                    <a:pt x="12" y="141"/>
                  </a:lnTo>
                  <a:lnTo>
                    <a:pt x="12" y="139"/>
                  </a:lnTo>
                  <a:lnTo>
                    <a:pt x="12" y="136"/>
                  </a:lnTo>
                  <a:lnTo>
                    <a:pt x="12" y="132"/>
                  </a:lnTo>
                  <a:lnTo>
                    <a:pt x="12" y="127"/>
                  </a:lnTo>
                  <a:lnTo>
                    <a:pt x="12" y="124"/>
                  </a:lnTo>
                  <a:lnTo>
                    <a:pt x="12" y="122"/>
                  </a:lnTo>
                  <a:lnTo>
                    <a:pt x="12" y="120"/>
                  </a:lnTo>
                  <a:lnTo>
                    <a:pt x="12" y="117"/>
                  </a:lnTo>
                  <a:lnTo>
                    <a:pt x="12" y="112"/>
                  </a:lnTo>
                  <a:lnTo>
                    <a:pt x="11" y="112"/>
                  </a:lnTo>
                  <a:lnTo>
                    <a:pt x="11" y="112"/>
                  </a:lnTo>
                  <a:lnTo>
                    <a:pt x="9" y="112"/>
                  </a:lnTo>
                  <a:lnTo>
                    <a:pt x="7" y="112"/>
                  </a:lnTo>
                  <a:lnTo>
                    <a:pt x="4" y="112"/>
                  </a:lnTo>
                  <a:lnTo>
                    <a:pt x="0" y="112"/>
                  </a:lnTo>
                  <a:lnTo>
                    <a:pt x="0" y="110"/>
                  </a:lnTo>
                  <a:lnTo>
                    <a:pt x="0" y="108"/>
                  </a:lnTo>
                  <a:lnTo>
                    <a:pt x="0" y="107"/>
                  </a:lnTo>
                  <a:lnTo>
                    <a:pt x="0" y="105"/>
                  </a:lnTo>
                  <a:lnTo>
                    <a:pt x="0" y="103"/>
                  </a:lnTo>
                  <a:lnTo>
                    <a:pt x="0" y="101"/>
                  </a:lnTo>
                  <a:lnTo>
                    <a:pt x="0" y="101"/>
                  </a:lnTo>
                  <a:lnTo>
                    <a:pt x="0" y="100"/>
                  </a:lnTo>
                  <a:lnTo>
                    <a:pt x="0" y="98"/>
                  </a:lnTo>
                  <a:lnTo>
                    <a:pt x="0" y="95"/>
                  </a:lnTo>
                  <a:lnTo>
                    <a:pt x="0" y="93"/>
                  </a:lnTo>
                  <a:lnTo>
                    <a:pt x="0" y="86"/>
                  </a:lnTo>
                  <a:lnTo>
                    <a:pt x="0" y="86"/>
                  </a:lnTo>
                  <a:lnTo>
                    <a:pt x="2" y="84"/>
                  </a:lnTo>
                  <a:lnTo>
                    <a:pt x="2" y="82"/>
                  </a:lnTo>
                  <a:lnTo>
                    <a:pt x="2" y="79"/>
                  </a:lnTo>
                  <a:lnTo>
                    <a:pt x="2" y="77"/>
                  </a:lnTo>
                  <a:lnTo>
                    <a:pt x="2" y="74"/>
                  </a:lnTo>
                  <a:lnTo>
                    <a:pt x="2" y="67"/>
                  </a:lnTo>
                  <a:lnTo>
                    <a:pt x="2" y="65"/>
                  </a:lnTo>
                  <a:lnTo>
                    <a:pt x="2" y="64"/>
                  </a:lnTo>
                  <a:lnTo>
                    <a:pt x="2" y="62"/>
                  </a:lnTo>
                  <a:lnTo>
                    <a:pt x="2" y="50"/>
                  </a:lnTo>
                  <a:lnTo>
                    <a:pt x="2" y="46"/>
                  </a:lnTo>
                  <a:lnTo>
                    <a:pt x="2" y="45"/>
                  </a:lnTo>
                  <a:lnTo>
                    <a:pt x="2" y="41"/>
                  </a:lnTo>
                  <a:lnTo>
                    <a:pt x="2" y="41"/>
                  </a:lnTo>
                  <a:lnTo>
                    <a:pt x="2" y="38"/>
                  </a:lnTo>
                  <a:lnTo>
                    <a:pt x="2" y="33"/>
                  </a:lnTo>
                  <a:lnTo>
                    <a:pt x="4" y="31"/>
                  </a:lnTo>
                  <a:lnTo>
                    <a:pt x="4" y="26"/>
                  </a:lnTo>
                  <a:lnTo>
                    <a:pt x="4" y="26"/>
                  </a:lnTo>
                  <a:lnTo>
                    <a:pt x="4" y="22"/>
                  </a:lnTo>
                  <a:lnTo>
                    <a:pt x="4" y="21"/>
                  </a:lnTo>
                  <a:lnTo>
                    <a:pt x="4" y="17"/>
                  </a:lnTo>
                  <a:lnTo>
                    <a:pt x="4" y="15"/>
                  </a:lnTo>
                  <a:lnTo>
                    <a:pt x="4" y="14"/>
                  </a:lnTo>
                  <a:lnTo>
                    <a:pt x="4" y="12"/>
                  </a:lnTo>
                  <a:lnTo>
                    <a:pt x="4" y="10"/>
                  </a:lnTo>
                  <a:lnTo>
                    <a:pt x="4" y="9"/>
                  </a:lnTo>
                  <a:lnTo>
                    <a:pt x="4" y="5"/>
                  </a:lnTo>
                  <a:lnTo>
                    <a:pt x="4" y="0"/>
                  </a:lnTo>
                  <a:lnTo>
                    <a:pt x="12" y="0"/>
                  </a:lnTo>
                  <a:lnTo>
                    <a:pt x="19" y="0"/>
                  </a:lnTo>
                  <a:lnTo>
                    <a:pt x="21" y="0"/>
                  </a:lnTo>
                  <a:lnTo>
                    <a:pt x="26" y="0"/>
                  </a:lnTo>
                  <a:lnTo>
                    <a:pt x="26" y="0"/>
                  </a:lnTo>
                  <a:lnTo>
                    <a:pt x="28" y="0"/>
                  </a:lnTo>
                  <a:lnTo>
                    <a:pt x="29" y="0"/>
                  </a:lnTo>
                  <a:lnTo>
                    <a:pt x="35" y="0"/>
                  </a:lnTo>
                  <a:lnTo>
                    <a:pt x="42" y="2"/>
                  </a:lnTo>
                  <a:lnTo>
                    <a:pt x="45" y="2"/>
                  </a:lnTo>
                  <a:lnTo>
                    <a:pt x="52" y="2"/>
                  </a:lnTo>
                  <a:lnTo>
                    <a:pt x="55" y="2"/>
                  </a:lnTo>
                  <a:lnTo>
                    <a:pt x="60" y="2"/>
                  </a:lnTo>
                  <a:lnTo>
                    <a:pt x="66" y="2"/>
                  </a:lnTo>
                  <a:lnTo>
                    <a:pt x="71" y="2"/>
                  </a:lnTo>
                  <a:lnTo>
                    <a:pt x="72" y="2"/>
                  </a:lnTo>
                  <a:lnTo>
                    <a:pt x="78" y="2"/>
                  </a:lnTo>
                  <a:lnTo>
                    <a:pt x="83" y="2"/>
                  </a:lnTo>
                  <a:lnTo>
                    <a:pt x="93" y="3"/>
                  </a:lnTo>
                  <a:lnTo>
                    <a:pt x="95" y="3"/>
                  </a:lnTo>
                  <a:lnTo>
                    <a:pt x="102" y="3"/>
                  </a:lnTo>
                  <a:lnTo>
                    <a:pt x="102" y="3"/>
                  </a:lnTo>
                  <a:lnTo>
                    <a:pt x="105" y="3"/>
                  </a:lnTo>
                  <a:lnTo>
                    <a:pt x="110" y="3"/>
                  </a:lnTo>
                  <a:lnTo>
                    <a:pt x="114" y="3"/>
                  </a:lnTo>
                  <a:lnTo>
                    <a:pt x="115" y="3"/>
                  </a:lnTo>
                  <a:lnTo>
                    <a:pt x="117" y="3"/>
                  </a:lnTo>
                  <a:lnTo>
                    <a:pt x="122" y="3"/>
                  </a:lnTo>
                  <a:lnTo>
                    <a:pt x="128" y="3"/>
                  </a:lnTo>
                  <a:lnTo>
                    <a:pt x="129" y="3"/>
                  </a:lnTo>
                  <a:lnTo>
                    <a:pt x="131" y="3"/>
                  </a:lnTo>
                  <a:lnTo>
                    <a:pt x="133" y="5"/>
                  </a:lnTo>
                  <a:lnTo>
                    <a:pt x="140" y="5"/>
                  </a:lnTo>
                  <a:lnTo>
                    <a:pt x="141" y="5"/>
                  </a:lnTo>
                  <a:lnTo>
                    <a:pt x="146" y="5"/>
                  </a:lnTo>
                  <a:lnTo>
                    <a:pt x="150" y="5"/>
                  </a:lnTo>
                  <a:lnTo>
                    <a:pt x="155" y="5"/>
                  </a:lnTo>
                  <a:lnTo>
                    <a:pt x="158" y="5"/>
                  </a:lnTo>
                  <a:lnTo>
                    <a:pt x="160" y="5"/>
                  </a:lnTo>
                  <a:lnTo>
                    <a:pt x="162" y="5"/>
                  </a:lnTo>
                  <a:lnTo>
                    <a:pt x="162" y="5"/>
                  </a:lnTo>
                  <a:lnTo>
                    <a:pt x="165" y="5"/>
                  </a:lnTo>
                  <a:lnTo>
                    <a:pt x="169" y="5"/>
                  </a:lnTo>
                  <a:lnTo>
                    <a:pt x="171" y="5"/>
                  </a:lnTo>
                  <a:lnTo>
                    <a:pt x="172" y="5"/>
                  </a:lnTo>
                  <a:lnTo>
                    <a:pt x="177" y="7"/>
                  </a:lnTo>
                  <a:lnTo>
                    <a:pt x="183" y="7"/>
                  </a:lnTo>
                  <a:lnTo>
                    <a:pt x="184" y="7"/>
                  </a:lnTo>
                  <a:lnTo>
                    <a:pt x="186" y="7"/>
                  </a:lnTo>
                  <a:lnTo>
                    <a:pt x="189" y="7"/>
                  </a:lnTo>
                  <a:lnTo>
                    <a:pt x="193" y="7"/>
                  </a:lnTo>
                  <a:lnTo>
                    <a:pt x="196" y="7"/>
                  </a:lnTo>
                  <a:lnTo>
                    <a:pt x="198" y="7"/>
                  </a:lnTo>
                  <a:lnTo>
                    <a:pt x="200" y="7"/>
                  </a:lnTo>
                  <a:lnTo>
                    <a:pt x="207" y="7"/>
                  </a:lnTo>
                  <a:lnTo>
                    <a:pt x="210" y="7"/>
                  </a:lnTo>
                  <a:lnTo>
                    <a:pt x="212" y="7"/>
                  </a:lnTo>
                  <a:lnTo>
                    <a:pt x="214" y="7"/>
                  </a:lnTo>
                  <a:lnTo>
                    <a:pt x="217" y="7"/>
                  </a:lnTo>
                  <a:lnTo>
                    <a:pt x="219" y="7"/>
                  </a:lnTo>
                  <a:lnTo>
                    <a:pt x="220" y="7"/>
                  </a:lnTo>
                  <a:lnTo>
                    <a:pt x="222" y="9"/>
                  </a:lnTo>
                  <a:lnTo>
                    <a:pt x="224" y="9"/>
                  </a:lnTo>
                  <a:lnTo>
                    <a:pt x="227" y="9"/>
                  </a:lnTo>
                  <a:lnTo>
                    <a:pt x="229" y="9"/>
                  </a:lnTo>
                  <a:lnTo>
                    <a:pt x="231" y="9"/>
                  </a:lnTo>
                  <a:lnTo>
                    <a:pt x="234" y="9"/>
                  </a:lnTo>
                  <a:lnTo>
                    <a:pt x="238" y="9"/>
                  </a:lnTo>
                  <a:lnTo>
                    <a:pt x="241" y="9"/>
                  </a:lnTo>
                  <a:lnTo>
                    <a:pt x="243" y="9"/>
                  </a:lnTo>
                  <a:lnTo>
                    <a:pt x="246" y="9"/>
                  </a:lnTo>
                  <a:lnTo>
                    <a:pt x="251" y="9"/>
                  </a:lnTo>
                  <a:lnTo>
                    <a:pt x="253" y="9"/>
                  </a:lnTo>
                  <a:lnTo>
                    <a:pt x="255" y="9"/>
                  </a:lnTo>
                  <a:lnTo>
                    <a:pt x="258" y="9"/>
                  </a:lnTo>
                  <a:lnTo>
                    <a:pt x="267" y="9"/>
                  </a:lnTo>
                  <a:lnTo>
                    <a:pt x="269" y="9"/>
                  </a:lnTo>
                  <a:lnTo>
                    <a:pt x="272" y="1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2" name="Freeform 228"/>
            <p:cNvSpPr>
              <a:spLocks/>
            </p:cNvSpPr>
            <p:nvPr/>
          </p:nvSpPr>
          <p:spPr bwMode="auto">
            <a:xfrm>
              <a:off x="3552121" y="4833731"/>
              <a:ext cx="554038" cy="393700"/>
            </a:xfrm>
            <a:custGeom>
              <a:avLst/>
              <a:gdLst/>
              <a:ahLst/>
              <a:cxnLst>
                <a:cxn ang="0">
                  <a:pos x="29" y="0"/>
                </a:cxn>
                <a:cxn ang="0">
                  <a:pos x="60" y="2"/>
                </a:cxn>
                <a:cxn ang="0">
                  <a:pos x="74" y="4"/>
                </a:cxn>
                <a:cxn ang="0">
                  <a:pos x="94" y="5"/>
                </a:cxn>
                <a:cxn ang="0">
                  <a:pos x="132" y="7"/>
                </a:cxn>
                <a:cxn ang="0">
                  <a:pos x="173" y="11"/>
                </a:cxn>
                <a:cxn ang="0">
                  <a:pos x="194" y="11"/>
                </a:cxn>
                <a:cxn ang="0">
                  <a:pos x="216" y="12"/>
                </a:cxn>
                <a:cxn ang="0">
                  <a:pos x="237" y="12"/>
                </a:cxn>
                <a:cxn ang="0">
                  <a:pos x="263" y="14"/>
                </a:cxn>
                <a:cxn ang="0">
                  <a:pos x="306" y="16"/>
                </a:cxn>
                <a:cxn ang="0">
                  <a:pos x="332" y="28"/>
                </a:cxn>
                <a:cxn ang="0">
                  <a:pos x="330" y="47"/>
                </a:cxn>
                <a:cxn ang="0">
                  <a:pos x="349" y="62"/>
                </a:cxn>
                <a:cxn ang="0">
                  <a:pos x="349" y="95"/>
                </a:cxn>
                <a:cxn ang="0">
                  <a:pos x="347" y="136"/>
                </a:cxn>
                <a:cxn ang="0">
                  <a:pos x="345" y="153"/>
                </a:cxn>
                <a:cxn ang="0">
                  <a:pos x="345" y="167"/>
                </a:cxn>
                <a:cxn ang="0">
                  <a:pos x="345" y="179"/>
                </a:cxn>
                <a:cxn ang="0">
                  <a:pos x="344" y="200"/>
                </a:cxn>
                <a:cxn ang="0">
                  <a:pos x="344" y="220"/>
                </a:cxn>
                <a:cxn ang="0">
                  <a:pos x="342" y="244"/>
                </a:cxn>
                <a:cxn ang="0">
                  <a:pos x="332" y="248"/>
                </a:cxn>
                <a:cxn ang="0">
                  <a:pos x="306" y="246"/>
                </a:cxn>
                <a:cxn ang="0">
                  <a:pos x="295" y="246"/>
                </a:cxn>
                <a:cxn ang="0">
                  <a:pos x="270" y="244"/>
                </a:cxn>
                <a:cxn ang="0">
                  <a:pos x="242" y="243"/>
                </a:cxn>
                <a:cxn ang="0">
                  <a:pos x="227" y="243"/>
                </a:cxn>
                <a:cxn ang="0">
                  <a:pos x="209" y="241"/>
                </a:cxn>
                <a:cxn ang="0">
                  <a:pos x="191" y="241"/>
                </a:cxn>
                <a:cxn ang="0">
                  <a:pos x="165" y="241"/>
                </a:cxn>
                <a:cxn ang="0">
                  <a:pos x="151" y="241"/>
                </a:cxn>
                <a:cxn ang="0">
                  <a:pos x="141" y="241"/>
                </a:cxn>
                <a:cxn ang="0">
                  <a:pos x="113" y="241"/>
                </a:cxn>
                <a:cxn ang="0">
                  <a:pos x="103" y="241"/>
                </a:cxn>
                <a:cxn ang="0">
                  <a:pos x="89" y="239"/>
                </a:cxn>
                <a:cxn ang="0">
                  <a:pos x="77" y="239"/>
                </a:cxn>
                <a:cxn ang="0">
                  <a:pos x="67" y="239"/>
                </a:cxn>
                <a:cxn ang="0">
                  <a:pos x="58" y="239"/>
                </a:cxn>
                <a:cxn ang="0">
                  <a:pos x="48" y="239"/>
                </a:cxn>
                <a:cxn ang="0">
                  <a:pos x="37" y="238"/>
                </a:cxn>
                <a:cxn ang="0">
                  <a:pos x="24" y="238"/>
                </a:cxn>
                <a:cxn ang="0">
                  <a:pos x="0" y="231"/>
                </a:cxn>
                <a:cxn ang="0">
                  <a:pos x="0" y="219"/>
                </a:cxn>
                <a:cxn ang="0">
                  <a:pos x="0" y="208"/>
                </a:cxn>
                <a:cxn ang="0">
                  <a:pos x="0" y="193"/>
                </a:cxn>
                <a:cxn ang="0">
                  <a:pos x="0" y="171"/>
                </a:cxn>
                <a:cxn ang="0">
                  <a:pos x="0" y="141"/>
                </a:cxn>
                <a:cxn ang="0">
                  <a:pos x="1" y="121"/>
                </a:cxn>
                <a:cxn ang="0">
                  <a:pos x="1" y="103"/>
                </a:cxn>
                <a:cxn ang="0">
                  <a:pos x="1" y="91"/>
                </a:cxn>
                <a:cxn ang="0">
                  <a:pos x="1" y="76"/>
                </a:cxn>
                <a:cxn ang="0">
                  <a:pos x="3" y="52"/>
                </a:cxn>
                <a:cxn ang="0">
                  <a:pos x="3" y="23"/>
                </a:cxn>
                <a:cxn ang="0">
                  <a:pos x="3" y="9"/>
                </a:cxn>
              </a:cxnLst>
              <a:rect l="0" t="0" r="r" b="b"/>
              <a:pathLst>
                <a:path w="349" h="248">
                  <a:moveTo>
                    <a:pt x="3" y="0"/>
                  </a:moveTo>
                  <a:lnTo>
                    <a:pt x="19" y="0"/>
                  </a:lnTo>
                  <a:lnTo>
                    <a:pt x="22" y="0"/>
                  </a:lnTo>
                  <a:lnTo>
                    <a:pt x="25" y="0"/>
                  </a:lnTo>
                  <a:lnTo>
                    <a:pt x="27" y="0"/>
                  </a:lnTo>
                  <a:lnTo>
                    <a:pt x="29" y="0"/>
                  </a:lnTo>
                  <a:lnTo>
                    <a:pt x="34" y="0"/>
                  </a:lnTo>
                  <a:lnTo>
                    <a:pt x="34" y="0"/>
                  </a:lnTo>
                  <a:lnTo>
                    <a:pt x="39" y="2"/>
                  </a:lnTo>
                  <a:lnTo>
                    <a:pt x="48" y="2"/>
                  </a:lnTo>
                  <a:lnTo>
                    <a:pt x="51" y="2"/>
                  </a:lnTo>
                  <a:lnTo>
                    <a:pt x="60" y="2"/>
                  </a:lnTo>
                  <a:lnTo>
                    <a:pt x="63" y="4"/>
                  </a:lnTo>
                  <a:lnTo>
                    <a:pt x="63" y="4"/>
                  </a:lnTo>
                  <a:lnTo>
                    <a:pt x="65" y="4"/>
                  </a:lnTo>
                  <a:lnTo>
                    <a:pt x="68" y="4"/>
                  </a:lnTo>
                  <a:lnTo>
                    <a:pt x="72" y="4"/>
                  </a:lnTo>
                  <a:lnTo>
                    <a:pt x="74" y="4"/>
                  </a:lnTo>
                  <a:lnTo>
                    <a:pt x="75" y="4"/>
                  </a:lnTo>
                  <a:lnTo>
                    <a:pt x="79" y="4"/>
                  </a:lnTo>
                  <a:lnTo>
                    <a:pt x="80" y="5"/>
                  </a:lnTo>
                  <a:lnTo>
                    <a:pt x="84" y="5"/>
                  </a:lnTo>
                  <a:lnTo>
                    <a:pt x="86" y="5"/>
                  </a:lnTo>
                  <a:lnTo>
                    <a:pt x="94" y="5"/>
                  </a:lnTo>
                  <a:lnTo>
                    <a:pt x="96" y="5"/>
                  </a:lnTo>
                  <a:lnTo>
                    <a:pt x="101" y="7"/>
                  </a:lnTo>
                  <a:lnTo>
                    <a:pt x="108" y="7"/>
                  </a:lnTo>
                  <a:lnTo>
                    <a:pt x="118" y="7"/>
                  </a:lnTo>
                  <a:lnTo>
                    <a:pt x="120" y="7"/>
                  </a:lnTo>
                  <a:lnTo>
                    <a:pt x="132" y="7"/>
                  </a:lnTo>
                  <a:lnTo>
                    <a:pt x="141" y="9"/>
                  </a:lnTo>
                  <a:lnTo>
                    <a:pt x="148" y="9"/>
                  </a:lnTo>
                  <a:lnTo>
                    <a:pt x="151" y="9"/>
                  </a:lnTo>
                  <a:lnTo>
                    <a:pt x="153" y="9"/>
                  </a:lnTo>
                  <a:lnTo>
                    <a:pt x="163" y="9"/>
                  </a:lnTo>
                  <a:lnTo>
                    <a:pt x="173" y="11"/>
                  </a:lnTo>
                  <a:lnTo>
                    <a:pt x="180" y="11"/>
                  </a:lnTo>
                  <a:lnTo>
                    <a:pt x="184" y="11"/>
                  </a:lnTo>
                  <a:lnTo>
                    <a:pt x="185" y="11"/>
                  </a:lnTo>
                  <a:lnTo>
                    <a:pt x="189" y="11"/>
                  </a:lnTo>
                  <a:lnTo>
                    <a:pt x="191" y="11"/>
                  </a:lnTo>
                  <a:lnTo>
                    <a:pt x="194" y="11"/>
                  </a:lnTo>
                  <a:lnTo>
                    <a:pt x="197" y="11"/>
                  </a:lnTo>
                  <a:lnTo>
                    <a:pt x="199" y="11"/>
                  </a:lnTo>
                  <a:lnTo>
                    <a:pt x="201" y="11"/>
                  </a:lnTo>
                  <a:lnTo>
                    <a:pt x="208" y="12"/>
                  </a:lnTo>
                  <a:lnTo>
                    <a:pt x="215" y="12"/>
                  </a:lnTo>
                  <a:lnTo>
                    <a:pt x="216" y="12"/>
                  </a:lnTo>
                  <a:lnTo>
                    <a:pt x="218" y="12"/>
                  </a:lnTo>
                  <a:lnTo>
                    <a:pt x="227" y="12"/>
                  </a:lnTo>
                  <a:lnTo>
                    <a:pt x="228" y="12"/>
                  </a:lnTo>
                  <a:lnTo>
                    <a:pt x="230" y="12"/>
                  </a:lnTo>
                  <a:lnTo>
                    <a:pt x="235" y="12"/>
                  </a:lnTo>
                  <a:lnTo>
                    <a:pt x="237" y="12"/>
                  </a:lnTo>
                  <a:lnTo>
                    <a:pt x="239" y="14"/>
                  </a:lnTo>
                  <a:lnTo>
                    <a:pt x="242" y="14"/>
                  </a:lnTo>
                  <a:lnTo>
                    <a:pt x="244" y="14"/>
                  </a:lnTo>
                  <a:lnTo>
                    <a:pt x="251" y="14"/>
                  </a:lnTo>
                  <a:lnTo>
                    <a:pt x="256" y="14"/>
                  </a:lnTo>
                  <a:lnTo>
                    <a:pt x="263" y="14"/>
                  </a:lnTo>
                  <a:lnTo>
                    <a:pt x="270" y="14"/>
                  </a:lnTo>
                  <a:lnTo>
                    <a:pt x="275" y="14"/>
                  </a:lnTo>
                  <a:lnTo>
                    <a:pt x="275" y="16"/>
                  </a:lnTo>
                  <a:lnTo>
                    <a:pt x="297" y="16"/>
                  </a:lnTo>
                  <a:lnTo>
                    <a:pt x="304" y="16"/>
                  </a:lnTo>
                  <a:lnTo>
                    <a:pt x="306" y="16"/>
                  </a:lnTo>
                  <a:lnTo>
                    <a:pt x="308" y="16"/>
                  </a:lnTo>
                  <a:lnTo>
                    <a:pt x="320" y="16"/>
                  </a:lnTo>
                  <a:lnTo>
                    <a:pt x="332" y="16"/>
                  </a:lnTo>
                  <a:lnTo>
                    <a:pt x="332" y="23"/>
                  </a:lnTo>
                  <a:lnTo>
                    <a:pt x="332" y="24"/>
                  </a:lnTo>
                  <a:lnTo>
                    <a:pt x="332" y="28"/>
                  </a:lnTo>
                  <a:lnTo>
                    <a:pt x="332" y="29"/>
                  </a:lnTo>
                  <a:lnTo>
                    <a:pt x="332" y="31"/>
                  </a:lnTo>
                  <a:lnTo>
                    <a:pt x="330" y="33"/>
                  </a:lnTo>
                  <a:lnTo>
                    <a:pt x="330" y="36"/>
                  </a:lnTo>
                  <a:lnTo>
                    <a:pt x="330" y="40"/>
                  </a:lnTo>
                  <a:lnTo>
                    <a:pt x="330" y="47"/>
                  </a:lnTo>
                  <a:lnTo>
                    <a:pt x="330" y="50"/>
                  </a:lnTo>
                  <a:lnTo>
                    <a:pt x="330" y="60"/>
                  </a:lnTo>
                  <a:lnTo>
                    <a:pt x="337" y="60"/>
                  </a:lnTo>
                  <a:lnTo>
                    <a:pt x="340" y="60"/>
                  </a:lnTo>
                  <a:lnTo>
                    <a:pt x="345" y="62"/>
                  </a:lnTo>
                  <a:lnTo>
                    <a:pt x="349" y="62"/>
                  </a:lnTo>
                  <a:lnTo>
                    <a:pt x="349" y="66"/>
                  </a:lnTo>
                  <a:lnTo>
                    <a:pt x="349" y="69"/>
                  </a:lnTo>
                  <a:lnTo>
                    <a:pt x="349" y="71"/>
                  </a:lnTo>
                  <a:lnTo>
                    <a:pt x="349" y="78"/>
                  </a:lnTo>
                  <a:lnTo>
                    <a:pt x="349" y="91"/>
                  </a:lnTo>
                  <a:lnTo>
                    <a:pt x="349" y="95"/>
                  </a:lnTo>
                  <a:lnTo>
                    <a:pt x="349" y="103"/>
                  </a:lnTo>
                  <a:lnTo>
                    <a:pt x="347" y="115"/>
                  </a:lnTo>
                  <a:lnTo>
                    <a:pt x="347" y="121"/>
                  </a:lnTo>
                  <a:lnTo>
                    <a:pt x="347" y="126"/>
                  </a:lnTo>
                  <a:lnTo>
                    <a:pt x="347" y="131"/>
                  </a:lnTo>
                  <a:lnTo>
                    <a:pt x="347" y="136"/>
                  </a:lnTo>
                  <a:lnTo>
                    <a:pt x="347" y="136"/>
                  </a:lnTo>
                  <a:lnTo>
                    <a:pt x="347" y="140"/>
                  </a:lnTo>
                  <a:lnTo>
                    <a:pt x="347" y="141"/>
                  </a:lnTo>
                  <a:lnTo>
                    <a:pt x="347" y="148"/>
                  </a:lnTo>
                  <a:lnTo>
                    <a:pt x="347" y="150"/>
                  </a:lnTo>
                  <a:lnTo>
                    <a:pt x="345" y="153"/>
                  </a:lnTo>
                  <a:lnTo>
                    <a:pt x="345" y="157"/>
                  </a:lnTo>
                  <a:lnTo>
                    <a:pt x="345" y="158"/>
                  </a:lnTo>
                  <a:lnTo>
                    <a:pt x="345" y="162"/>
                  </a:lnTo>
                  <a:lnTo>
                    <a:pt x="345" y="164"/>
                  </a:lnTo>
                  <a:lnTo>
                    <a:pt x="345" y="165"/>
                  </a:lnTo>
                  <a:lnTo>
                    <a:pt x="345" y="167"/>
                  </a:lnTo>
                  <a:lnTo>
                    <a:pt x="345" y="167"/>
                  </a:lnTo>
                  <a:lnTo>
                    <a:pt x="345" y="169"/>
                  </a:lnTo>
                  <a:lnTo>
                    <a:pt x="345" y="172"/>
                  </a:lnTo>
                  <a:lnTo>
                    <a:pt x="345" y="176"/>
                  </a:lnTo>
                  <a:lnTo>
                    <a:pt x="345" y="177"/>
                  </a:lnTo>
                  <a:lnTo>
                    <a:pt x="345" y="179"/>
                  </a:lnTo>
                  <a:lnTo>
                    <a:pt x="345" y="181"/>
                  </a:lnTo>
                  <a:lnTo>
                    <a:pt x="345" y="186"/>
                  </a:lnTo>
                  <a:lnTo>
                    <a:pt x="345" y="189"/>
                  </a:lnTo>
                  <a:lnTo>
                    <a:pt x="345" y="193"/>
                  </a:lnTo>
                  <a:lnTo>
                    <a:pt x="344" y="196"/>
                  </a:lnTo>
                  <a:lnTo>
                    <a:pt x="344" y="200"/>
                  </a:lnTo>
                  <a:lnTo>
                    <a:pt x="344" y="203"/>
                  </a:lnTo>
                  <a:lnTo>
                    <a:pt x="344" y="205"/>
                  </a:lnTo>
                  <a:lnTo>
                    <a:pt x="344" y="210"/>
                  </a:lnTo>
                  <a:lnTo>
                    <a:pt x="344" y="214"/>
                  </a:lnTo>
                  <a:lnTo>
                    <a:pt x="344" y="217"/>
                  </a:lnTo>
                  <a:lnTo>
                    <a:pt x="344" y="220"/>
                  </a:lnTo>
                  <a:lnTo>
                    <a:pt x="344" y="224"/>
                  </a:lnTo>
                  <a:lnTo>
                    <a:pt x="344" y="226"/>
                  </a:lnTo>
                  <a:lnTo>
                    <a:pt x="344" y="227"/>
                  </a:lnTo>
                  <a:lnTo>
                    <a:pt x="344" y="238"/>
                  </a:lnTo>
                  <a:lnTo>
                    <a:pt x="342" y="241"/>
                  </a:lnTo>
                  <a:lnTo>
                    <a:pt x="342" y="244"/>
                  </a:lnTo>
                  <a:lnTo>
                    <a:pt x="342" y="246"/>
                  </a:lnTo>
                  <a:lnTo>
                    <a:pt x="342" y="248"/>
                  </a:lnTo>
                  <a:lnTo>
                    <a:pt x="340" y="248"/>
                  </a:lnTo>
                  <a:lnTo>
                    <a:pt x="337" y="248"/>
                  </a:lnTo>
                  <a:lnTo>
                    <a:pt x="335" y="248"/>
                  </a:lnTo>
                  <a:lnTo>
                    <a:pt x="332" y="248"/>
                  </a:lnTo>
                  <a:lnTo>
                    <a:pt x="326" y="246"/>
                  </a:lnTo>
                  <a:lnTo>
                    <a:pt x="320" y="246"/>
                  </a:lnTo>
                  <a:lnTo>
                    <a:pt x="314" y="246"/>
                  </a:lnTo>
                  <a:lnTo>
                    <a:pt x="309" y="246"/>
                  </a:lnTo>
                  <a:lnTo>
                    <a:pt x="308" y="246"/>
                  </a:lnTo>
                  <a:lnTo>
                    <a:pt x="306" y="246"/>
                  </a:lnTo>
                  <a:lnTo>
                    <a:pt x="304" y="246"/>
                  </a:lnTo>
                  <a:lnTo>
                    <a:pt x="304" y="246"/>
                  </a:lnTo>
                  <a:lnTo>
                    <a:pt x="302" y="246"/>
                  </a:lnTo>
                  <a:lnTo>
                    <a:pt x="301" y="246"/>
                  </a:lnTo>
                  <a:lnTo>
                    <a:pt x="299" y="246"/>
                  </a:lnTo>
                  <a:lnTo>
                    <a:pt x="295" y="246"/>
                  </a:lnTo>
                  <a:lnTo>
                    <a:pt x="287" y="244"/>
                  </a:lnTo>
                  <a:lnTo>
                    <a:pt x="280" y="244"/>
                  </a:lnTo>
                  <a:lnTo>
                    <a:pt x="278" y="244"/>
                  </a:lnTo>
                  <a:lnTo>
                    <a:pt x="275" y="244"/>
                  </a:lnTo>
                  <a:lnTo>
                    <a:pt x="271" y="244"/>
                  </a:lnTo>
                  <a:lnTo>
                    <a:pt x="270" y="244"/>
                  </a:lnTo>
                  <a:lnTo>
                    <a:pt x="268" y="244"/>
                  </a:lnTo>
                  <a:lnTo>
                    <a:pt x="265" y="244"/>
                  </a:lnTo>
                  <a:lnTo>
                    <a:pt x="263" y="244"/>
                  </a:lnTo>
                  <a:lnTo>
                    <a:pt x="256" y="244"/>
                  </a:lnTo>
                  <a:lnTo>
                    <a:pt x="254" y="244"/>
                  </a:lnTo>
                  <a:lnTo>
                    <a:pt x="242" y="243"/>
                  </a:lnTo>
                  <a:lnTo>
                    <a:pt x="234" y="243"/>
                  </a:lnTo>
                  <a:lnTo>
                    <a:pt x="232" y="243"/>
                  </a:lnTo>
                  <a:lnTo>
                    <a:pt x="230" y="243"/>
                  </a:lnTo>
                  <a:lnTo>
                    <a:pt x="230" y="243"/>
                  </a:lnTo>
                  <a:lnTo>
                    <a:pt x="228" y="243"/>
                  </a:lnTo>
                  <a:lnTo>
                    <a:pt x="227" y="243"/>
                  </a:lnTo>
                  <a:lnTo>
                    <a:pt x="225" y="243"/>
                  </a:lnTo>
                  <a:lnTo>
                    <a:pt x="220" y="243"/>
                  </a:lnTo>
                  <a:lnTo>
                    <a:pt x="215" y="241"/>
                  </a:lnTo>
                  <a:lnTo>
                    <a:pt x="213" y="241"/>
                  </a:lnTo>
                  <a:lnTo>
                    <a:pt x="211" y="241"/>
                  </a:lnTo>
                  <a:lnTo>
                    <a:pt x="209" y="241"/>
                  </a:lnTo>
                  <a:lnTo>
                    <a:pt x="208" y="241"/>
                  </a:lnTo>
                  <a:lnTo>
                    <a:pt x="204" y="241"/>
                  </a:lnTo>
                  <a:lnTo>
                    <a:pt x="203" y="241"/>
                  </a:lnTo>
                  <a:lnTo>
                    <a:pt x="197" y="241"/>
                  </a:lnTo>
                  <a:lnTo>
                    <a:pt x="192" y="241"/>
                  </a:lnTo>
                  <a:lnTo>
                    <a:pt x="191" y="241"/>
                  </a:lnTo>
                  <a:lnTo>
                    <a:pt x="185" y="241"/>
                  </a:lnTo>
                  <a:lnTo>
                    <a:pt x="180" y="241"/>
                  </a:lnTo>
                  <a:lnTo>
                    <a:pt x="179" y="241"/>
                  </a:lnTo>
                  <a:lnTo>
                    <a:pt x="175" y="241"/>
                  </a:lnTo>
                  <a:lnTo>
                    <a:pt x="168" y="241"/>
                  </a:lnTo>
                  <a:lnTo>
                    <a:pt x="165" y="241"/>
                  </a:lnTo>
                  <a:lnTo>
                    <a:pt x="160" y="241"/>
                  </a:lnTo>
                  <a:lnTo>
                    <a:pt x="154" y="241"/>
                  </a:lnTo>
                  <a:lnTo>
                    <a:pt x="154" y="241"/>
                  </a:lnTo>
                  <a:lnTo>
                    <a:pt x="153" y="241"/>
                  </a:lnTo>
                  <a:lnTo>
                    <a:pt x="153" y="241"/>
                  </a:lnTo>
                  <a:lnTo>
                    <a:pt x="151" y="241"/>
                  </a:lnTo>
                  <a:lnTo>
                    <a:pt x="149" y="241"/>
                  </a:lnTo>
                  <a:lnTo>
                    <a:pt x="148" y="241"/>
                  </a:lnTo>
                  <a:lnTo>
                    <a:pt x="146" y="241"/>
                  </a:lnTo>
                  <a:lnTo>
                    <a:pt x="144" y="241"/>
                  </a:lnTo>
                  <a:lnTo>
                    <a:pt x="142" y="241"/>
                  </a:lnTo>
                  <a:lnTo>
                    <a:pt x="141" y="241"/>
                  </a:lnTo>
                  <a:lnTo>
                    <a:pt x="136" y="241"/>
                  </a:lnTo>
                  <a:lnTo>
                    <a:pt x="134" y="241"/>
                  </a:lnTo>
                  <a:lnTo>
                    <a:pt x="129" y="241"/>
                  </a:lnTo>
                  <a:lnTo>
                    <a:pt x="118" y="241"/>
                  </a:lnTo>
                  <a:lnTo>
                    <a:pt x="117" y="241"/>
                  </a:lnTo>
                  <a:lnTo>
                    <a:pt x="113" y="241"/>
                  </a:lnTo>
                  <a:lnTo>
                    <a:pt x="111" y="241"/>
                  </a:lnTo>
                  <a:lnTo>
                    <a:pt x="110" y="241"/>
                  </a:lnTo>
                  <a:lnTo>
                    <a:pt x="108" y="241"/>
                  </a:lnTo>
                  <a:lnTo>
                    <a:pt x="108" y="241"/>
                  </a:lnTo>
                  <a:lnTo>
                    <a:pt x="105" y="241"/>
                  </a:lnTo>
                  <a:lnTo>
                    <a:pt x="103" y="241"/>
                  </a:lnTo>
                  <a:lnTo>
                    <a:pt x="101" y="241"/>
                  </a:lnTo>
                  <a:lnTo>
                    <a:pt x="96" y="241"/>
                  </a:lnTo>
                  <a:lnTo>
                    <a:pt x="94" y="239"/>
                  </a:lnTo>
                  <a:lnTo>
                    <a:pt x="93" y="239"/>
                  </a:lnTo>
                  <a:lnTo>
                    <a:pt x="91" y="239"/>
                  </a:lnTo>
                  <a:lnTo>
                    <a:pt x="89" y="239"/>
                  </a:lnTo>
                  <a:lnTo>
                    <a:pt x="84" y="239"/>
                  </a:lnTo>
                  <a:lnTo>
                    <a:pt x="82" y="239"/>
                  </a:lnTo>
                  <a:lnTo>
                    <a:pt x="80" y="239"/>
                  </a:lnTo>
                  <a:lnTo>
                    <a:pt x="79" y="239"/>
                  </a:lnTo>
                  <a:lnTo>
                    <a:pt x="79" y="239"/>
                  </a:lnTo>
                  <a:lnTo>
                    <a:pt x="77" y="239"/>
                  </a:lnTo>
                  <a:lnTo>
                    <a:pt x="75" y="239"/>
                  </a:lnTo>
                  <a:lnTo>
                    <a:pt x="74" y="239"/>
                  </a:lnTo>
                  <a:lnTo>
                    <a:pt x="72" y="239"/>
                  </a:lnTo>
                  <a:lnTo>
                    <a:pt x="70" y="239"/>
                  </a:lnTo>
                  <a:lnTo>
                    <a:pt x="68" y="239"/>
                  </a:lnTo>
                  <a:lnTo>
                    <a:pt x="67" y="239"/>
                  </a:lnTo>
                  <a:lnTo>
                    <a:pt x="65" y="239"/>
                  </a:lnTo>
                  <a:lnTo>
                    <a:pt x="63" y="239"/>
                  </a:lnTo>
                  <a:lnTo>
                    <a:pt x="63" y="239"/>
                  </a:lnTo>
                  <a:lnTo>
                    <a:pt x="62" y="239"/>
                  </a:lnTo>
                  <a:lnTo>
                    <a:pt x="60" y="239"/>
                  </a:lnTo>
                  <a:lnTo>
                    <a:pt x="58" y="239"/>
                  </a:lnTo>
                  <a:lnTo>
                    <a:pt x="56" y="239"/>
                  </a:lnTo>
                  <a:lnTo>
                    <a:pt x="53" y="239"/>
                  </a:lnTo>
                  <a:lnTo>
                    <a:pt x="51" y="239"/>
                  </a:lnTo>
                  <a:lnTo>
                    <a:pt x="50" y="239"/>
                  </a:lnTo>
                  <a:lnTo>
                    <a:pt x="48" y="239"/>
                  </a:lnTo>
                  <a:lnTo>
                    <a:pt x="48" y="239"/>
                  </a:lnTo>
                  <a:lnTo>
                    <a:pt x="46" y="239"/>
                  </a:lnTo>
                  <a:lnTo>
                    <a:pt x="44" y="239"/>
                  </a:lnTo>
                  <a:lnTo>
                    <a:pt x="43" y="239"/>
                  </a:lnTo>
                  <a:lnTo>
                    <a:pt x="41" y="239"/>
                  </a:lnTo>
                  <a:lnTo>
                    <a:pt x="39" y="239"/>
                  </a:lnTo>
                  <a:lnTo>
                    <a:pt x="37" y="238"/>
                  </a:lnTo>
                  <a:lnTo>
                    <a:pt x="36" y="238"/>
                  </a:lnTo>
                  <a:lnTo>
                    <a:pt x="34" y="238"/>
                  </a:lnTo>
                  <a:lnTo>
                    <a:pt x="32" y="238"/>
                  </a:lnTo>
                  <a:lnTo>
                    <a:pt x="31" y="238"/>
                  </a:lnTo>
                  <a:lnTo>
                    <a:pt x="29" y="238"/>
                  </a:lnTo>
                  <a:lnTo>
                    <a:pt x="24" y="238"/>
                  </a:lnTo>
                  <a:lnTo>
                    <a:pt x="22" y="238"/>
                  </a:lnTo>
                  <a:lnTo>
                    <a:pt x="20" y="238"/>
                  </a:lnTo>
                  <a:lnTo>
                    <a:pt x="19" y="238"/>
                  </a:lnTo>
                  <a:lnTo>
                    <a:pt x="0" y="236"/>
                  </a:lnTo>
                  <a:lnTo>
                    <a:pt x="0" y="234"/>
                  </a:lnTo>
                  <a:lnTo>
                    <a:pt x="0" y="231"/>
                  </a:lnTo>
                  <a:lnTo>
                    <a:pt x="0" y="227"/>
                  </a:lnTo>
                  <a:lnTo>
                    <a:pt x="0" y="226"/>
                  </a:lnTo>
                  <a:lnTo>
                    <a:pt x="0" y="224"/>
                  </a:lnTo>
                  <a:lnTo>
                    <a:pt x="0" y="222"/>
                  </a:lnTo>
                  <a:lnTo>
                    <a:pt x="0" y="220"/>
                  </a:lnTo>
                  <a:lnTo>
                    <a:pt x="0" y="219"/>
                  </a:lnTo>
                  <a:lnTo>
                    <a:pt x="0" y="217"/>
                  </a:lnTo>
                  <a:lnTo>
                    <a:pt x="0" y="214"/>
                  </a:lnTo>
                  <a:lnTo>
                    <a:pt x="0" y="212"/>
                  </a:lnTo>
                  <a:lnTo>
                    <a:pt x="0" y="212"/>
                  </a:lnTo>
                  <a:lnTo>
                    <a:pt x="0" y="210"/>
                  </a:lnTo>
                  <a:lnTo>
                    <a:pt x="0" y="208"/>
                  </a:lnTo>
                  <a:lnTo>
                    <a:pt x="0" y="207"/>
                  </a:lnTo>
                  <a:lnTo>
                    <a:pt x="0" y="201"/>
                  </a:lnTo>
                  <a:lnTo>
                    <a:pt x="0" y="200"/>
                  </a:lnTo>
                  <a:lnTo>
                    <a:pt x="0" y="198"/>
                  </a:lnTo>
                  <a:lnTo>
                    <a:pt x="0" y="196"/>
                  </a:lnTo>
                  <a:lnTo>
                    <a:pt x="0" y="193"/>
                  </a:lnTo>
                  <a:lnTo>
                    <a:pt x="0" y="189"/>
                  </a:lnTo>
                  <a:lnTo>
                    <a:pt x="0" y="184"/>
                  </a:lnTo>
                  <a:lnTo>
                    <a:pt x="0" y="181"/>
                  </a:lnTo>
                  <a:lnTo>
                    <a:pt x="0" y="179"/>
                  </a:lnTo>
                  <a:lnTo>
                    <a:pt x="0" y="177"/>
                  </a:lnTo>
                  <a:lnTo>
                    <a:pt x="0" y="171"/>
                  </a:lnTo>
                  <a:lnTo>
                    <a:pt x="0" y="169"/>
                  </a:lnTo>
                  <a:lnTo>
                    <a:pt x="0" y="164"/>
                  </a:lnTo>
                  <a:lnTo>
                    <a:pt x="0" y="157"/>
                  </a:lnTo>
                  <a:lnTo>
                    <a:pt x="0" y="152"/>
                  </a:lnTo>
                  <a:lnTo>
                    <a:pt x="0" y="146"/>
                  </a:lnTo>
                  <a:lnTo>
                    <a:pt x="0" y="141"/>
                  </a:lnTo>
                  <a:lnTo>
                    <a:pt x="0" y="140"/>
                  </a:lnTo>
                  <a:lnTo>
                    <a:pt x="0" y="136"/>
                  </a:lnTo>
                  <a:lnTo>
                    <a:pt x="1" y="136"/>
                  </a:lnTo>
                  <a:lnTo>
                    <a:pt x="1" y="131"/>
                  </a:lnTo>
                  <a:lnTo>
                    <a:pt x="1" y="121"/>
                  </a:lnTo>
                  <a:lnTo>
                    <a:pt x="1" y="121"/>
                  </a:lnTo>
                  <a:lnTo>
                    <a:pt x="1" y="119"/>
                  </a:lnTo>
                  <a:lnTo>
                    <a:pt x="1" y="112"/>
                  </a:lnTo>
                  <a:lnTo>
                    <a:pt x="1" y="109"/>
                  </a:lnTo>
                  <a:lnTo>
                    <a:pt x="1" y="107"/>
                  </a:lnTo>
                  <a:lnTo>
                    <a:pt x="1" y="105"/>
                  </a:lnTo>
                  <a:lnTo>
                    <a:pt x="1" y="103"/>
                  </a:lnTo>
                  <a:lnTo>
                    <a:pt x="1" y="102"/>
                  </a:lnTo>
                  <a:lnTo>
                    <a:pt x="1" y="98"/>
                  </a:lnTo>
                  <a:lnTo>
                    <a:pt x="1" y="95"/>
                  </a:lnTo>
                  <a:lnTo>
                    <a:pt x="1" y="93"/>
                  </a:lnTo>
                  <a:lnTo>
                    <a:pt x="1" y="91"/>
                  </a:lnTo>
                  <a:lnTo>
                    <a:pt x="1" y="91"/>
                  </a:lnTo>
                  <a:lnTo>
                    <a:pt x="1" y="90"/>
                  </a:lnTo>
                  <a:lnTo>
                    <a:pt x="1" y="88"/>
                  </a:lnTo>
                  <a:lnTo>
                    <a:pt x="1" y="84"/>
                  </a:lnTo>
                  <a:lnTo>
                    <a:pt x="1" y="83"/>
                  </a:lnTo>
                  <a:lnTo>
                    <a:pt x="1" y="78"/>
                  </a:lnTo>
                  <a:lnTo>
                    <a:pt x="1" y="76"/>
                  </a:lnTo>
                  <a:lnTo>
                    <a:pt x="1" y="76"/>
                  </a:lnTo>
                  <a:lnTo>
                    <a:pt x="1" y="67"/>
                  </a:lnTo>
                  <a:lnTo>
                    <a:pt x="3" y="64"/>
                  </a:lnTo>
                  <a:lnTo>
                    <a:pt x="3" y="57"/>
                  </a:lnTo>
                  <a:lnTo>
                    <a:pt x="3" y="54"/>
                  </a:lnTo>
                  <a:lnTo>
                    <a:pt x="3" y="52"/>
                  </a:lnTo>
                  <a:lnTo>
                    <a:pt x="3" y="45"/>
                  </a:lnTo>
                  <a:lnTo>
                    <a:pt x="3" y="43"/>
                  </a:lnTo>
                  <a:lnTo>
                    <a:pt x="3" y="40"/>
                  </a:lnTo>
                  <a:lnTo>
                    <a:pt x="3" y="33"/>
                  </a:lnTo>
                  <a:lnTo>
                    <a:pt x="3" y="31"/>
                  </a:lnTo>
                  <a:lnTo>
                    <a:pt x="3" y="23"/>
                  </a:lnTo>
                  <a:lnTo>
                    <a:pt x="3" y="21"/>
                  </a:lnTo>
                  <a:lnTo>
                    <a:pt x="3" y="19"/>
                  </a:lnTo>
                  <a:lnTo>
                    <a:pt x="3" y="16"/>
                  </a:lnTo>
                  <a:lnTo>
                    <a:pt x="3" y="16"/>
                  </a:lnTo>
                  <a:lnTo>
                    <a:pt x="3" y="12"/>
                  </a:lnTo>
                  <a:lnTo>
                    <a:pt x="3" y="9"/>
                  </a:lnTo>
                  <a:lnTo>
                    <a:pt x="3" y="2"/>
                  </a:lnTo>
                  <a:lnTo>
                    <a:pt x="3" y="0"/>
                  </a:lnTo>
                  <a:lnTo>
                    <a:pt x="3"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3" name="Freeform 231"/>
            <p:cNvSpPr>
              <a:spLocks/>
            </p:cNvSpPr>
            <p:nvPr/>
          </p:nvSpPr>
          <p:spPr bwMode="auto">
            <a:xfrm>
              <a:off x="4088696" y="4932156"/>
              <a:ext cx="450850" cy="454025"/>
            </a:xfrm>
            <a:custGeom>
              <a:avLst/>
              <a:gdLst/>
              <a:ahLst/>
              <a:cxnLst>
                <a:cxn ang="0">
                  <a:pos x="31" y="0"/>
                </a:cxn>
                <a:cxn ang="0">
                  <a:pos x="56" y="2"/>
                </a:cxn>
                <a:cxn ang="0">
                  <a:pos x="73" y="2"/>
                </a:cxn>
                <a:cxn ang="0">
                  <a:pos x="93" y="2"/>
                </a:cxn>
                <a:cxn ang="0">
                  <a:pos x="107" y="4"/>
                </a:cxn>
                <a:cxn ang="0">
                  <a:pos x="126" y="4"/>
                </a:cxn>
                <a:cxn ang="0">
                  <a:pos x="148" y="4"/>
                </a:cxn>
                <a:cxn ang="0">
                  <a:pos x="171" y="5"/>
                </a:cxn>
                <a:cxn ang="0">
                  <a:pos x="188" y="5"/>
                </a:cxn>
                <a:cxn ang="0">
                  <a:pos x="200" y="7"/>
                </a:cxn>
                <a:cxn ang="0">
                  <a:pos x="209" y="7"/>
                </a:cxn>
                <a:cxn ang="0">
                  <a:pos x="224" y="7"/>
                </a:cxn>
                <a:cxn ang="0">
                  <a:pos x="246" y="9"/>
                </a:cxn>
                <a:cxn ang="0">
                  <a:pos x="267" y="9"/>
                </a:cxn>
                <a:cxn ang="0">
                  <a:pos x="281" y="9"/>
                </a:cxn>
                <a:cxn ang="0">
                  <a:pos x="284" y="19"/>
                </a:cxn>
                <a:cxn ang="0">
                  <a:pos x="284" y="38"/>
                </a:cxn>
                <a:cxn ang="0">
                  <a:pos x="283" y="59"/>
                </a:cxn>
                <a:cxn ang="0">
                  <a:pos x="283" y="76"/>
                </a:cxn>
                <a:cxn ang="0">
                  <a:pos x="283" y="105"/>
                </a:cxn>
                <a:cxn ang="0">
                  <a:pos x="283" y="121"/>
                </a:cxn>
                <a:cxn ang="0">
                  <a:pos x="283" y="148"/>
                </a:cxn>
                <a:cxn ang="0">
                  <a:pos x="283" y="172"/>
                </a:cxn>
                <a:cxn ang="0">
                  <a:pos x="283" y="195"/>
                </a:cxn>
                <a:cxn ang="0">
                  <a:pos x="281" y="224"/>
                </a:cxn>
                <a:cxn ang="0">
                  <a:pos x="281" y="251"/>
                </a:cxn>
                <a:cxn ang="0">
                  <a:pos x="281" y="279"/>
                </a:cxn>
                <a:cxn ang="0">
                  <a:pos x="257" y="284"/>
                </a:cxn>
                <a:cxn ang="0">
                  <a:pos x="238" y="284"/>
                </a:cxn>
                <a:cxn ang="0">
                  <a:pos x="214" y="282"/>
                </a:cxn>
                <a:cxn ang="0">
                  <a:pos x="195" y="282"/>
                </a:cxn>
                <a:cxn ang="0">
                  <a:pos x="174" y="281"/>
                </a:cxn>
                <a:cxn ang="0">
                  <a:pos x="152" y="281"/>
                </a:cxn>
                <a:cxn ang="0">
                  <a:pos x="135" y="281"/>
                </a:cxn>
                <a:cxn ang="0">
                  <a:pos x="114" y="281"/>
                </a:cxn>
                <a:cxn ang="0">
                  <a:pos x="100" y="279"/>
                </a:cxn>
                <a:cxn ang="0">
                  <a:pos x="90" y="279"/>
                </a:cxn>
                <a:cxn ang="0">
                  <a:pos x="81" y="279"/>
                </a:cxn>
                <a:cxn ang="0">
                  <a:pos x="68" y="277"/>
                </a:cxn>
                <a:cxn ang="0">
                  <a:pos x="52" y="277"/>
                </a:cxn>
                <a:cxn ang="0">
                  <a:pos x="31" y="275"/>
                </a:cxn>
                <a:cxn ang="0">
                  <a:pos x="0" y="274"/>
                </a:cxn>
                <a:cxn ang="0">
                  <a:pos x="2" y="241"/>
                </a:cxn>
                <a:cxn ang="0">
                  <a:pos x="2" y="224"/>
                </a:cxn>
                <a:cxn ang="0">
                  <a:pos x="4" y="205"/>
                </a:cxn>
                <a:cxn ang="0">
                  <a:pos x="4" y="184"/>
                </a:cxn>
                <a:cxn ang="0">
                  <a:pos x="6" y="162"/>
                </a:cxn>
                <a:cxn ang="0">
                  <a:pos x="6" y="141"/>
                </a:cxn>
                <a:cxn ang="0">
                  <a:pos x="7" y="119"/>
                </a:cxn>
                <a:cxn ang="0">
                  <a:pos x="7" y="105"/>
                </a:cxn>
                <a:cxn ang="0">
                  <a:pos x="7" y="95"/>
                </a:cxn>
                <a:cxn ang="0">
                  <a:pos x="9" y="74"/>
                </a:cxn>
                <a:cxn ang="0">
                  <a:pos x="11" y="41"/>
                </a:cxn>
                <a:cxn ang="0">
                  <a:pos x="11" y="4"/>
                </a:cxn>
              </a:cxnLst>
              <a:rect l="0" t="0" r="r" b="b"/>
              <a:pathLst>
                <a:path w="284" h="286">
                  <a:moveTo>
                    <a:pt x="11" y="0"/>
                  </a:moveTo>
                  <a:lnTo>
                    <a:pt x="13" y="0"/>
                  </a:lnTo>
                  <a:lnTo>
                    <a:pt x="23" y="0"/>
                  </a:lnTo>
                  <a:lnTo>
                    <a:pt x="25" y="0"/>
                  </a:lnTo>
                  <a:lnTo>
                    <a:pt x="26" y="0"/>
                  </a:lnTo>
                  <a:lnTo>
                    <a:pt x="31" y="0"/>
                  </a:lnTo>
                  <a:lnTo>
                    <a:pt x="33" y="0"/>
                  </a:lnTo>
                  <a:lnTo>
                    <a:pt x="37" y="0"/>
                  </a:lnTo>
                  <a:lnTo>
                    <a:pt x="42" y="0"/>
                  </a:lnTo>
                  <a:lnTo>
                    <a:pt x="43" y="0"/>
                  </a:lnTo>
                  <a:lnTo>
                    <a:pt x="47" y="2"/>
                  </a:lnTo>
                  <a:lnTo>
                    <a:pt x="56" y="2"/>
                  </a:lnTo>
                  <a:lnTo>
                    <a:pt x="57" y="2"/>
                  </a:lnTo>
                  <a:lnTo>
                    <a:pt x="64" y="2"/>
                  </a:lnTo>
                  <a:lnTo>
                    <a:pt x="66" y="2"/>
                  </a:lnTo>
                  <a:lnTo>
                    <a:pt x="68" y="2"/>
                  </a:lnTo>
                  <a:lnTo>
                    <a:pt x="71" y="2"/>
                  </a:lnTo>
                  <a:lnTo>
                    <a:pt x="73" y="2"/>
                  </a:lnTo>
                  <a:lnTo>
                    <a:pt x="73" y="2"/>
                  </a:lnTo>
                  <a:lnTo>
                    <a:pt x="74" y="2"/>
                  </a:lnTo>
                  <a:lnTo>
                    <a:pt x="76" y="2"/>
                  </a:lnTo>
                  <a:lnTo>
                    <a:pt x="78" y="2"/>
                  </a:lnTo>
                  <a:lnTo>
                    <a:pt x="86" y="2"/>
                  </a:lnTo>
                  <a:lnTo>
                    <a:pt x="93" y="2"/>
                  </a:lnTo>
                  <a:lnTo>
                    <a:pt x="95" y="2"/>
                  </a:lnTo>
                  <a:lnTo>
                    <a:pt x="99" y="2"/>
                  </a:lnTo>
                  <a:lnTo>
                    <a:pt x="100" y="4"/>
                  </a:lnTo>
                  <a:lnTo>
                    <a:pt x="104" y="4"/>
                  </a:lnTo>
                  <a:lnTo>
                    <a:pt x="105" y="4"/>
                  </a:lnTo>
                  <a:lnTo>
                    <a:pt x="107" y="4"/>
                  </a:lnTo>
                  <a:lnTo>
                    <a:pt x="114" y="4"/>
                  </a:lnTo>
                  <a:lnTo>
                    <a:pt x="116" y="4"/>
                  </a:lnTo>
                  <a:lnTo>
                    <a:pt x="117" y="4"/>
                  </a:lnTo>
                  <a:lnTo>
                    <a:pt x="119" y="4"/>
                  </a:lnTo>
                  <a:lnTo>
                    <a:pt x="121" y="4"/>
                  </a:lnTo>
                  <a:lnTo>
                    <a:pt x="126" y="4"/>
                  </a:lnTo>
                  <a:lnTo>
                    <a:pt x="133" y="4"/>
                  </a:lnTo>
                  <a:lnTo>
                    <a:pt x="138" y="4"/>
                  </a:lnTo>
                  <a:lnTo>
                    <a:pt x="140" y="4"/>
                  </a:lnTo>
                  <a:lnTo>
                    <a:pt x="145" y="4"/>
                  </a:lnTo>
                  <a:lnTo>
                    <a:pt x="147" y="4"/>
                  </a:lnTo>
                  <a:lnTo>
                    <a:pt x="148" y="4"/>
                  </a:lnTo>
                  <a:lnTo>
                    <a:pt x="152" y="4"/>
                  </a:lnTo>
                  <a:lnTo>
                    <a:pt x="154" y="5"/>
                  </a:lnTo>
                  <a:lnTo>
                    <a:pt x="155" y="5"/>
                  </a:lnTo>
                  <a:lnTo>
                    <a:pt x="159" y="5"/>
                  </a:lnTo>
                  <a:lnTo>
                    <a:pt x="164" y="5"/>
                  </a:lnTo>
                  <a:lnTo>
                    <a:pt x="171" y="5"/>
                  </a:lnTo>
                  <a:lnTo>
                    <a:pt x="176" y="5"/>
                  </a:lnTo>
                  <a:lnTo>
                    <a:pt x="178" y="5"/>
                  </a:lnTo>
                  <a:lnTo>
                    <a:pt x="179" y="5"/>
                  </a:lnTo>
                  <a:lnTo>
                    <a:pt x="181" y="5"/>
                  </a:lnTo>
                  <a:lnTo>
                    <a:pt x="186" y="5"/>
                  </a:lnTo>
                  <a:lnTo>
                    <a:pt x="188" y="5"/>
                  </a:lnTo>
                  <a:lnTo>
                    <a:pt x="190" y="5"/>
                  </a:lnTo>
                  <a:lnTo>
                    <a:pt x="191" y="5"/>
                  </a:lnTo>
                  <a:lnTo>
                    <a:pt x="193" y="5"/>
                  </a:lnTo>
                  <a:lnTo>
                    <a:pt x="195" y="5"/>
                  </a:lnTo>
                  <a:lnTo>
                    <a:pt x="198" y="5"/>
                  </a:lnTo>
                  <a:lnTo>
                    <a:pt x="200" y="7"/>
                  </a:lnTo>
                  <a:lnTo>
                    <a:pt x="202" y="7"/>
                  </a:lnTo>
                  <a:lnTo>
                    <a:pt x="203" y="7"/>
                  </a:lnTo>
                  <a:lnTo>
                    <a:pt x="205" y="7"/>
                  </a:lnTo>
                  <a:lnTo>
                    <a:pt x="207" y="7"/>
                  </a:lnTo>
                  <a:lnTo>
                    <a:pt x="209" y="7"/>
                  </a:lnTo>
                  <a:lnTo>
                    <a:pt x="209" y="7"/>
                  </a:lnTo>
                  <a:lnTo>
                    <a:pt x="214" y="7"/>
                  </a:lnTo>
                  <a:lnTo>
                    <a:pt x="215" y="7"/>
                  </a:lnTo>
                  <a:lnTo>
                    <a:pt x="217" y="7"/>
                  </a:lnTo>
                  <a:lnTo>
                    <a:pt x="221" y="7"/>
                  </a:lnTo>
                  <a:lnTo>
                    <a:pt x="222" y="7"/>
                  </a:lnTo>
                  <a:lnTo>
                    <a:pt x="224" y="7"/>
                  </a:lnTo>
                  <a:lnTo>
                    <a:pt x="226" y="7"/>
                  </a:lnTo>
                  <a:lnTo>
                    <a:pt x="229" y="7"/>
                  </a:lnTo>
                  <a:lnTo>
                    <a:pt x="238" y="7"/>
                  </a:lnTo>
                  <a:lnTo>
                    <a:pt x="240" y="7"/>
                  </a:lnTo>
                  <a:lnTo>
                    <a:pt x="243" y="9"/>
                  </a:lnTo>
                  <a:lnTo>
                    <a:pt x="246" y="9"/>
                  </a:lnTo>
                  <a:lnTo>
                    <a:pt x="248" y="9"/>
                  </a:lnTo>
                  <a:lnTo>
                    <a:pt x="250" y="9"/>
                  </a:lnTo>
                  <a:lnTo>
                    <a:pt x="253" y="9"/>
                  </a:lnTo>
                  <a:lnTo>
                    <a:pt x="257" y="9"/>
                  </a:lnTo>
                  <a:lnTo>
                    <a:pt x="264" y="9"/>
                  </a:lnTo>
                  <a:lnTo>
                    <a:pt x="267" y="9"/>
                  </a:lnTo>
                  <a:lnTo>
                    <a:pt x="269" y="9"/>
                  </a:lnTo>
                  <a:lnTo>
                    <a:pt x="271" y="9"/>
                  </a:lnTo>
                  <a:lnTo>
                    <a:pt x="272" y="9"/>
                  </a:lnTo>
                  <a:lnTo>
                    <a:pt x="276" y="9"/>
                  </a:lnTo>
                  <a:lnTo>
                    <a:pt x="279" y="9"/>
                  </a:lnTo>
                  <a:lnTo>
                    <a:pt x="281" y="9"/>
                  </a:lnTo>
                  <a:lnTo>
                    <a:pt x="283" y="9"/>
                  </a:lnTo>
                  <a:lnTo>
                    <a:pt x="283" y="9"/>
                  </a:lnTo>
                  <a:lnTo>
                    <a:pt x="284" y="9"/>
                  </a:lnTo>
                  <a:lnTo>
                    <a:pt x="284" y="14"/>
                  </a:lnTo>
                  <a:lnTo>
                    <a:pt x="284" y="17"/>
                  </a:lnTo>
                  <a:lnTo>
                    <a:pt x="284" y="19"/>
                  </a:lnTo>
                  <a:lnTo>
                    <a:pt x="284" y="21"/>
                  </a:lnTo>
                  <a:lnTo>
                    <a:pt x="284" y="24"/>
                  </a:lnTo>
                  <a:lnTo>
                    <a:pt x="284" y="29"/>
                  </a:lnTo>
                  <a:lnTo>
                    <a:pt x="284" y="33"/>
                  </a:lnTo>
                  <a:lnTo>
                    <a:pt x="284" y="36"/>
                  </a:lnTo>
                  <a:lnTo>
                    <a:pt x="284" y="38"/>
                  </a:lnTo>
                  <a:lnTo>
                    <a:pt x="284" y="47"/>
                  </a:lnTo>
                  <a:lnTo>
                    <a:pt x="284" y="48"/>
                  </a:lnTo>
                  <a:lnTo>
                    <a:pt x="284" y="52"/>
                  </a:lnTo>
                  <a:lnTo>
                    <a:pt x="284" y="55"/>
                  </a:lnTo>
                  <a:lnTo>
                    <a:pt x="283" y="59"/>
                  </a:lnTo>
                  <a:lnTo>
                    <a:pt x="283" y="59"/>
                  </a:lnTo>
                  <a:lnTo>
                    <a:pt x="283" y="60"/>
                  </a:lnTo>
                  <a:lnTo>
                    <a:pt x="283" y="62"/>
                  </a:lnTo>
                  <a:lnTo>
                    <a:pt x="283" y="66"/>
                  </a:lnTo>
                  <a:lnTo>
                    <a:pt x="283" y="69"/>
                  </a:lnTo>
                  <a:lnTo>
                    <a:pt x="283" y="72"/>
                  </a:lnTo>
                  <a:lnTo>
                    <a:pt x="283" y="76"/>
                  </a:lnTo>
                  <a:lnTo>
                    <a:pt x="283" y="83"/>
                  </a:lnTo>
                  <a:lnTo>
                    <a:pt x="283" y="88"/>
                  </a:lnTo>
                  <a:lnTo>
                    <a:pt x="283" y="90"/>
                  </a:lnTo>
                  <a:lnTo>
                    <a:pt x="283" y="93"/>
                  </a:lnTo>
                  <a:lnTo>
                    <a:pt x="283" y="103"/>
                  </a:lnTo>
                  <a:lnTo>
                    <a:pt x="283" y="105"/>
                  </a:lnTo>
                  <a:lnTo>
                    <a:pt x="283" y="105"/>
                  </a:lnTo>
                  <a:lnTo>
                    <a:pt x="283" y="109"/>
                  </a:lnTo>
                  <a:lnTo>
                    <a:pt x="283" y="115"/>
                  </a:lnTo>
                  <a:lnTo>
                    <a:pt x="283" y="117"/>
                  </a:lnTo>
                  <a:lnTo>
                    <a:pt x="283" y="119"/>
                  </a:lnTo>
                  <a:lnTo>
                    <a:pt x="283" y="121"/>
                  </a:lnTo>
                  <a:lnTo>
                    <a:pt x="283" y="126"/>
                  </a:lnTo>
                  <a:lnTo>
                    <a:pt x="283" y="129"/>
                  </a:lnTo>
                  <a:lnTo>
                    <a:pt x="283" y="133"/>
                  </a:lnTo>
                  <a:lnTo>
                    <a:pt x="283" y="138"/>
                  </a:lnTo>
                  <a:lnTo>
                    <a:pt x="283" y="141"/>
                  </a:lnTo>
                  <a:lnTo>
                    <a:pt x="283" y="148"/>
                  </a:lnTo>
                  <a:lnTo>
                    <a:pt x="283" y="150"/>
                  </a:lnTo>
                  <a:lnTo>
                    <a:pt x="283" y="152"/>
                  </a:lnTo>
                  <a:lnTo>
                    <a:pt x="283" y="162"/>
                  </a:lnTo>
                  <a:lnTo>
                    <a:pt x="283" y="165"/>
                  </a:lnTo>
                  <a:lnTo>
                    <a:pt x="283" y="169"/>
                  </a:lnTo>
                  <a:lnTo>
                    <a:pt x="283" y="172"/>
                  </a:lnTo>
                  <a:lnTo>
                    <a:pt x="283" y="179"/>
                  </a:lnTo>
                  <a:lnTo>
                    <a:pt x="283" y="182"/>
                  </a:lnTo>
                  <a:lnTo>
                    <a:pt x="283" y="186"/>
                  </a:lnTo>
                  <a:lnTo>
                    <a:pt x="283" y="191"/>
                  </a:lnTo>
                  <a:lnTo>
                    <a:pt x="283" y="195"/>
                  </a:lnTo>
                  <a:lnTo>
                    <a:pt x="283" y="195"/>
                  </a:lnTo>
                  <a:lnTo>
                    <a:pt x="283" y="201"/>
                  </a:lnTo>
                  <a:lnTo>
                    <a:pt x="281" y="201"/>
                  </a:lnTo>
                  <a:lnTo>
                    <a:pt x="281" y="208"/>
                  </a:lnTo>
                  <a:lnTo>
                    <a:pt x="281" y="210"/>
                  </a:lnTo>
                  <a:lnTo>
                    <a:pt x="281" y="212"/>
                  </a:lnTo>
                  <a:lnTo>
                    <a:pt x="281" y="224"/>
                  </a:lnTo>
                  <a:lnTo>
                    <a:pt x="281" y="225"/>
                  </a:lnTo>
                  <a:lnTo>
                    <a:pt x="281" y="229"/>
                  </a:lnTo>
                  <a:lnTo>
                    <a:pt x="281" y="239"/>
                  </a:lnTo>
                  <a:lnTo>
                    <a:pt x="281" y="244"/>
                  </a:lnTo>
                  <a:lnTo>
                    <a:pt x="281" y="250"/>
                  </a:lnTo>
                  <a:lnTo>
                    <a:pt x="281" y="251"/>
                  </a:lnTo>
                  <a:lnTo>
                    <a:pt x="281" y="256"/>
                  </a:lnTo>
                  <a:lnTo>
                    <a:pt x="281" y="262"/>
                  </a:lnTo>
                  <a:lnTo>
                    <a:pt x="281" y="270"/>
                  </a:lnTo>
                  <a:lnTo>
                    <a:pt x="281" y="270"/>
                  </a:lnTo>
                  <a:lnTo>
                    <a:pt x="281" y="274"/>
                  </a:lnTo>
                  <a:lnTo>
                    <a:pt x="281" y="279"/>
                  </a:lnTo>
                  <a:lnTo>
                    <a:pt x="281" y="284"/>
                  </a:lnTo>
                  <a:lnTo>
                    <a:pt x="281" y="286"/>
                  </a:lnTo>
                  <a:lnTo>
                    <a:pt x="276" y="286"/>
                  </a:lnTo>
                  <a:lnTo>
                    <a:pt x="271" y="286"/>
                  </a:lnTo>
                  <a:lnTo>
                    <a:pt x="267" y="286"/>
                  </a:lnTo>
                  <a:lnTo>
                    <a:pt x="257" y="284"/>
                  </a:lnTo>
                  <a:lnTo>
                    <a:pt x="252" y="284"/>
                  </a:lnTo>
                  <a:lnTo>
                    <a:pt x="250" y="284"/>
                  </a:lnTo>
                  <a:lnTo>
                    <a:pt x="246" y="284"/>
                  </a:lnTo>
                  <a:lnTo>
                    <a:pt x="243" y="284"/>
                  </a:lnTo>
                  <a:lnTo>
                    <a:pt x="240" y="284"/>
                  </a:lnTo>
                  <a:lnTo>
                    <a:pt x="238" y="284"/>
                  </a:lnTo>
                  <a:lnTo>
                    <a:pt x="238" y="284"/>
                  </a:lnTo>
                  <a:lnTo>
                    <a:pt x="236" y="284"/>
                  </a:lnTo>
                  <a:lnTo>
                    <a:pt x="228" y="284"/>
                  </a:lnTo>
                  <a:lnTo>
                    <a:pt x="222" y="282"/>
                  </a:lnTo>
                  <a:lnTo>
                    <a:pt x="215" y="282"/>
                  </a:lnTo>
                  <a:lnTo>
                    <a:pt x="214" y="282"/>
                  </a:lnTo>
                  <a:lnTo>
                    <a:pt x="212" y="282"/>
                  </a:lnTo>
                  <a:lnTo>
                    <a:pt x="210" y="282"/>
                  </a:lnTo>
                  <a:lnTo>
                    <a:pt x="209" y="282"/>
                  </a:lnTo>
                  <a:lnTo>
                    <a:pt x="202" y="282"/>
                  </a:lnTo>
                  <a:lnTo>
                    <a:pt x="197" y="282"/>
                  </a:lnTo>
                  <a:lnTo>
                    <a:pt x="195" y="282"/>
                  </a:lnTo>
                  <a:lnTo>
                    <a:pt x="193" y="282"/>
                  </a:lnTo>
                  <a:lnTo>
                    <a:pt x="191" y="282"/>
                  </a:lnTo>
                  <a:lnTo>
                    <a:pt x="181" y="282"/>
                  </a:lnTo>
                  <a:lnTo>
                    <a:pt x="179" y="282"/>
                  </a:lnTo>
                  <a:lnTo>
                    <a:pt x="174" y="282"/>
                  </a:lnTo>
                  <a:lnTo>
                    <a:pt x="174" y="281"/>
                  </a:lnTo>
                  <a:lnTo>
                    <a:pt x="169" y="281"/>
                  </a:lnTo>
                  <a:lnTo>
                    <a:pt x="160" y="281"/>
                  </a:lnTo>
                  <a:lnTo>
                    <a:pt x="159" y="281"/>
                  </a:lnTo>
                  <a:lnTo>
                    <a:pt x="157" y="281"/>
                  </a:lnTo>
                  <a:lnTo>
                    <a:pt x="154" y="281"/>
                  </a:lnTo>
                  <a:lnTo>
                    <a:pt x="152" y="281"/>
                  </a:lnTo>
                  <a:lnTo>
                    <a:pt x="150" y="281"/>
                  </a:lnTo>
                  <a:lnTo>
                    <a:pt x="147" y="281"/>
                  </a:lnTo>
                  <a:lnTo>
                    <a:pt x="143" y="281"/>
                  </a:lnTo>
                  <a:lnTo>
                    <a:pt x="138" y="281"/>
                  </a:lnTo>
                  <a:lnTo>
                    <a:pt x="136" y="281"/>
                  </a:lnTo>
                  <a:lnTo>
                    <a:pt x="135" y="281"/>
                  </a:lnTo>
                  <a:lnTo>
                    <a:pt x="128" y="281"/>
                  </a:lnTo>
                  <a:lnTo>
                    <a:pt x="126" y="281"/>
                  </a:lnTo>
                  <a:lnTo>
                    <a:pt x="124" y="281"/>
                  </a:lnTo>
                  <a:lnTo>
                    <a:pt x="119" y="281"/>
                  </a:lnTo>
                  <a:lnTo>
                    <a:pt x="117" y="281"/>
                  </a:lnTo>
                  <a:lnTo>
                    <a:pt x="114" y="281"/>
                  </a:lnTo>
                  <a:lnTo>
                    <a:pt x="112" y="279"/>
                  </a:lnTo>
                  <a:lnTo>
                    <a:pt x="105" y="279"/>
                  </a:lnTo>
                  <a:lnTo>
                    <a:pt x="104" y="279"/>
                  </a:lnTo>
                  <a:lnTo>
                    <a:pt x="102" y="279"/>
                  </a:lnTo>
                  <a:lnTo>
                    <a:pt x="102" y="279"/>
                  </a:lnTo>
                  <a:lnTo>
                    <a:pt x="100" y="279"/>
                  </a:lnTo>
                  <a:lnTo>
                    <a:pt x="99" y="279"/>
                  </a:lnTo>
                  <a:lnTo>
                    <a:pt x="97" y="279"/>
                  </a:lnTo>
                  <a:lnTo>
                    <a:pt x="95" y="279"/>
                  </a:lnTo>
                  <a:lnTo>
                    <a:pt x="93" y="279"/>
                  </a:lnTo>
                  <a:lnTo>
                    <a:pt x="92" y="279"/>
                  </a:lnTo>
                  <a:lnTo>
                    <a:pt x="90" y="279"/>
                  </a:lnTo>
                  <a:lnTo>
                    <a:pt x="88" y="279"/>
                  </a:lnTo>
                  <a:lnTo>
                    <a:pt x="86" y="279"/>
                  </a:lnTo>
                  <a:lnTo>
                    <a:pt x="86" y="279"/>
                  </a:lnTo>
                  <a:lnTo>
                    <a:pt x="85" y="279"/>
                  </a:lnTo>
                  <a:lnTo>
                    <a:pt x="83" y="279"/>
                  </a:lnTo>
                  <a:lnTo>
                    <a:pt x="81" y="279"/>
                  </a:lnTo>
                  <a:lnTo>
                    <a:pt x="80" y="279"/>
                  </a:lnTo>
                  <a:lnTo>
                    <a:pt x="76" y="279"/>
                  </a:lnTo>
                  <a:lnTo>
                    <a:pt x="73" y="279"/>
                  </a:lnTo>
                  <a:lnTo>
                    <a:pt x="71" y="277"/>
                  </a:lnTo>
                  <a:lnTo>
                    <a:pt x="69" y="277"/>
                  </a:lnTo>
                  <a:lnTo>
                    <a:pt x="68" y="277"/>
                  </a:lnTo>
                  <a:lnTo>
                    <a:pt x="66" y="277"/>
                  </a:lnTo>
                  <a:lnTo>
                    <a:pt x="62" y="277"/>
                  </a:lnTo>
                  <a:lnTo>
                    <a:pt x="61" y="277"/>
                  </a:lnTo>
                  <a:lnTo>
                    <a:pt x="59" y="277"/>
                  </a:lnTo>
                  <a:lnTo>
                    <a:pt x="57" y="277"/>
                  </a:lnTo>
                  <a:lnTo>
                    <a:pt x="52" y="277"/>
                  </a:lnTo>
                  <a:lnTo>
                    <a:pt x="49" y="277"/>
                  </a:lnTo>
                  <a:lnTo>
                    <a:pt x="47" y="277"/>
                  </a:lnTo>
                  <a:lnTo>
                    <a:pt x="45" y="277"/>
                  </a:lnTo>
                  <a:lnTo>
                    <a:pt x="40" y="277"/>
                  </a:lnTo>
                  <a:lnTo>
                    <a:pt x="35" y="277"/>
                  </a:lnTo>
                  <a:lnTo>
                    <a:pt x="31" y="275"/>
                  </a:lnTo>
                  <a:lnTo>
                    <a:pt x="30" y="275"/>
                  </a:lnTo>
                  <a:lnTo>
                    <a:pt x="25" y="275"/>
                  </a:lnTo>
                  <a:lnTo>
                    <a:pt x="11" y="275"/>
                  </a:lnTo>
                  <a:lnTo>
                    <a:pt x="2" y="275"/>
                  </a:lnTo>
                  <a:lnTo>
                    <a:pt x="0" y="275"/>
                  </a:lnTo>
                  <a:lnTo>
                    <a:pt x="0" y="274"/>
                  </a:lnTo>
                  <a:lnTo>
                    <a:pt x="0" y="270"/>
                  </a:lnTo>
                  <a:lnTo>
                    <a:pt x="0" y="270"/>
                  </a:lnTo>
                  <a:lnTo>
                    <a:pt x="2" y="265"/>
                  </a:lnTo>
                  <a:lnTo>
                    <a:pt x="2" y="263"/>
                  </a:lnTo>
                  <a:lnTo>
                    <a:pt x="2" y="253"/>
                  </a:lnTo>
                  <a:lnTo>
                    <a:pt x="2" y="241"/>
                  </a:lnTo>
                  <a:lnTo>
                    <a:pt x="2" y="239"/>
                  </a:lnTo>
                  <a:lnTo>
                    <a:pt x="2" y="236"/>
                  </a:lnTo>
                  <a:lnTo>
                    <a:pt x="2" y="234"/>
                  </a:lnTo>
                  <a:lnTo>
                    <a:pt x="2" y="231"/>
                  </a:lnTo>
                  <a:lnTo>
                    <a:pt x="2" y="227"/>
                  </a:lnTo>
                  <a:lnTo>
                    <a:pt x="2" y="224"/>
                  </a:lnTo>
                  <a:lnTo>
                    <a:pt x="4" y="220"/>
                  </a:lnTo>
                  <a:lnTo>
                    <a:pt x="4" y="217"/>
                  </a:lnTo>
                  <a:lnTo>
                    <a:pt x="4" y="215"/>
                  </a:lnTo>
                  <a:lnTo>
                    <a:pt x="4" y="208"/>
                  </a:lnTo>
                  <a:lnTo>
                    <a:pt x="4" y="207"/>
                  </a:lnTo>
                  <a:lnTo>
                    <a:pt x="4" y="205"/>
                  </a:lnTo>
                  <a:lnTo>
                    <a:pt x="4" y="201"/>
                  </a:lnTo>
                  <a:lnTo>
                    <a:pt x="4" y="196"/>
                  </a:lnTo>
                  <a:lnTo>
                    <a:pt x="4" y="191"/>
                  </a:lnTo>
                  <a:lnTo>
                    <a:pt x="4" y="188"/>
                  </a:lnTo>
                  <a:lnTo>
                    <a:pt x="4" y="186"/>
                  </a:lnTo>
                  <a:lnTo>
                    <a:pt x="4" y="184"/>
                  </a:lnTo>
                  <a:lnTo>
                    <a:pt x="4" y="182"/>
                  </a:lnTo>
                  <a:lnTo>
                    <a:pt x="4" y="179"/>
                  </a:lnTo>
                  <a:lnTo>
                    <a:pt x="6" y="176"/>
                  </a:lnTo>
                  <a:lnTo>
                    <a:pt x="6" y="165"/>
                  </a:lnTo>
                  <a:lnTo>
                    <a:pt x="6" y="164"/>
                  </a:lnTo>
                  <a:lnTo>
                    <a:pt x="6" y="162"/>
                  </a:lnTo>
                  <a:lnTo>
                    <a:pt x="6" y="158"/>
                  </a:lnTo>
                  <a:lnTo>
                    <a:pt x="6" y="155"/>
                  </a:lnTo>
                  <a:lnTo>
                    <a:pt x="6" y="152"/>
                  </a:lnTo>
                  <a:lnTo>
                    <a:pt x="6" y="148"/>
                  </a:lnTo>
                  <a:lnTo>
                    <a:pt x="6" y="143"/>
                  </a:lnTo>
                  <a:lnTo>
                    <a:pt x="6" y="141"/>
                  </a:lnTo>
                  <a:lnTo>
                    <a:pt x="6" y="138"/>
                  </a:lnTo>
                  <a:lnTo>
                    <a:pt x="6" y="134"/>
                  </a:lnTo>
                  <a:lnTo>
                    <a:pt x="7" y="131"/>
                  </a:lnTo>
                  <a:lnTo>
                    <a:pt x="7" y="127"/>
                  </a:lnTo>
                  <a:lnTo>
                    <a:pt x="7" y="124"/>
                  </a:lnTo>
                  <a:lnTo>
                    <a:pt x="7" y="119"/>
                  </a:lnTo>
                  <a:lnTo>
                    <a:pt x="7" y="117"/>
                  </a:lnTo>
                  <a:lnTo>
                    <a:pt x="7" y="115"/>
                  </a:lnTo>
                  <a:lnTo>
                    <a:pt x="7" y="114"/>
                  </a:lnTo>
                  <a:lnTo>
                    <a:pt x="7" y="110"/>
                  </a:lnTo>
                  <a:lnTo>
                    <a:pt x="7" y="107"/>
                  </a:lnTo>
                  <a:lnTo>
                    <a:pt x="7" y="105"/>
                  </a:lnTo>
                  <a:lnTo>
                    <a:pt x="7" y="105"/>
                  </a:lnTo>
                  <a:lnTo>
                    <a:pt x="7" y="103"/>
                  </a:lnTo>
                  <a:lnTo>
                    <a:pt x="7" y="102"/>
                  </a:lnTo>
                  <a:lnTo>
                    <a:pt x="7" y="100"/>
                  </a:lnTo>
                  <a:lnTo>
                    <a:pt x="7" y="96"/>
                  </a:lnTo>
                  <a:lnTo>
                    <a:pt x="7" y="95"/>
                  </a:lnTo>
                  <a:lnTo>
                    <a:pt x="7" y="91"/>
                  </a:lnTo>
                  <a:lnTo>
                    <a:pt x="9" y="88"/>
                  </a:lnTo>
                  <a:lnTo>
                    <a:pt x="9" y="86"/>
                  </a:lnTo>
                  <a:lnTo>
                    <a:pt x="9" y="79"/>
                  </a:lnTo>
                  <a:lnTo>
                    <a:pt x="9" y="78"/>
                  </a:lnTo>
                  <a:lnTo>
                    <a:pt x="9" y="74"/>
                  </a:lnTo>
                  <a:lnTo>
                    <a:pt x="9" y="74"/>
                  </a:lnTo>
                  <a:lnTo>
                    <a:pt x="9" y="69"/>
                  </a:lnTo>
                  <a:lnTo>
                    <a:pt x="9" y="64"/>
                  </a:lnTo>
                  <a:lnTo>
                    <a:pt x="9" y="59"/>
                  </a:lnTo>
                  <a:lnTo>
                    <a:pt x="9" y="53"/>
                  </a:lnTo>
                  <a:lnTo>
                    <a:pt x="11" y="41"/>
                  </a:lnTo>
                  <a:lnTo>
                    <a:pt x="11" y="33"/>
                  </a:lnTo>
                  <a:lnTo>
                    <a:pt x="11" y="29"/>
                  </a:lnTo>
                  <a:lnTo>
                    <a:pt x="11" y="16"/>
                  </a:lnTo>
                  <a:lnTo>
                    <a:pt x="11" y="9"/>
                  </a:lnTo>
                  <a:lnTo>
                    <a:pt x="11" y="7"/>
                  </a:lnTo>
                  <a:lnTo>
                    <a:pt x="11" y="4"/>
                  </a:lnTo>
                  <a:lnTo>
                    <a:pt x="11"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4" name="Freeform 235"/>
            <p:cNvSpPr>
              <a:spLocks/>
            </p:cNvSpPr>
            <p:nvPr/>
          </p:nvSpPr>
          <p:spPr bwMode="auto">
            <a:xfrm>
              <a:off x="4534783" y="5170281"/>
              <a:ext cx="690563" cy="354013"/>
            </a:xfrm>
            <a:custGeom>
              <a:avLst/>
              <a:gdLst/>
              <a:ahLst/>
              <a:cxnLst>
                <a:cxn ang="0">
                  <a:pos x="12" y="0"/>
                </a:cxn>
                <a:cxn ang="0">
                  <a:pos x="33" y="0"/>
                </a:cxn>
                <a:cxn ang="0">
                  <a:pos x="55" y="0"/>
                </a:cxn>
                <a:cxn ang="0">
                  <a:pos x="74" y="2"/>
                </a:cxn>
                <a:cxn ang="0">
                  <a:pos x="100" y="2"/>
                </a:cxn>
                <a:cxn ang="0">
                  <a:pos x="124" y="2"/>
                </a:cxn>
                <a:cxn ang="0">
                  <a:pos x="141" y="2"/>
                </a:cxn>
                <a:cxn ang="0">
                  <a:pos x="153" y="3"/>
                </a:cxn>
                <a:cxn ang="0">
                  <a:pos x="170" y="3"/>
                </a:cxn>
                <a:cxn ang="0">
                  <a:pos x="189" y="3"/>
                </a:cxn>
                <a:cxn ang="0">
                  <a:pos x="206" y="3"/>
                </a:cxn>
                <a:cxn ang="0">
                  <a:pos x="222" y="5"/>
                </a:cxn>
                <a:cxn ang="0">
                  <a:pos x="237" y="5"/>
                </a:cxn>
                <a:cxn ang="0">
                  <a:pos x="251" y="5"/>
                </a:cxn>
                <a:cxn ang="0">
                  <a:pos x="270" y="7"/>
                </a:cxn>
                <a:cxn ang="0">
                  <a:pos x="289" y="7"/>
                </a:cxn>
                <a:cxn ang="0">
                  <a:pos x="299" y="7"/>
                </a:cxn>
                <a:cxn ang="0">
                  <a:pos x="313" y="8"/>
                </a:cxn>
                <a:cxn ang="0">
                  <a:pos x="346" y="8"/>
                </a:cxn>
                <a:cxn ang="0">
                  <a:pos x="364" y="8"/>
                </a:cxn>
                <a:cxn ang="0">
                  <a:pos x="392" y="10"/>
                </a:cxn>
                <a:cxn ang="0">
                  <a:pos x="411" y="10"/>
                </a:cxn>
                <a:cxn ang="0">
                  <a:pos x="435" y="15"/>
                </a:cxn>
                <a:cxn ang="0">
                  <a:pos x="435" y="32"/>
                </a:cxn>
                <a:cxn ang="0">
                  <a:pos x="435" y="50"/>
                </a:cxn>
                <a:cxn ang="0">
                  <a:pos x="435" y="75"/>
                </a:cxn>
                <a:cxn ang="0">
                  <a:pos x="435" y="101"/>
                </a:cxn>
                <a:cxn ang="0">
                  <a:pos x="433" y="122"/>
                </a:cxn>
                <a:cxn ang="0">
                  <a:pos x="433" y="151"/>
                </a:cxn>
                <a:cxn ang="0">
                  <a:pos x="433" y="179"/>
                </a:cxn>
                <a:cxn ang="0">
                  <a:pos x="432" y="189"/>
                </a:cxn>
                <a:cxn ang="0">
                  <a:pos x="432" y="215"/>
                </a:cxn>
                <a:cxn ang="0">
                  <a:pos x="399" y="223"/>
                </a:cxn>
                <a:cxn ang="0">
                  <a:pos x="373" y="222"/>
                </a:cxn>
                <a:cxn ang="0">
                  <a:pos x="349" y="222"/>
                </a:cxn>
                <a:cxn ang="0">
                  <a:pos x="332" y="222"/>
                </a:cxn>
                <a:cxn ang="0">
                  <a:pos x="301" y="220"/>
                </a:cxn>
                <a:cxn ang="0">
                  <a:pos x="266" y="218"/>
                </a:cxn>
                <a:cxn ang="0">
                  <a:pos x="225" y="218"/>
                </a:cxn>
                <a:cxn ang="0">
                  <a:pos x="203" y="217"/>
                </a:cxn>
                <a:cxn ang="0">
                  <a:pos x="180" y="217"/>
                </a:cxn>
                <a:cxn ang="0">
                  <a:pos x="165" y="205"/>
                </a:cxn>
                <a:cxn ang="0">
                  <a:pos x="167" y="172"/>
                </a:cxn>
                <a:cxn ang="0">
                  <a:pos x="167" y="149"/>
                </a:cxn>
                <a:cxn ang="0">
                  <a:pos x="167" y="119"/>
                </a:cxn>
                <a:cxn ang="0">
                  <a:pos x="168" y="96"/>
                </a:cxn>
                <a:cxn ang="0">
                  <a:pos x="167" y="82"/>
                </a:cxn>
                <a:cxn ang="0">
                  <a:pos x="148" y="81"/>
                </a:cxn>
                <a:cxn ang="0">
                  <a:pos x="124" y="81"/>
                </a:cxn>
                <a:cxn ang="0">
                  <a:pos x="103" y="81"/>
                </a:cxn>
                <a:cxn ang="0">
                  <a:pos x="82" y="81"/>
                </a:cxn>
                <a:cxn ang="0">
                  <a:pos x="65" y="81"/>
                </a:cxn>
                <a:cxn ang="0">
                  <a:pos x="55" y="81"/>
                </a:cxn>
                <a:cxn ang="0">
                  <a:pos x="43" y="79"/>
                </a:cxn>
                <a:cxn ang="0">
                  <a:pos x="20" y="79"/>
                </a:cxn>
                <a:cxn ang="0">
                  <a:pos x="10" y="79"/>
                </a:cxn>
                <a:cxn ang="0">
                  <a:pos x="0" y="62"/>
                </a:cxn>
                <a:cxn ang="0">
                  <a:pos x="2" y="45"/>
                </a:cxn>
                <a:cxn ang="0">
                  <a:pos x="2" y="19"/>
                </a:cxn>
              </a:cxnLst>
              <a:rect l="0" t="0" r="r" b="b"/>
              <a:pathLst>
                <a:path w="435" h="223">
                  <a:moveTo>
                    <a:pt x="2" y="0"/>
                  </a:moveTo>
                  <a:lnTo>
                    <a:pt x="2" y="0"/>
                  </a:lnTo>
                  <a:lnTo>
                    <a:pt x="3" y="0"/>
                  </a:lnTo>
                  <a:lnTo>
                    <a:pt x="7" y="0"/>
                  </a:lnTo>
                  <a:lnTo>
                    <a:pt x="8" y="0"/>
                  </a:lnTo>
                  <a:lnTo>
                    <a:pt x="12" y="0"/>
                  </a:lnTo>
                  <a:lnTo>
                    <a:pt x="17" y="0"/>
                  </a:lnTo>
                  <a:lnTo>
                    <a:pt x="22" y="0"/>
                  </a:lnTo>
                  <a:lnTo>
                    <a:pt x="24" y="0"/>
                  </a:lnTo>
                  <a:lnTo>
                    <a:pt x="27" y="0"/>
                  </a:lnTo>
                  <a:lnTo>
                    <a:pt x="33" y="0"/>
                  </a:lnTo>
                  <a:lnTo>
                    <a:pt x="33" y="0"/>
                  </a:lnTo>
                  <a:lnTo>
                    <a:pt x="34" y="0"/>
                  </a:lnTo>
                  <a:lnTo>
                    <a:pt x="41" y="0"/>
                  </a:lnTo>
                  <a:lnTo>
                    <a:pt x="43" y="0"/>
                  </a:lnTo>
                  <a:lnTo>
                    <a:pt x="45" y="0"/>
                  </a:lnTo>
                  <a:lnTo>
                    <a:pt x="48" y="0"/>
                  </a:lnTo>
                  <a:lnTo>
                    <a:pt x="55" y="0"/>
                  </a:lnTo>
                  <a:lnTo>
                    <a:pt x="58" y="0"/>
                  </a:lnTo>
                  <a:lnTo>
                    <a:pt x="62" y="0"/>
                  </a:lnTo>
                  <a:lnTo>
                    <a:pt x="67" y="0"/>
                  </a:lnTo>
                  <a:lnTo>
                    <a:pt x="69" y="0"/>
                  </a:lnTo>
                  <a:lnTo>
                    <a:pt x="72" y="2"/>
                  </a:lnTo>
                  <a:lnTo>
                    <a:pt x="74" y="2"/>
                  </a:lnTo>
                  <a:lnTo>
                    <a:pt x="79" y="2"/>
                  </a:lnTo>
                  <a:lnTo>
                    <a:pt x="82" y="2"/>
                  </a:lnTo>
                  <a:lnTo>
                    <a:pt x="88" y="2"/>
                  </a:lnTo>
                  <a:lnTo>
                    <a:pt x="91" y="2"/>
                  </a:lnTo>
                  <a:lnTo>
                    <a:pt x="96" y="2"/>
                  </a:lnTo>
                  <a:lnTo>
                    <a:pt x="100" y="2"/>
                  </a:lnTo>
                  <a:lnTo>
                    <a:pt x="103" y="2"/>
                  </a:lnTo>
                  <a:lnTo>
                    <a:pt x="106" y="2"/>
                  </a:lnTo>
                  <a:lnTo>
                    <a:pt x="110" y="2"/>
                  </a:lnTo>
                  <a:lnTo>
                    <a:pt x="113" y="2"/>
                  </a:lnTo>
                  <a:lnTo>
                    <a:pt x="120" y="2"/>
                  </a:lnTo>
                  <a:lnTo>
                    <a:pt x="124" y="2"/>
                  </a:lnTo>
                  <a:lnTo>
                    <a:pt x="124" y="2"/>
                  </a:lnTo>
                  <a:lnTo>
                    <a:pt x="127" y="2"/>
                  </a:lnTo>
                  <a:lnTo>
                    <a:pt x="131" y="2"/>
                  </a:lnTo>
                  <a:lnTo>
                    <a:pt x="136" y="2"/>
                  </a:lnTo>
                  <a:lnTo>
                    <a:pt x="137" y="2"/>
                  </a:lnTo>
                  <a:lnTo>
                    <a:pt x="141" y="2"/>
                  </a:lnTo>
                  <a:lnTo>
                    <a:pt x="144" y="3"/>
                  </a:lnTo>
                  <a:lnTo>
                    <a:pt x="146" y="3"/>
                  </a:lnTo>
                  <a:lnTo>
                    <a:pt x="148" y="3"/>
                  </a:lnTo>
                  <a:lnTo>
                    <a:pt x="151" y="3"/>
                  </a:lnTo>
                  <a:lnTo>
                    <a:pt x="153" y="3"/>
                  </a:lnTo>
                  <a:lnTo>
                    <a:pt x="153" y="3"/>
                  </a:lnTo>
                  <a:lnTo>
                    <a:pt x="156" y="3"/>
                  </a:lnTo>
                  <a:lnTo>
                    <a:pt x="158" y="3"/>
                  </a:lnTo>
                  <a:lnTo>
                    <a:pt x="160" y="3"/>
                  </a:lnTo>
                  <a:lnTo>
                    <a:pt x="163" y="3"/>
                  </a:lnTo>
                  <a:lnTo>
                    <a:pt x="168" y="3"/>
                  </a:lnTo>
                  <a:lnTo>
                    <a:pt x="170" y="3"/>
                  </a:lnTo>
                  <a:lnTo>
                    <a:pt x="175" y="3"/>
                  </a:lnTo>
                  <a:lnTo>
                    <a:pt x="179" y="3"/>
                  </a:lnTo>
                  <a:lnTo>
                    <a:pt x="180" y="3"/>
                  </a:lnTo>
                  <a:lnTo>
                    <a:pt x="182" y="3"/>
                  </a:lnTo>
                  <a:lnTo>
                    <a:pt x="184" y="3"/>
                  </a:lnTo>
                  <a:lnTo>
                    <a:pt x="189" y="3"/>
                  </a:lnTo>
                  <a:lnTo>
                    <a:pt x="191" y="3"/>
                  </a:lnTo>
                  <a:lnTo>
                    <a:pt x="192" y="3"/>
                  </a:lnTo>
                  <a:lnTo>
                    <a:pt x="194" y="3"/>
                  </a:lnTo>
                  <a:lnTo>
                    <a:pt x="199" y="3"/>
                  </a:lnTo>
                  <a:lnTo>
                    <a:pt x="205" y="3"/>
                  </a:lnTo>
                  <a:lnTo>
                    <a:pt x="206" y="3"/>
                  </a:lnTo>
                  <a:lnTo>
                    <a:pt x="208" y="3"/>
                  </a:lnTo>
                  <a:lnTo>
                    <a:pt x="210" y="3"/>
                  </a:lnTo>
                  <a:lnTo>
                    <a:pt x="211" y="3"/>
                  </a:lnTo>
                  <a:lnTo>
                    <a:pt x="213" y="3"/>
                  </a:lnTo>
                  <a:lnTo>
                    <a:pt x="218" y="5"/>
                  </a:lnTo>
                  <a:lnTo>
                    <a:pt x="222" y="5"/>
                  </a:lnTo>
                  <a:lnTo>
                    <a:pt x="225" y="5"/>
                  </a:lnTo>
                  <a:lnTo>
                    <a:pt x="227" y="5"/>
                  </a:lnTo>
                  <a:lnTo>
                    <a:pt x="232" y="5"/>
                  </a:lnTo>
                  <a:lnTo>
                    <a:pt x="234" y="5"/>
                  </a:lnTo>
                  <a:lnTo>
                    <a:pt x="235" y="5"/>
                  </a:lnTo>
                  <a:lnTo>
                    <a:pt x="237" y="5"/>
                  </a:lnTo>
                  <a:lnTo>
                    <a:pt x="242" y="5"/>
                  </a:lnTo>
                  <a:lnTo>
                    <a:pt x="244" y="5"/>
                  </a:lnTo>
                  <a:lnTo>
                    <a:pt x="246" y="5"/>
                  </a:lnTo>
                  <a:lnTo>
                    <a:pt x="248" y="5"/>
                  </a:lnTo>
                  <a:lnTo>
                    <a:pt x="249" y="5"/>
                  </a:lnTo>
                  <a:lnTo>
                    <a:pt x="251" y="5"/>
                  </a:lnTo>
                  <a:lnTo>
                    <a:pt x="254" y="7"/>
                  </a:lnTo>
                  <a:lnTo>
                    <a:pt x="256" y="7"/>
                  </a:lnTo>
                  <a:lnTo>
                    <a:pt x="258" y="7"/>
                  </a:lnTo>
                  <a:lnTo>
                    <a:pt x="261" y="7"/>
                  </a:lnTo>
                  <a:lnTo>
                    <a:pt x="266" y="7"/>
                  </a:lnTo>
                  <a:lnTo>
                    <a:pt x="270" y="7"/>
                  </a:lnTo>
                  <a:lnTo>
                    <a:pt x="273" y="7"/>
                  </a:lnTo>
                  <a:lnTo>
                    <a:pt x="273" y="7"/>
                  </a:lnTo>
                  <a:lnTo>
                    <a:pt x="275" y="7"/>
                  </a:lnTo>
                  <a:lnTo>
                    <a:pt x="277" y="7"/>
                  </a:lnTo>
                  <a:lnTo>
                    <a:pt x="285" y="7"/>
                  </a:lnTo>
                  <a:lnTo>
                    <a:pt x="289" y="7"/>
                  </a:lnTo>
                  <a:lnTo>
                    <a:pt x="291" y="7"/>
                  </a:lnTo>
                  <a:lnTo>
                    <a:pt x="292" y="7"/>
                  </a:lnTo>
                  <a:lnTo>
                    <a:pt x="294" y="7"/>
                  </a:lnTo>
                  <a:lnTo>
                    <a:pt x="296" y="7"/>
                  </a:lnTo>
                  <a:lnTo>
                    <a:pt x="297" y="7"/>
                  </a:lnTo>
                  <a:lnTo>
                    <a:pt x="299" y="7"/>
                  </a:lnTo>
                  <a:lnTo>
                    <a:pt x="303" y="7"/>
                  </a:lnTo>
                  <a:lnTo>
                    <a:pt x="304" y="8"/>
                  </a:lnTo>
                  <a:lnTo>
                    <a:pt x="308" y="8"/>
                  </a:lnTo>
                  <a:lnTo>
                    <a:pt x="309" y="8"/>
                  </a:lnTo>
                  <a:lnTo>
                    <a:pt x="311" y="8"/>
                  </a:lnTo>
                  <a:lnTo>
                    <a:pt x="313" y="8"/>
                  </a:lnTo>
                  <a:lnTo>
                    <a:pt x="323" y="8"/>
                  </a:lnTo>
                  <a:lnTo>
                    <a:pt x="327" y="8"/>
                  </a:lnTo>
                  <a:lnTo>
                    <a:pt x="334" y="8"/>
                  </a:lnTo>
                  <a:lnTo>
                    <a:pt x="335" y="8"/>
                  </a:lnTo>
                  <a:lnTo>
                    <a:pt x="337" y="8"/>
                  </a:lnTo>
                  <a:lnTo>
                    <a:pt x="346" y="8"/>
                  </a:lnTo>
                  <a:lnTo>
                    <a:pt x="347" y="8"/>
                  </a:lnTo>
                  <a:lnTo>
                    <a:pt x="351" y="8"/>
                  </a:lnTo>
                  <a:lnTo>
                    <a:pt x="354" y="8"/>
                  </a:lnTo>
                  <a:lnTo>
                    <a:pt x="356" y="8"/>
                  </a:lnTo>
                  <a:lnTo>
                    <a:pt x="359" y="8"/>
                  </a:lnTo>
                  <a:lnTo>
                    <a:pt x="364" y="8"/>
                  </a:lnTo>
                  <a:lnTo>
                    <a:pt x="373" y="8"/>
                  </a:lnTo>
                  <a:lnTo>
                    <a:pt x="377" y="8"/>
                  </a:lnTo>
                  <a:lnTo>
                    <a:pt x="380" y="10"/>
                  </a:lnTo>
                  <a:lnTo>
                    <a:pt x="389" y="10"/>
                  </a:lnTo>
                  <a:lnTo>
                    <a:pt x="390" y="10"/>
                  </a:lnTo>
                  <a:lnTo>
                    <a:pt x="392" y="10"/>
                  </a:lnTo>
                  <a:lnTo>
                    <a:pt x="397" y="10"/>
                  </a:lnTo>
                  <a:lnTo>
                    <a:pt x="399" y="10"/>
                  </a:lnTo>
                  <a:lnTo>
                    <a:pt x="402" y="10"/>
                  </a:lnTo>
                  <a:lnTo>
                    <a:pt x="407" y="10"/>
                  </a:lnTo>
                  <a:lnTo>
                    <a:pt x="409" y="10"/>
                  </a:lnTo>
                  <a:lnTo>
                    <a:pt x="411" y="10"/>
                  </a:lnTo>
                  <a:lnTo>
                    <a:pt x="413" y="10"/>
                  </a:lnTo>
                  <a:lnTo>
                    <a:pt x="420" y="10"/>
                  </a:lnTo>
                  <a:lnTo>
                    <a:pt x="425" y="10"/>
                  </a:lnTo>
                  <a:lnTo>
                    <a:pt x="430" y="12"/>
                  </a:lnTo>
                  <a:lnTo>
                    <a:pt x="435" y="12"/>
                  </a:lnTo>
                  <a:lnTo>
                    <a:pt x="435" y="15"/>
                  </a:lnTo>
                  <a:lnTo>
                    <a:pt x="435" y="19"/>
                  </a:lnTo>
                  <a:lnTo>
                    <a:pt x="435" y="22"/>
                  </a:lnTo>
                  <a:lnTo>
                    <a:pt x="435" y="24"/>
                  </a:lnTo>
                  <a:lnTo>
                    <a:pt x="435" y="29"/>
                  </a:lnTo>
                  <a:lnTo>
                    <a:pt x="435" y="31"/>
                  </a:lnTo>
                  <a:lnTo>
                    <a:pt x="435" y="32"/>
                  </a:lnTo>
                  <a:lnTo>
                    <a:pt x="435" y="34"/>
                  </a:lnTo>
                  <a:lnTo>
                    <a:pt x="435" y="38"/>
                  </a:lnTo>
                  <a:lnTo>
                    <a:pt x="435" y="39"/>
                  </a:lnTo>
                  <a:lnTo>
                    <a:pt x="435" y="45"/>
                  </a:lnTo>
                  <a:lnTo>
                    <a:pt x="435" y="46"/>
                  </a:lnTo>
                  <a:lnTo>
                    <a:pt x="435" y="50"/>
                  </a:lnTo>
                  <a:lnTo>
                    <a:pt x="435" y="53"/>
                  </a:lnTo>
                  <a:lnTo>
                    <a:pt x="435" y="60"/>
                  </a:lnTo>
                  <a:lnTo>
                    <a:pt x="435" y="63"/>
                  </a:lnTo>
                  <a:lnTo>
                    <a:pt x="435" y="70"/>
                  </a:lnTo>
                  <a:lnTo>
                    <a:pt x="435" y="74"/>
                  </a:lnTo>
                  <a:lnTo>
                    <a:pt x="435" y="75"/>
                  </a:lnTo>
                  <a:lnTo>
                    <a:pt x="435" y="75"/>
                  </a:lnTo>
                  <a:lnTo>
                    <a:pt x="435" y="77"/>
                  </a:lnTo>
                  <a:lnTo>
                    <a:pt x="435" y="88"/>
                  </a:lnTo>
                  <a:lnTo>
                    <a:pt x="435" y="89"/>
                  </a:lnTo>
                  <a:lnTo>
                    <a:pt x="435" y="93"/>
                  </a:lnTo>
                  <a:lnTo>
                    <a:pt x="435" y="101"/>
                  </a:lnTo>
                  <a:lnTo>
                    <a:pt x="435" y="103"/>
                  </a:lnTo>
                  <a:lnTo>
                    <a:pt x="435" y="105"/>
                  </a:lnTo>
                  <a:lnTo>
                    <a:pt x="433" y="112"/>
                  </a:lnTo>
                  <a:lnTo>
                    <a:pt x="433" y="115"/>
                  </a:lnTo>
                  <a:lnTo>
                    <a:pt x="433" y="120"/>
                  </a:lnTo>
                  <a:lnTo>
                    <a:pt x="433" y="122"/>
                  </a:lnTo>
                  <a:lnTo>
                    <a:pt x="433" y="124"/>
                  </a:lnTo>
                  <a:lnTo>
                    <a:pt x="433" y="125"/>
                  </a:lnTo>
                  <a:lnTo>
                    <a:pt x="433" y="144"/>
                  </a:lnTo>
                  <a:lnTo>
                    <a:pt x="433" y="146"/>
                  </a:lnTo>
                  <a:lnTo>
                    <a:pt x="433" y="148"/>
                  </a:lnTo>
                  <a:lnTo>
                    <a:pt x="433" y="151"/>
                  </a:lnTo>
                  <a:lnTo>
                    <a:pt x="433" y="153"/>
                  </a:lnTo>
                  <a:lnTo>
                    <a:pt x="433" y="156"/>
                  </a:lnTo>
                  <a:lnTo>
                    <a:pt x="433" y="165"/>
                  </a:lnTo>
                  <a:lnTo>
                    <a:pt x="433" y="172"/>
                  </a:lnTo>
                  <a:lnTo>
                    <a:pt x="433" y="175"/>
                  </a:lnTo>
                  <a:lnTo>
                    <a:pt x="433" y="179"/>
                  </a:lnTo>
                  <a:lnTo>
                    <a:pt x="432" y="179"/>
                  </a:lnTo>
                  <a:lnTo>
                    <a:pt x="432" y="180"/>
                  </a:lnTo>
                  <a:lnTo>
                    <a:pt x="432" y="184"/>
                  </a:lnTo>
                  <a:lnTo>
                    <a:pt x="432" y="186"/>
                  </a:lnTo>
                  <a:lnTo>
                    <a:pt x="432" y="187"/>
                  </a:lnTo>
                  <a:lnTo>
                    <a:pt x="432" y="189"/>
                  </a:lnTo>
                  <a:lnTo>
                    <a:pt x="432" y="194"/>
                  </a:lnTo>
                  <a:lnTo>
                    <a:pt x="432" y="208"/>
                  </a:lnTo>
                  <a:lnTo>
                    <a:pt x="432" y="210"/>
                  </a:lnTo>
                  <a:lnTo>
                    <a:pt x="432" y="210"/>
                  </a:lnTo>
                  <a:lnTo>
                    <a:pt x="432" y="211"/>
                  </a:lnTo>
                  <a:lnTo>
                    <a:pt x="432" y="215"/>
                  </a:lnTo>
                  <a:lnTo>
                    <a:pt x="432" y="218"/>
                  </a:lnTo>
                  <a:lnTo>
                    <a:pt x="432" y="222"/>
                  </a:lnTo>
                  <a:lnTo>
                    <a:pt x="432" y="223"/>
                  </a:lnTo>
                  <a:lnTo>
                    <a:pt x="421" y="223"/>
                  </a:lnTo>
                  <a:lnTo>
                    <a:pt x="418" y="223"/>
                  </a:lnTo>
                  <a:lnTo>
                    <a:pt x="399" y="223"/>
                  </a:lnTo>
                  <a:lnTo>
                    <a:pt x="397" y="223"/>
                  </a:lnTo>
                  <a:lnTo>
                    <a:pt x="387" y="222"/>
                  </a:lnTo>
                  <a:lnTo>
                    <a:pt x="383" y="222"/>
                  </a:lnTo>
                  <a:lnTo>
                    <a:pt x="378" y="222"/>
                  </a:lnTo>
                  <a:lnTo>
                    <a:pt x="377" y="222"/>
                  </a:lnTo>
                  <a:lnTo>
                    <a:pt x="373" y="222"/>
                  </a:lnTo>
                  <a:lnTo>
                    <a:pt x="366" y="222"/>
                  </a:lnTo>
                  <a:lnTo>
                    <a:pt x="363" y="222"/>
                  </a:lnTo>
                  <a:lnTo>
                    <a:pt x="361" y="222"/>
                  </a:lnTo>
                  <a:lnTo>
                    <a:pt x="359" y="222"/>
                  </a:lnTo>
                  <a:lnTo>
                    <a:pt x="358" y="222"/>
                  </a:lnTo>
                  <a:lnTo>
                    <a:pt x="349" y="222"/>
                  </a:lnTo>
                  <a:lnTo>
                    <a:pt x="349" y="222"/>
                  </a:lnTo>
                  <a:lnTo>
                    <a:pt x="342" y="222"/>
                  </a:lnTo>
                  <a:lnTo>
                    <a:pt x="340" y="222"/>
                  </a:lnTo>
                  <a:lnTo>
                    <a:pt x="335" y="222"/>
                  </a:lnTo>
                  <a:lnTo>
                    <a:pt x="334" y="222"/>
                  </a:lnTo>
                  <a:lnTo>
                    <a:pt x="332" y="222"/>
                  </a:lnTo>
                  <a:lnTo>
                    <a:pt x="330" y="220"/>
                  </a:lnTo>
                  <a:lnTo>
                    <a:pt x="328" y="220"/>
                  </a:lnTo>
                  <a:lnTo>
                    <a:pt x="304" y="220"/>
                  </a:lnTo>
                  <a:lnTo>
                    <a:pt x="304" y="220"/>
                  </a:lnTo>
                  <a:lnTo>
                    <a:pt x="303" y="220"/>
                  </a:lnTo>
                  <a:lnTo>
                    <a:pt x="301" y="220"/>
                  </a:lnTo>
                  <a:lnTo>
                    <a:pt x="299" y="220"/>
                  </a:lnTo>
                  <a:lnTo>
                    <a:pt x="289" y="220"/>
                  </a:lnTo>
                  <a:lnTo>
                    <a:pt x="285" y="220"/>
                  </a:lnTo>
                  <a:lnTo>
                    <a:pt x="280" y="220"/>
                  </a:lnTo>
                  <a:lnTo>
                    <a:pt x="273" y="220"/>
                  </a:lnTo>
                  <a:lnTo>
                    <a:pt x="266" y="218"/>
                  </a:lnTo>
                  <a:lnTo>
                    <a:pt x="263" y="218"/>
                  </a:lnTo>
                  <a:lnTo>
                    <a:pt x="261" y="218"/>
                  </a:lnTo>
                  <a:lnTo>
                    <a:pt x="260" y="218"/>
                  </a:lnTo>
                  <a:lnTo>
                    <a:pt x="235" y="218"/>
                  </a:lnTo>
                  <a:lnTo>
                    <a:pt x="229" y="218"/>
                  </a:lnTo>
                  <a:lnTo>
                    <a:pt x="225" y="218"/>
                  </a:lnTo>
                  <a:lnTo>
                    <a:pt x="222" y="218"/>
                  </a:lnTo>
                  <a:lnTo>
                    <a:pt x="217" y="218"/>
                  </a:lnTo>
                  <a:lnTo>
                    <a:pt x="215" y="217"/>
                  </a:lnTo>
                  <a:lnTo>
                    <a:pt x="208" y="217"/>
                  </a:lnTo>
                  <a:lnTo>
                    <a:pt x="205" y="217"/>
                  </a:lnTo>
                  <a:lnTo>
                    <a:pt x="203" y="217"/>
                  </a:lnTo>
                  <a:lnTo>
                    <a:pt x="196" y="217"/>
                  </a:lnTo>
                  <a:lnTo>
                    <a:pt x="187" y="217"/>
                  </a:lnTo>
                  <a:lnTo>
                    <a:pt x="186" y="217"/>
                  </a:lnTo>
                  <a:lnTo>
                    <a:pt x="184" y="217"/>
                  </a:lnTo>
                  <a:lnTo>
                    <a:pt x="182" y="217"/>
                  </a:lnTo>
                  <a:lnTo>
                    <a:pt x="180" y="217"/>
                  </a:lnTo>
                  <a:lnTo>
                    <a:pt x="177" y="217"/>
                  </a:lnTo>
                  <a:lnTo>
                    <a:pt x="175" y="217"/>
                  </a:lnTo>
                  <a:lnTo>
                    <a:pt x="168" y="217"/>
                  </a:lnTo>
                  <a:lnTo>
                    <a:pt x="165" y="217"/>
                  </a:lnTo>
                  <a:lnTo>
                    <a:pt x="165" y="210"/>
                  </a:lnTo>
                  <a:lnTo>
                    <a:pt x="165" y="205"/>
                  </a:lnTo>
                  <a:lnTo>
                    <a:pt x="165" y="194"/>
                  </a:lnTo>
                  <a:lnTo>
                    <a:pt x="165" y="186"/>
                  </a:lnTo>
                  <a:lnTo>
                    <a:pt x="165" y="184"/>
                  </a:lnTo>
                  <a:lnTo>
                    <a:pt x="165" y="182"/>
                  </a:lnTo>
                  <a:lnTo>
                    <a:pt x="167" y="174"/>
                  </a:lnTo>
                  <a:lnTo>
                    <a:pt x="167" y="172"/>
                  </a:lnTo>
                  <a:lnTo>
                    <a:pt x="167" y="165"/>
                  </a:lnTo>
                  <a:lnTo>
                    <a:pt x="167" y="163"/>
                  </a:lnTo>
                  <a:lnTo>
                    <a:pt x="167" y="162"/>
                  </a:lnTo>
                  <a:lnTo>
                    <a:pt x="167" y="155"/>
                  </a:lnTo>
                  <a:lnTo>
                    <a:pt x="167" y="151"/>
                  </a:lnTo>
                  <a:lnTo>
                    <a:pt x="167" y="149"/>
                  </a:lnTo>
                  <a:lnTo>
                    <a:pt x="167" y="143"/>
                  </a:lnTo>
                  <a:lnTo>
                    <a:pt x="167" y="137"/>
                  </a:lnTo>
                  <a:lnTo>
                    <a:pt x="167" y="136"/>
                  </a:lnTo>
                  <a:lnTo>
                    <a:pt x="167" y="125"/>
                  </a:lnTo>
                  <a:lnTo>
                    <a:pt x="167" y="122"/>
                  </a:lnTo>
                  <a:lnTo>
                    <a:pt x="167" y="119"/>
                  </a:lnTo>
                  <a:lnTo>
                    <a:pt x="167" y="117"/>
                  </a:lnTo>
                  <a:lnTo>
                    <a:pt x="168" y="113"/>
                  </a:lnTo>
                  <a:lnTo>
                    <a:pt x="168" y="106"/>
                  </a:lnTo>
                  <a:lnTo>
                    <a:pt x="168" y="105"/>
                  </a:lnTo>
                  <a:lnTo>
                    <a:pt x="168" y="100"/>
                  </a:lnTo>
                  <a:lnTo>
                    <a:pt x="168" y="96"/>
                  </a:lnTo>
                  <a:lnTo>
                    <a:pt x="168" y="93"/>
                  </a:lnTo>
                  <a:lnTo>
                    <a:pt x="168" y="89"/>
                  </a:lnTo>
                  <a:lnTo>
                    <a:pt x="168" y="86"/>
                  </a:lnTo>
                  <a:lnTo>
                    <a:pt x="168" y="84"/>
                  </a:lnTo>
                  <a:lnTo>
                    <a:pt x="168" y="82"/>
                  </a:lnTo>
                  <a:lnTo>
                    <a:pt x="167" y="82"/>
                  </a:lnTo>
                  <a:lnTo>
                    <a:pt x="165" y="82"/>
                  </a:lnTo>
                  <a:lnTo>
                    <a:pt x="162" y="82"/>
                  </a:lnTo>
                  <a:lnTo>
                    <a:pt x="153" y="82"/>
                  </a:lnTo>
                  <a:lnTo>
                    <a:pt x="153" y="82"/>
                  </a:lnTo>
                  <a:lnTo>
                    <a:pt x="149" y="82"/>
                  </a:lnTo>
                  <a:lnTo>
                    <a:pt x="148" y="81"/>
                  </a:lnTo>
                  <a:lnTo>
                    <a:pt x="146" y="81"/>
                  </a:lnTo>
                  <a:lnTo>
                    <a:pt x="144" y="81"/>
                  </a:lnTo>
                  <a:lnTo>
                    <a:pt x="136" y="81"/>
                  </a:lnTo>
                  <a:lnTo>
                    <a:pt x="127" y="81"/>
                  </a:lnTo>
                  <a:lnTo>
                    <a:pt x="125" y="81"/>
                  </a:lnTo>
                  <a:lnTo>
                    <a:pt x="124" y="81"/>
                  </a:lnTo>
                  <a:lnTo>
                    <a:pt x="122" y="81"/>
                  </a:lnTo>
                  <a:lnTo>
                    <a:pt x="117" y="81"/>
                  </a:lnTo>
                  <a:lnTo>
                    <a:pt x="115" y="81"/>
                  </a:lnTo>
                  <a:lnTo>
                    <a:pt x="112" y="81"/>
                  </a:lnTo>
                  <a:lnTo>
                    <a:pt x="108" y="81"/>
                  </a:lnTo>
                  <a:lnTo>
                    <a:pt x="103" y="81"/>
                  </a:lnTo>
                  <a:lnTo>
                    <a:pt x="100" y="81"/>
                  </a:lnTo>
                  <a:lnTo>
                    <a:pt x="94" y="81"/>
                  </a:lnTo>
                  <a:lnTo>
                    <a:pt x="93" y="81"/>
                  </a:lnTo>
                  <a:lnTo>
                    <a:pt x="89" y="81"/>
                  </a:lnTo>
                  <a:lnTo>
                    <a:pt x="86" y="81"/>
                  </a:lnTo>
                  <a:lnTo>
                    <a:pt x="82" y="81"/>
                  </a:lnTo>
                  <a:lnTo>
                    <a:pt x="81" y="81"/>
                  </a:lnTo>
                  <a:lnTo>
                    <a:pt x="77" y="81"/>
                  </a:lnTo>
                  <a:lnTo>
                    <a:pt x="76" y="81"/>
                  </a:lnTo>
                  <a:lnTo>
                    <a:pt x="72" y="81"/>
                  </a:lnTo>
                  <a:lnTo>
                    <a:pt x="67" y="81"/>
                  </a:lnTo>
                  <a:lnTo>
                    <a:pt x="65" y="81"/>
                  </a:lnTo>
                  <a:lnTo>
                    <a:pt x="62" y="81"/>
                  </a:lnTo>
                  <a:lnTo>
                    <a:pt x="62" y="81"/>
                  </a:lnTo>
                  <a:lnTo>
                    <a:pt x="60" y="81"/>
                  </a:lnTo>
                  <a:lnTo>
                    <a:pt x="58" y="81"/>
                  </a:lnTo>
                  <a:lnTo>
                    <a:pt x="57" y="81"/>
                  </a:lnTo>
                  <a:lnTo>
                    <a:pt x="55" y="81"/>
                  </a:lnTo>
                  <a:lnTo>
                    <a:pt x="55" y="79"/>
                  </a:lnTo>
                  <a:lnTo>
                    <a:pt x="53" y="79"/>
                  </a:lnTo>
                  <a:lnTo>
                    <a:pt x="50" y="79"/>
                  </a:lnTo>
                  <a:lnTo>
                    <a:pt x="46" y="79"/>
                  </a:lnTo>
                  <a:lnTo>
                    <a:pt x="45" y="79"/>
                  </a:lnTo>
                  <a:lnTo>
                    <a:pt x="43" y="79"/>
                  </a:lnTo>
                  <a:lnTo>
                    <a:pt x="41" y="79"/>
                  </a:lnTo>
                  <a:lnTo>
                    <a:pt x="39" y="79"/>
                  </a:lnTo>
                  <a:lnTo>
                    <a:pt x="33" y="79"/>
                  </a:lnTo>
                  <a:lnTo>
                    <a:pt x="27" y="79"/>
                  </a:lnTo>
                  <a:lnTo>
                    <a:pt x="22" y="79"/>
                  </a:lnTo>
                  <a:lnTo>
                    <a:pt x="20" y="79"/>
                  </a:lnTo>
                  <a:lnTo>
                    <a:pt x="19" y="79"/>
                  </a:lnTo>
                  <a:lnTo>
                    <a:pt x="17" y="79"/>
                  </a:lnTo>
                  <a:lnTo>
                    <a:pt x="17" y="79"/>
                  </a:lnTo>
                  <a:lnTo>
                    <a:pt x="14" y="79"/>
                  </a:lnTo>
                  <a:lnTo>
                    <a:pt x="12" y="79"/>
                  </a:lnTo>
                  <a:lnTo>
                    <a:pt x="10" y="79"/>
                  </a:lnTo>
                  <a:lnTo>
                    <a:pt x="5" y="79"/>
                  </a:lnTo>
                  <a:lnTo>
                    <a:pt x="2" y="79"/>
                  </a:lnTo>
                  <a:lnTo>
                    <a:pt x="0" y="79"/>
                  </a:lnTo>
                  <a:lnTo>
                    <a:pt x="0" y="75"/>
                  </a:lnTo>
                  <a:lnTo>
                    <a:pt x="0" y="74"/>
                  </a:lnTo>
                  <a:lnTo>
                    <a:pt x="0" y="62"/>
                  </a:lnTo>
                  <a:lnTo>
                    <a:pt x="0" y="60"/>
                  </a:lnTo>
                  <a:lnTo>
                    <a:pt x="0" y="58"/>
                  </a:lnTo>
                  <a:lnTo>
                    <a:pt x="0" y="51"/>
                  </a:lnTo>
                  <a:lnTo>
                    <a:pt x="2" y="51"/>
                  </a:lnTo>
                  <a:lnTo>
                    <a:pt x="2" y="45"/>
                  </a:lnTo>
                  <a:lnTo>
                    <a:pt x="2" y="45"/>
                  </a:lnTo>
                  <a:lnTo>
                    <a:pt x="2" y="41"/>
                  </a:lnTo>
                  <a:lnTo>
                    <a:pt x="2" y="36"/>
                  </a:lnTo>
                  <a:lnTo>
                    <a:pt x="2" y="32"/>
                  </a:lnTo>
                  <a:lnTo>
                    <a:pt x="2" y="29"/>
                  </a:lnTo>
                  <a:lnTo>
                    <a:pt x="2" y="22"/>
                  </a:lnTo>
                  <a:lnTo>
                    <a:pt x="2" y="19"/>
                  </a:lnTo>
                  <a:lnTo>
                    <a:pt x="2" y="15"/>
                  </a:lnTo>
                  <a:lnTo>
                    <a:pt x="2" y="12"/>
                  </a:lnTo>
                  <a:lnTo>
                    <a:pt x="2" y="2"/>
                  </a:lnTo>
                  <a:lnTo>
                    <a:pt x="2"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5" name="Freeform 236"/>
            <p:cNvSpPr>
              <a:spLocks/>
            </p:cNvSpPr>
            <p:nvPr/>
          </p:nvSpPr>
          <p:spPr bwMode="auto">
            <a:xfrm>
              <a:off x="5220583" y="5205206"/>
              <a:ext cx="801688" cy="333375"/>
            </a:xfrm>
            <a:custGeom>
              <a:avLst/>
              <a:gdLst/>
              <a:ahLst/>
              <a:cxnLst>
                <a:cxn ang="0">
                  <a:pos x="32" y="2"/>
                </a:cxn>
                <a:cxn ang="0">
                  <a:pos x="61" y="2"/>
                </a:cxn>
                <a:cxn ang="0">
                  <a:pos x="101" y="2"/>
                </a:cxn>
                <a:cxn ang="0">
                  <a:pos x="130" y="4"/>
                </a:cxn>
                <a:cxn ang="0">
                  <a:pos x="153" y="4"/>
                </a:cxn>
                <a:cxn ang="0">
                  <a:pos x="170" y="4"/>
                </a:cxn>
                <a:cxn ang="0">
                  <a:pos x="185" y="4"/>
                </a:cxn>
                <a:cxn ang="0">
                  <a:pos x="204" y="5"/>
                </a:cxn>
                <a:cxn ang="0">
                  <a:pos x="235" y="5"/>
                </a:cxn>
                <a:cxn ang="0">
                  <a:pos x="259" y="5"/>
                </a:cxn>
                <a:cxn ang="0">
                  <a:pos x="285" y="5"/>
                </a:cxn>
                <a:cxn ang="0">
                  <a:pos x="318" y="5"/>
                </a:cxn>
                <a:cxn ang="0">
                  <a:pos x="352" y="7"/>
                </a:cxn>
                <a:cxn ang="0">
                  <a:pos x="381" y="7"/>
                </a:cxn>
                <a:cxn ang="0">
                  <a:pos x="400" y="7"/>
                </a:cxn>
                <a:cxn ang="0">
                  <a:pos x="433" y="7"/>
                </a:cxn>
                <a:cxn ang="0">
                  <a:pos x="461" y="7"/>
                </a:cxn>
                <a:cxn ang="0">
                  <a:pos x="502" y="7"/>
                </a:cxn>
                <a:cxn ang="0">
                  <a:pos x="505" y="26"/>
                </a:cxn>
                <a:cxn ang="0">
                  <a:pos x="505" y="47"/>
                </a:cxn>
                <a:cxn ang="0">
                  <a:pos x="505" y="76"/>
                </a:cxn>
                <a:cxn ang="0">
                  <a:pos x="504" y="117"/>
                </a:cxn>
                <a:cxn ang="0">
                  <a:pos x="504" y="127"/>
                </a:cxn>
                <a:cxn ang="0">
                  <a:pos x="504" y="148"/>
                </a:cxn>
                <a:cxn ang="0">
                  <a:pos x="504" y="174"/>
                </a:cxn>
                <a:cxn ang="0">
                  <a:pos x="502" y="207"/>
                </a:cxn>
                <a:cxn ang="0">
                  <a:pos x="474" y="210"/>
                </a:cxn>
                <a:cxn ang="0">
                  <a:pos x="457" y="210"/>
                </a:cxn>
                <a:cxn ang="0">
                  <a:pos x="430" y="208"/>
                </a:cxn>
                <a:cxn ang="0">
                  <a:pos x="406" y="208"/>
                </a:cxn>
                <a:cxn ang="0">
                  <a:pos x="392" y="208"/>
                </a:cxn>
                <a:cxn ang="0">
                  <a:pos x="373" y="208"/>
                </a:cxn>
                <a:cxn ang="0">
                  <a:pos x="356" y="207"/>
                </a:cxn>
                <a:cxn ang="0">
                  <a:pos x="340" y="207"/>
                </a:cxn>
                <a:cxn ang="0">
                  <a:pos x="325" y="207"/>
                </a:cxn>
                <a:cxn ang="0">
                  <a:pos x="304" y="207"/>
                </a:cxn>
                <a:cxn ang="0">
                  <a:pos x="278" y="207"/>
                </a:cxn>
                <a:cxn ang="0">
                  <a:pos x="251" y="205"/>
                </a:cxn>
                <a:cxn ang="0">
                  <a:pos x="235" y="205"/>
                </a:cxn>
                <a:cxn ang="0">
                  <a:pos x="206" y="205"/>
                </a:cxn>
                <a:cxn ang="0">
                  <a:pos x="175" y="205"/>
                </a:cxn>
                <a:cxn ang="0">
                  <a:pos x="158" y="203"/>
                </a:cxn>
                <a:cxn ang="0">
                  <a:pos x="137" y="203"/>
                </a:cxn>
                <a:cxn ang="0">
                  <a:pos x="101" y="203"/>
                </a:cxn>
                <a:cxn ang="0">
                  <a:pos x="75" y="203"/>
                </a:cxn>
                <a:cxn ang="0">
                  <a:pos x="46" y="203"/>
                </a:cxn>
                <a:cxn ang="0">
                  <a:pos x="13" y="201"/>
                </a:cxn>
                <a:cxn ang="0">
                  <a:pos x="0" y="189"/>
                </a:cxn>
                <a:cxn ang="0">
                  <a:pos x="0" y="164"/>
                </a:cxn>
                <a:cxn ang="0">
                  <a:pos x="1" y="143"/>
                </a:cxn>
                <a:cxn ang="0">
                  <a:pos x="1" y="103"/>
                </a:cxn>
                <a:cxn ang="0">
                  <a:pos x="3" y="81"/>
                </a:cxn>
                <a:cxn ang="0">
                  <a:pos x="3" y="53"/>
                </a:cxn>
                <a:cxn ang="0">
                  <a:pos x="3" y="24"/>
                </a:cxn>
                <a:cxn ang="0">
                  <a:pos x="3" y="7"/>
                </a:cxn>
              </a:cxnLst>
              <a:rect l="0" t="0" r="r" b="b"/>
              <a:pathLst>
                <a:path w="505" h="210">
                  <a:moveTo>
                    <a:pt x="3" y="0"/>
                  </a:moveTo>
                  <a:lnTo>
                    <a:pt x="5" y="0"/>
                  </a:lnTo>
                  <a:lnTo>
                    <a:pt x="15" y="0"/>
                  </a:lnTo>
                  <a:lnTo>
                    <a:pt x="20" y="0"/>
                  </a:lnTo>
                  <a:lnTo>
                    <a:pt x="25" y="2"/>
                  </a:lnTo>
                  <a:lnTo>
                    <a:pt x="29" y="2"/>
                  </a:lnTo>
                  <a:lnTo>
                    <a:pt x="32" y="2"/>
                  </a:lnTo>
                  <a:lnTo>
                    <a:pt x="37" y="2"/>
                  </a:lnTo>
                  <a:lnTo>
                    <a:pt x="37" y="2"/>
                  </a:lnTo>
                  <a:lnTo>
                    <a:pt x="44" y="2"/>
                  </a:lnTo>
                  <a:lnTo>
                    <a:pt x="53" y="2"/>
                  </a:lnTo>
                  <a:lnTo>
                    <a:pt x="55" y="2"/>
                  </a:lnTo>
                  <a:lnTo>
                    <a:pt x="60" y="2"/>
                  </a:lnTo>
                  <a:lnTo>
                    <a:pt x="61" y="2"/>
                  </a:lnTo>
                  <a:lnTo>
                    <a:pt x="74" y="2"/>
                  </a:lnTo>
                  <a:lnTo>
                    <a:pt x="82" y="2"/>
                  </a:lnTo>
                  <a:lnTo>
                    <a:pt x="89" y="2"/>
                  </a:lnTo>
                  <a:lnTo>
                    <a:pt x="98" y="2"/>
                  </a:lnTo>
                  <a:lnTo>
                    <a:pt x="98" y="2"/>
                  </a:lnTo>
                  <a:lnTo>
                    <a:pt x="99" y="2"/>
                  </a:lnTo>
                  <a:lnTo>
                    <a:pt x="101" y="2"/>
                  </a:lnTo>
                  <a:lnTo>
                    <a:pt x="103" y="2"/>
                  </a:lnTo>
                  <a:lnTo>
                    <a:pt x="104" y="2"/>
                  </a:lnTo>
                  <a:lnTo>
                    <a:pt x="108" y="2"/>
                  </a:lnTo>
                  <a:lnTo>
                    <a:pt x="117" y="2"/>
                  </a:lnTo>
                  <a:lnTo>
                    <a:pt x="125" y="4"/>
                  </a:lnTo>
                  <a:lnTo>
                    <a:pt x="129" y="4"/>
                  </a:lnTo>
                  <a:lnTo>
                    <a:pt x="130" y="4"/>
                  </a:lnTo>
                  <a:lnTo>
                    <a:pt x="134" y="4"/>
                  </a:lnTo>
                  <a:lnTo>
                    <a:pt x="135" y="4"/>
                  </a:lnTo>
                  <a:lnTo>
                    <a:pt x="137" y="4"/>
                  </a:lnTo>
                  <a:lnTo>
                    <a:pt x="142" y="4"/>
                  </a:lnTo>
                  <a:lnTo>
                    <a:pt x="148" y="4"/>
                  </a:lnTo>
                  <a:lnTo>
                    <a:pt x="151" y="4"/>
                  </a:lnTo>
                  <a:lnTo>
                    <a:pt x="153" y="4"/>
                  </a:lnTo>
                  <a:lnTo>
                    <a:pt x="158" y="4"/>
                  </a:lnTo>
                  <a:lnTo>
                    <a:pt x="160" y="4"/>
                  </a:lnTo>
                  <a:lnTo>
                    <a:pt x="163" y="4"/>
                  </a:lnTo>
                  <a:lnTo>
                    <a:pt x="165" y="4"/>
                  </a:lnTo>
                  <a:lnTo>
                    <a:pt x="166" y="4"/>
                  </a:lnTo>
                  <a:lnTo>
                    <a:pt x="168" y="4"/>
                  </a:lnTo>
                  <a:lnTo>
                    <a:pt x="170" y="4"/>
                  </a:lnTo>
                  <a:lnTo>
                    <a:pt x="172" y="4"/>
                  </a:lnTo>
                  <a:lnTo>
                    <a:pt x="173" y="4"/>
                  </a:lnTo>
                  <a:lnTo>
                    <a:pt x="173" y="4"/>
                  </a:lnTo>
                  <a:lnTo>
                    <a:pt x="175" y="4"/>
                  </a:lnTo>
                  <a:lnTo>
                    <a:pt x="178" y="4"/>
                  </a:lnTo>
                  <a:lnTo>
                    <a:pt x="182" y="4"/>
                  </a:lnTo>
                  <a:lnTo>
                    <a:pt x="185" y="4"/>
                  </a:lnTo>
                  <a:lnTo>
                    <a:pt x="187" y="4"/>
                  </a:lnTo>
                  <a:lnTo>
                    <a:pt x="189" y="4"/>
                  </a:lnTo>
                  <a:lnTo>
                    <a:pt x="189" y="4"/>
                  </a:lnTo>
                  <a:lnTo>
                    <a:pt x="192" y="4"/>
                  </a:lnTo>
                  <a:lnTo>
                    <a:pt x="196" y="4"/>
                  </a:lnTo>
                  <a:lnTo>
                    <a:pt x="203" y="5"/>
                  </a:lnTo>
                  <a:lnTo>
                    <a:pt x="204" y="5"/>
                  </a:lnTo>
                  <a:lnTo>
                    <a:pt x="213" y="5"/>
                  </a:lnTo>
                  <a:lnTo>
                    <a:pt x="215" y="5"/>
                  </a:lnTo>
                  <a:lnTo>
                    <a:pt x="216" y="5"/>
                  </a:lnTo>
                  <a:lnTo>
                    <a:pt x="220" y="5"/>
                  </a:lnTo>
                  <a:lnTo>
                    <a:pt x="223" y="5"/>
                  </a:lnTo>
                  <a:lnTo>
                    <a:pt x="227" y="5"/>
                  </a:lnTo>
                  <a:lnTo>
                    <a:pt x="235" y="5"/>
                  </a:lnTo>
                  <a:lnTo>
                    <a:pt x="237" y="5"/>
                  </a:lnTo>
                  <a:lnTo>
                    <a:pt x="239" y="5"/>
                  </a:lnTo>
                  <a:lnTo>
                    <a:pt x="247" y="5"/>
                  </a:lnTo>
                  <a:lnTo>
                    <a:pt x="251" y="5"/>
                  </a:lnTo>
                  <a:lnTo>
                    <a:pt x="252" y="5"/>
                  </a:lnTo>
                  <a:lnTo>
                    <a:pt x="256" y="5"/>
                  </a:lnTo>
                  <a:lnTo>
                    <a:pt x="259" y="5"/>
                  </a:lnTo>
                  <a:lnTo>
                    <a:pt x="261" y="5"/>
                  </a:lnTo>
                  <a:lnTo>
                    <a:pt x="264" y="5"/>
                  </a:lnTo>
                  <a:lnTo>
                    <a:pt x="266" y="5"/>
                  </a:lnTo>
                  <a:lnTo>
                    <a:pt x="271" y="5"/>
                  </a:lnTo>
                  <a:lnTo>
                    <a:pt x="275" y="5"/>
                  </a:lnTo>
                  <a:lnTo>
                    <a:pt x="278" y="5"/>
                  </a:lnTo>
                  <a:lnTo>
                    <a:pt x="285" y="5"/>
                  </a:lnTo>
                  <a:lnTo>
                    <a:pt x="292" y="5"/>
                  </a:lnTo>
                  <a:lnTo>
                    <a:pt x="295" y="5"/>
                  </a:lnTo>
                  <a:lnTo>
                    <a:pt x="302" y="5"/>
                  </a:lnTo>
                  <a:lnTo>
                    <a:pt x="304" y="5"/>
                  </a:lnTo>
                  <a:lnTo>
                    <a:pt x="306" y="5"/>
                  </a:lnTo>
                  <a:lnTo>
                    <a:pt x="314" y="5"/>
                  </a:lnTo>
                  <a:lnTo>
                    <a:pt x="318" y="5"/>
                  </a:lnTo>
                  <a:lnTo>
                    <a:pt x="326" y="7"/>
                  </a:lnTo>
                  <a:lnTo>
                    <a:pt x="328" y="7"/>
                  </a:lnTo>
                  <a:lnTo>
                    <a:pt x="332" y="7"/>
                  </a:lnTo>
                  <a:lnTo>
                    <a:pt x="337" y="7"/>
                  </a:lnTo>
                  <a:lnTo>
                    <a:pt x="344" y="7"/>
                  </a:lnTo>
                  <a:lnTo>
                    <a:pt x="349" y="7"/>
                  </a:lnTo>
                  <a:lnTo>
                    <a:pt x="352" y="7"/>
                  </a:lnTo>
                  <a:lnTo>
                    <a:pt x="357" y="7"/>
                  </a:lnTo>
                  <a:lnTo>
                    <a:pt x="359" y="7"/>
                  </a:lnTo>
                  <a:lnTo>
                    <a:pt x="363" y="7"/>
                  </a:lnTo>
                  <a:lnTo>
                    <a:pt x="369" y="7"/>
                  </a:lnTo>
                  <a:lnTo>
                    <a:pt x="371" y="7"/>
                  </a:lnTo>
                  <a:lnTo>
                    <a:pt x="380" y="7"/>
                  </a:lnTo>
                  <a:lnTo>
                    <a:pt x="381" y="7"/>
                  </a:lnTo>
                  <a:lnTo>
                    <a:pt x="383" y="7"/>
                  </a:lnTo>
                  <a:lnTo>
                    <a:pt x="387" y="7"/>
                  </a:lnTo>
                  <a:lnTo>
                    <a:pt x="392" y="7"/>
                  </a:lnTo>
                  <a:lnTo>
                    <a:pt x="397" y="7"/>
                  </a:lnTo>
                  <a:lnTo>
                    <a:pt x="399" y="7"/>
                  </a:lnTo>
                  <a:lnTo>
                    <a:pt x="400" y="7"/>
                  </a:lnTo>
                  <a:lnTo>
                    <a:pt x="400" y="7"/>
                  </a:lnTo>
                  <a:lnTo>
                    <a:pt x="404" y="7"/>
                  </a:lnTo>
                  <a:lnTo>
                    <a:pt x="406" y="7"/>
                  </a:lnTo>
                  <a:lnTo>
                    <a:pt x="407" y="7"/>
                  </a:lnTo>
                  <a:lnTo>
                    <a:pt x="414" y="7"/>
                  </a:lnTo>
                  <a:lnTo>
                    <a:pt x="421" y="7"/>
                  </a:lnTo>
                  <a:lnTo>
                    <a:pt x="430" y="7"/>
                  </a:lnTo>
                  <a:lnTo>
                    <a:pt x="433" y="7"/>
                  </a:lnTo>
                  <a:lnTo>
                    <a:pt x="438" y="7"/>
                  </a:lnTo>
                  <a:lnTo>
                    <a:pt x="443" y="7"/>
                  </a:lnTo>
                  <a:lnTo>
                    <a:pt x="445" y="7"/>
                  </a:lnTo>
                  <a:lnTo>
                    <a:pt x="450" y="7"/>
                  </a:lnTo>
                  <a:lnTo>
                    <a:pt x="452" y="7"/>
                  </a:lnTo>
                  <a:lnTo>
                    <a:pt x="457" y="7"/>
                  </a:lnTo>
                  <a:lnTo>
                    <a:pt x="461" y="7"/>
                  </a:lnTo>
                  <a:lnTo>
                    <a:pt x="471" y="7"/>
                  </a:lnTo>
                  <a:lnTo>
                    <a:pt x="481" y="7"/>
                  </a:lnTo>
                  <a:lnTo>
                    <a:pt x="483" y="7"/>
                  </a:lnTo>
                  <a:lnTo>
                    <a:pt x="490" y="7"/>
                  </a:lnTo>
                  <a:lnTo>
                    <a:pt x="493" y="7"/>
                  </a:lnTo>
                  <a:lnTo>
                    <a:pt x="497" y="7"/>
                  </a:lnTo>
                  <a:lnTo>
                    <a:pt x="502" y="7"/>
                  </a:lnTo>
                  <a:lnTo>
                    <a:pt x="505" y="9"/>
                  </a:lnTo>
                  <a:lnTo>
                    <a:pt x="505" y="10"/>
                  </a:lnTo>
                  <a:lnTo>
                    <a:pt x="505" y="17"/>
                  </a:lnTo>
                  <a:lnTo>
                    <a:pt x="505" y="19"/>
                  </a:lnTo>
                  <a:lnTo>
                    <a:pt x="505" y="21"/>
                  </a:lnTo>
                  <a:lnTo>
                    <a:pt x="505" y="23"/>
                  </a:lnTo>
                  <a:lnTo>
                    <a:pt x="505" y="26"/>
                  </a:lnTo>
                  <a:lnTo>
                    <a:pt x="505" y="29"/>
                  </a:lnTo>
                  <a:lnTo>
                    <a:pt x="505" y="31"/>
                  </a:lnTo>
                  <a:lnTo>
                    <a:pt x="505" y="35"/>
                  </a:lnTo>
                  <a:lnTo>
                    <a:pt x="505" y="36"/>
                  </a:lnTo>
                  <a:lnTo>
                    <a:pt x="505" y="40"/>
                  </a:lnTo>
                  <a:lnTo>
                    <a:pt x="505" y="41"/>
                  </a:lnTo>
                  <a:lnTo>
                    <a:pt x="505" y="47"/>
                  </a:lnTo>
                  <a:lnTo>
                    <a:pt x="505" y="50"/>
                  </a:lnTo>
                  <a:lnTo>
                    <a:pt x="505" y="52"/>
                  </a:lnTo>
                  <a:lnTo>
                    <a:pt x="505" y="53"/>
                  </a:lnTo>
                  <a:lnTo>
                    <a:pt x="505" y="66"/>
                  </a:lnTo>
                  <a:lnTo>
                    <a:pt x="505" y="69"/>
                  </a:lnTo>
                  <a:lnTo>
                    <a:pt x="505" y="72"/>
                  </a:lnTo>
                  <a:lnTo>
                    <a:pt x="505" y="76"/>
                  </a:lnTo>
                  <a:lnTo>
                    <a:pt x="505" y="78"/>
                  </a:lnTo>
                  <a:lnTo>
                    <a:pt x="505" y="79"/>
                  </a:lnTo>
                  <a:lnTo>
                    <a:pt x="505" y="81"/>
                  </a:lnTo>
                  <a:lnTo>
                    <a:pt x="505" y="83"/>
                  </a:lnTo>
                  <a:lnTo>
                    <a:pt x="504" y="114"/>
                  </a:lnTo>
                  <a:lnTo>
                    <a:pt x="504" y="114"/>
                  </a:lnTo>
                  <a:lnTo>
                    <a:pt x="504" y="117"/>
                  </a:lnTo>
                  <a:lnTo>
                    <a:pt x="504" y="119"/>
                  </a:lnTo>
                  <a:lnTo>
                    <a:pt x="504" y="121"/>
                  </a:lnTo>
                  <a:lnTo>
                    <a:pt x="504" y="122"/>
                  </a:lnTo>
                  <a:lnTo>
                    <a:pt x="504" y="124"/>
                  </a:lnTo>
                  <a:lnTo>
                    <a:pt x="504" y="126"/>
                  </a:lnTo>
                  <a:lnTo>
                    <a:pt x="504" y="127"/>
                  </a:lnTo>
                  <a:lnTo>
                    <a:pt x="504" y="127"/>
                  </a:lnTo>
                  <a:lnTo>
                    <a:pt x="504" y="129"/>
                  </a:lnTo>
                  <a:lnTo>
                    <a:pt x="504" y="133"/>
                  </a:lnTo>
                  <a:lnTo>
                    <a:pt x="504" y="134"/>
                  </a:lnTo>
                  <a:lnTo>
                    <a:pt x="504" y="138"/>
                  </a:lnTo>
                  <a:lnTo>
                    <a:pt x="504" y="140"/>
                  </a:lnTo>
                  <a:lnTo>
                    <a:pt x="504" y="143"/>
                  </a:lnTo>
                  <a:lnTo>
                    <a:pt x="504" y="148"/>
                  </a:lnTo>
                  <a:lnTo>
                    <a:pt x="504" y="150"/>
                  </a:lnTo>
                  <a:lnTo>
                    <a:pt x="504" y="152"/>
                  </a:lnTo>
                  <a:lnTo>
                    <a:pt x="504" y="155"/>
                  </a:lnTo>
                  <a:lnTo>
                    <a:pt x="504" y="158"/>
                  </a:lnTo>
                  <a:lnTo>
                    <a:pt x="504" y="162"/>
                  </a:lnTo>
                  <a:lnTo>
                    <a:pt x="504" y="164"/>
                  </a:lnTo>
                  <a:lnTo>
                    <a:pt x="504" y="174"/>
                  </a:lnTo>
                  <a:lnTo>
                    <a:pt x="504" y="176"/>
                  </a:lnTo>
                  <a:lnTo>
                    <a:pt x="504" y="177"/>
                  </a:lnTo>
                  <a:lnTo>
                    <a:pt x="504" y="183"/>
                  </a:lnTo>
                  <a:lnTo>
                    <a:pt x="504" y="188"/>
                  </a:lnTo>
                  <a:lnTo>
                    <a:pt x="504" y="188"/>
                  </a:lnTo>
                  <a:lnTo>
                    <a:pt x="504" y="201"/>
                  </a:lnTo>
                  <a:lnTo>
                    <a:pt x="502" y="207"/>
                  </a:lnTo>
                  <a:lnTo>
                    <a:pt x="502" y="210"/>
                  </a:lnTo>
                  <a:lnTo>
                    <a:pt x="498" y="210"/>
                  </a:lnTo>
                  <a:lnTo>
                    <a:pt x="492" y="210"/>
                  </a:lnTo>
                  <a:lnTo>
                    <a:pt x="490" y="210"/>
                  </a:lnTo>
                  <a:lnTo>
                    <a:pt x="485" y="210"/>
                  </a:lnTo>
                  <a:lnTo>
                    <a:pt x="479" y="210"/>
                  </a:lnTo>
                  <a:lnTo>
                    <a:pt x="474" y="210"/>
                  </a:lnTo>
                  <a:lnTo>
                    <a:pt x="474" y="210"/>
                  </a:lnTo>
                  <a:lnTo>
                    <a:pt x="471" y="210"/>
                  </a:lnTo>
                  <a:lnTo>
                    <a:pt x="464" y="210"/>
                  </a:lnTo>
                  <a:lnTo>
                    <a:pt x="462" y="210"/>
                  </a:lnTo>
                  <a:lnTo>
                    <a:pt x="461" y="210"/>
                  </a:lnTo>
                  <a:lnTo>
                    <a:pt x="459" y="210"/>
                  </a:lnTo>
                  <a:lnTo>
                    <a:pt x="457" y="210"/>
                  </a:lnTo>
                  <a:lnTo>
                    <a:pt x="455" y="210"/>
                  </a:lnTo>
                  <a:lnTo>
                    <a:pt x="445" y="208"/>
                  </a:lnTo>
                  <a:lnTo>
                    <a:pt x="445" y="208"/>
                  </a:lnTo>
                  <a:lnTo>
                    <a:pt x="442" y="208"/>
                  </a:lnTo>
                  <a:lnTo>
                    <a:pt x="435" y="208"/>
                  </a:lnTo>
                  <a:lnTo>
                    <a:pt x="431" y="208"/>
                  </a:lnTo>
                  <a:lnTo>
                    <a:pt x="430" y="208"/>
                  </a:lnTo>
                  <a:lnTo>
                    <a:pt x="428" y="208"/>
                  </a:lnTo>
                  <a:lnTo>
                    <a:pt x="424" y="208"/>
                  </a:lnTo>
                  <a:lnTo>
                    <a:pt x="421" y="208"/>
                  </a:lnTo>
                  <a:lnTo>
                    <a:pt x="414" y="208"/>
                  </a:lnTo>
                  <a:lnTo>
                    <a:pt x="411" y="208"/>
                  </a:lnTo>
                  <a:lnTo>
                    <a:pt x="407" y="208"/>
                  </a:lnTo>
                  <a:lnTo>
                    <a:pt x="406" y="208"/>
                  </a:lnTo>
                  <a:lnTo>
                    <a:pt x="404" y="208"/>
                  </a:lnTo>
                  <a:lnTo>
                    <a:pt x="402" y="208"/>
                  </a:lnTo>
                  <a:lnTo>
                    <a:pt x="400" y="208"/>
                  </a:lnTo>
                  <a:lnTo>
                    <a:pt x="399" y="208"/>
                  </a:lnTo>
                  <a:lnTo>
                    <a:pt x="397" y="208"/>
                  </a:lnTo>
                  <a:lnTo>
                    <a:pt x="395" y="208"/>
                  </a:lnTo>
                  <a:lnTo>
                    <a:pt x="392" y="208"/>
                  </a:lnTo>
                  <a:lnTo>
                    <a:pt x="390" y="208"/>
                  </a:lnTo>
                  <a:lnTo>
                    <a:pt x="388" y="208"/>
                  </a:lnTo>
                  <a:lnTo>
                    <a:pt x="385" y="208"/>
                  </a:lnTo>
                  <a:lnTo>
                    <a:pt x="385" y="208"/>
                  </a:lnTo>
                  <a:lnTo>
                    <a:pt x="383" y="208"/>
                  </a:lnTo>
                  <a:lnTo>
                    <a:pt x="376" y="208"/>
                  </a:lnTo>
                  <a:lnTo>
                    <a:pt x="373" y="208"/>
                  </a:lnTo>
                  <a:lnTo>
                    <a:pt x="371" y="208"/>
                  </a:lnTo>
                  <a:lnTo>
                    <a:pt x="369" y="208"/>
                  </a:lnTo>
                  <a:lnTo>
                    <a:pt x="366" y="208"/>
                  </a:lnTo>
                  <a:lnTo>
                    <a:pt x="363" y="208"/>
                  </a:lnTo>
                  <a:lnTo>
                    <a:pt x="361" y="208"/>
                  </a:lnTo>
                  <a:lnTo>
                    <a:pt x="357" y="208"/>
                  </a:lnTo>
                  <a:lnTo>
                    <a:pt x="356" y="207"/>
                  </a:lnTo>
                  <a:lnTo>
                    <a:pt x="354" y="207"/>
                  </a:lnTo>
                  <a:lnTo>
                    <a:pt x="354" y="207"/>
                  </a:lnTo>
                  <a:lnTo>
                    <a:pt x="350" y="207"/>
                  </a:lnTo>
                  <a:lnTo>
                    <a:pt x="347" y="207"/>
                  </a:lnTo>
                  <a:lnTo>
                    <a:pt x="342" y="207"/>
                  </a:lnTo>
                  <a:lnTo>
                    <a:pt x="340" y="207"/>
                  </a:lnTo>
                  <a:lnTo>
                    <a:pt x="340" y="207"/>
                  </a:lnTo>
                  <a:lnTo>
                    <a:pt x="338" y="207"/>
                  </a:lnTo>
                  <a:lnTo>
                    <a:pt x="337" y="207"/>
                  </a:lnTo>
                  <a:lnTo>
                    <a:pt x="335" y="207"/>
                  </a:lnTo>
                  <a:lnTo>
                    <a:pt x="333" y="207"/>
                  </a:lnTo>
                  <a:lnTo>
                    <a:pt x="332" y="207"/>
                  </a:lnTo>
                  <a:lnTo>
                    <a:pt x="330" y="207"/>
                  </a:lnTo>
                  <a:lnTo>
                    <a:pt x="325" y="207"/>
                  </a:lnTo>
                  <a:lnTo>
                    <a:pt x="314" y="207"/>
                  </a:lnTo>
                  <a:lnTo>
                    <a:pt x="313" y="207"/>
                  </a:lnTo>
                  <a:lnTo>
                    <a:pt x="311" y="207"/>
                  </a:lnTo>
                  <a:lnTo>
                    <a:pt x="309" y="207"/>
                  </a:lnTo>
                  <a:lnTo>
                    <a:pt x="307" y="207"/>
                  </a:lnTo>
                  <a:lnTo>
                    <a:pt x="306" y="207"/>
                  </a:lnTo>
                  <a:lnTo>
                    <a:pt x="304" y="207"/>
                  </a:lnTo>
                  <a:lnTo>
                    <a:pt x="301" y="207"/>
                  </a:lnTo>
                  <a:lnTo>
                    <a:pt x="299" y="207"/>
                  </a:lnTo>
                  <a:lnTo>
                    <a:pt x="297" y="207"/>
                  </a:lnTo>
                  <a:lnTo>
                    <a:pt x="294" y="207"/>
                  </a:lnTo>
                  <a:lnTo>
                    <a:pt x="287" y="207"/>
                  </a:lnTo>
                  <a:lnTo>
                    <a:pt x="283" y="207"/>
                  </a:lnTo>
                  <a:lnTo>
                    <a:pt x="278" y="207"/>
                  </a:lnTo>
                  <a:lnTo>
                    <a:pt x="278" y="207"/>
                  </a:lnTo>
                  <a:lnTo>
                    <a:pt x="275" y="207"/>
                  </a:lnTo>
                  <a:lnTo>
                    <a:pt x="273" y="207"/>
                  </a:lnTo>
                  <a:lnTo>
                    <a:pt x="264" y="207"/>
                  </a:lnTo>
                  <a:lnTo>
                    <a:pt x="263" y="207"/>
                  </a:lnTo>
                  <a:lnTo>
                    <a:pt x="252" y="205"/>
                  </a:lnTo>
                  <a:lnTo>
                    <a:pt x="251" y="205"/>
                  </a:lnTo>
                  <a:lnTo>
                    <a:pt x="249" y="205"/>
                  </a:lnTo>
                  <a:lnTo>
                    <a:pt x="246" y="205"/>
                  </a:lnTo>
                  <a:lnTo>
                    <a:pt x="242" y="205"/>
                  </a:lnTo>
                  <a:lnTo>
                    <a:pt x="240" y="205"/>
                  </a:lnTo>
                  <a:lnTo>
                    <a:pt x="239" y="205"/>
                  </a:lnTo>
                  <a:lnTo>
                    <a:pt x="237" y="205"/>
                  </a:lnTo>
                  <a:lnTo>
                    <a:pt x="235" y="205"/>
                  </a:lnTo>
                  <a:lnTo>
                    <a:pt x="234" y="205"/>
                  </a:lnTo>
                  <a:lnTo>
                    <a:pt x="227" y="205"/>
                  </a:lnTo>
                  <a:lnTo>
                    <a:pt x="225" y="205"/>
                  </a:lnTo>
                  <a:lnTo>
                    <a:pt x="223" y="205"/>
                  </a:lnTo>
                  <a:lnTo>
                    <a:pt x="220" y="205"/>
                  </a:lnTo>
                  <a:lnTo>
                    <a:pt x="218" y="205"/>
                  </a:lnTo>
                  <a:lnTo>
                    <a:pt x="206" y="205"/>
                  </a:lnTo>
                  <a:lnTo>
                    <a:pt x="204" y="205"/>
                  </a:lnTo>
                  <a:lnTo>
                    <a:pt x="203" y="205"/>
                  </a:lnTo>
                  <a:lnTo>
                    <a:pt x="197" y="205"/>
                  </a:lnTo>
                  <a:lnTo>
                    <a:pt x="196" y="205"/>
                  </a:lnTo>
                  <a:lnTo>
                    <a:pt x="180" y="205"/>
                  </a:lnTo>
                  <a:lnTo>
                    <a:pt x="177" y="205"/>
                  </a:lnTo>
                  <a:lnTo>
                    <a:pt x="175" y="205"/>
                  </a:lnTo>
                  <a:lnTo>
                    <a:pt x="173" y="205"/>
                  </a:lnTo>
                  <a:lnTo>
                    <a:pt x="173" y="205"/>
                  </a:lnTo>
                  <a:lnTo>
                    <a:pt x="170" y="205"/>
                  </a:lnTo>
                  <a:lnTo>
                    <a:pt x="166" y="203"/>
                  </a:lnTo>
                  <a:lnTo>
                    <a:pt x="165" y="203"/>
                  </a:lnTo>
                  <a:lnTo>
                    <a:pt x="163" y="203"/>
                  </a:lnTo>
                  <a:lnTo>
                    <a:pt x="158" y="203"/>
                  </a:lnTo>
                  <a:lnTo>
                    <a:pt x="156" y="203"/>
                  </a:lnTo>
                  <a:lnTo>
                    <a:pt x="153" y="203"/>
                  </a:lnTo>
                  <a:lnTo>
                    <a:pt x="149" y="203"/>
                  </a:lnTo>
                  <a:lnTo>
                    <a:pt x="146" y="203"/>
                  </a:lnTo>
                  <a:lnTo>
                    <a:pt x="141" y="203"/>
                  </a:lnTo>
                  <a:lnTo>
                    <a:pt x="139" y="203"/>
                  </a:lnTo>
                  <a:lnTo>
                    <a:pt x="137" y="203"/>
                  </a:lnTo>
                  <a:lnTo>
                    <a:pt x="130" y="203"/>
                  </a:lnTo>
                  <a:lnTo>
                    <a:pt x="125" y="203"/>
                  </a:lnTo>
                  <a:lnTo>
                    <a:pt x="123" y="203"/>
                  </a:lnTo>
                  <a:lnTo>
                    <a:pt x="118" y="203"/>
                  </a:lnTo>
                  <a:lnTo>
                    <a:pt x="115" y="203"/>
                  </a:lnTo>
                  <a:lnTo>
                    <a:pt x="110" y="203"/>
                  </a:lnTo>
                  <a:lnTo>
                    <a:pt x="101" y="203"/>
                  </a:lnTo>
                  <a:lnTo>
                    <a:pt x="99" y="203"/>
                  </a:lnTo>
                  <a:lnTo>
                    <a:pt x="98" y="203"/>
                  </a:lnTo>
                  <a:lnTo>
                    <a:pt x="89" y="203"/>
                  </a:lnTo>
                  <a:lnTo>
                    <a:pt x="80" y="203"/>
                  </a:lnTo>
                  <a:lnTo>
                    <a:pt x="79" y="203"/>
                  </a:lnTo>
                  <a:lnTo>
                    <a:pt x="77" y="203"/>
                  </a:lnTo>
                  <a:lnTo>
                    <a:pt x="75" y="203"/>
                  </a:lnTo>
                  <a:lnTo>
                    <a:pt x="74" y="203"/>
                  </a:lnTo>
                  <a:lnTo>
                    <a:pt x="58" y="203"/>
                  </a:lnTo>
                  <a:lnTo>
                    <a:pt x="56" y="203"/>
                  </a:lnTo>
                  <a:lnTo>
                    <a:pt x="53" y="203"/>
                  </a:lnTo>
                  <a:lnTo>
                    <a:pt x="49" y="203"/>
                  </a:lnTo>
                  <a:lnTo>
                    <a:pt x="48" y="203"/>
                  </a:lnTo>
                  <a:lnTo>
                    <a:pt x="46" y="203"/>
                  </a:lnTo>
                  <a:lnTo>
                    <a:pt x="39" y="203"/>
                  </a:lnTo>
                  <a:lnTo>
                    <a:pt x="36" y="203"/>
                  </a:lnTo>
                  <a:lnTo>
                    <a:pt x="34" y="203"/>
                  </a:lnTo>
                  <a:lnTo>
                    <a:pt x="25" y="203"/>
                  </a:lnTo>
                  <a:lnTo>
                    <a:pt x="22" y="203"/>
                  </a:lnTo>
                  <a:lnTo>
                    <a:pt x="20" y="203"/>
                  </a:lnTo>
                  <a:lnTo>
                    <a:pt x="13" y="201"/>
                  </a:lnTo>
                  <a:lnTo>
                    <a:pt x="12" y="201"/>
                  </a:lnTo>
                  <a:lnTo>
                    <a:pt x="3" y="201"/>
                  </a:lnTo>
                  <a:lnTo>
                    <a:pt x="0" y="201"/>
                  </a:lnTo>
                  <a:lnTo>
                    <a:pt x="0" y="200"/>
                  </a:lnTo>
                  <a:lnTo>
                    <a:pt x="0" y="196"/>
                  </a:lnTo>
                  <a:lnTo>
                    <a:pt x="0" y="193"/>
                  </a:lnTo>
                  <a:lnTo>
                    <a:pt x="0" y="189"/>
                  </a:lnTo>
                  <a:lnTo>
                    <a:pt x="0" y="188"/>
                  </a:lnTo>
                  <a:lnTo>
                    <a:pt x="0" y="188"/>
                  </a:lnTo>
                  <a:lnTo>
                    <a:pt x="0" y="186"/>
                  </a:lnTo>
                  <a:lnTo>
                    <a:pt x="0" y="172"/>
                  </a:lnTo>
                  <a:lnTo>
                    <a:pt x="0" y="167"/>
                  </a:lnTo>
                  <a:lnTo>
                    <a:pt x="0" y="165"/>
                  </a:lnTo>
                  <a:lnTo>
                    <a:pt x="0" y="164"/>
                  </a:lnTo>
                  <a:lnTo>
                    <a:pt x="0" y="162"/>
                  </a:lnTo>
                  <a:lnTo>
                    <a:pt x="0" y="158"/>
                  </a:lnTo>
                  <a:lnTo>
                    <a:pt x="0" y="157"/>
                  </a:lnTo>
                  <a:lnTo>
                    <a:pt x="1" y="157"/>
                  </a:lnTo>
                  <a:lnTo>
                    <a:pt x="1" y="153"/>
                  </a:lnTo>
                  <a:lnTo>
                    <a:pt x="1" y="150"/>
                  </a:lnTo>
                  <a:lnTo>
                    <a:pt x="1" y="143"/>
                  </a:lnTo>
                  <a:lnTo>
                    <a:pt x="1" y="134"/>
                  </a:lnTo>
                  <a:lnTo>
                    <a:pt x="1" y="131"/>
                  </a:lnTo>
                  <a:lnTo>
                    <a:pt x="1" y="129"/>
                  </a:lnTo>
                  <a:lnTo>
                    <a:pt x="1" y="126"/>
                  </a:lnTo>
                  <a:lnTo>
                    <a:pt x="1" y="124"/>
                  </a:lnTo>
                  <a:lnTo>
                    <a:pt x="1" y="122"/>
                  </a:lnTo>
                  <a:lnTo>
                    <a:pt x="1" y="103"/>
                  </a:lnTo>
                  <a:lnTo>
                    <a:pt x="1" y="102"/>
                  </a:lnTo>
                  <a:lnTo>
                    <a:pt x="1" y="100"/>
                  </a:lnTo>
                  <a:lnTo>
                    <a:pt x="1" y="98"/>
                  </a:lnTo>
                  <a:lnTo>
                    <a:pt x="1" y="93"/>
                  </a:lnTo>
                  <a:lnTo>
                    <a:pt x="1" y="90"/>
                  </a:lnTo>
                  <a:lnTo>
                    <a:pt x="3" y="83"/>
                  </a:lnTo>
                  <a:lnTo>
                    <a:pt x="3" y="81"/>
                  </a:lnTo>
                  <a:lnTo>
                    <a:pt x="3" y="79"/>
                  </a:lnTo>
                  <a:lnTo>
                    <a:pt x="3" y="71"/>
                  </a:lnTo>
                  <a:lnTo>
                    <a:pt x="3" y="67"/>
                  </a:lnTo>
                  <a:lnTo>
                    <a:pt x="3" y="66"/>
                  </a:lnTo>
                  <a:lnTo>
                    <a:pt x="3" y="55"/>
                  </a:lnTo>
                  <a:lnTo>
                    <a:pt x="3" y="53"/>
                  </a:lnTo>
                  <a:lnTo>
                    <a:pt x="3" y="53"/>
                  </a:lnTo>
                  <a:lnTo>
                    <a:pt x="3" y="52"/>
                  </a:lnTo>
                  <a:lnTo>
                    <a:pt x="3" y="48"/>
                  </a:lnTo>
                  <a:lnTo>
                    <a:pt x="3" y="41"/>
                  </a:lnTo>
                  <a:lnTo>
                    <a:pt x="3" y="38"/>
                  </a:lnTo>
                  <a:lnTo>
                    <a:pt x="3" y="31"/>
                  </a:lnTo>
                  <a:lnTo>
                    <a:pt x="3" y="28"/>
                  </a:lnTo>
                  <a:lnTo>
                    <a:pt x="3" y="24"/>
                  </a:lnTo>
                  <a:lnTo>
                    <a:pt x="3" y="23"/>
                  </a:lnTo>
                  <a:lnTo>
                    <a:pt x="3" y="17"/>
                  </a:lnTo>
                  <a:lnTo>
                    <a:pt x="3" y="16"/>
                  </a:lnTo>
                  <a:lnTo>
                    <a:pt x="3" y="12"/>
                  </a:lnTo>
                  <a:lnTo>
                    <a:pt x="3" y="10"/>
                  </a:lnTo>
                  <a:lnTo>
                    <a:pt x="3" y="9"/>
                  </a:lnTo>
                  <a:lnTo>
                    <a:pt x="3" y="7"/>
                  </a:lnTo>
                  <a:lnTo>
                    <a:pt x="3" y="2"/>
                  </a:lnTo>
                  <a:lnTo>
                    <a:pt x="3" y="0"/>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6" name="Freeform 237"/>
            <p:cNvSpPr>
              <a:spLocks/>
            </p:cNvSpPr>
            <p:nvPr/>
          </p:nvSpPr>
          <p:spPr bwMode="auto">
            <a:xfrm>
              <a:off x="3542596" y="5208381"/>
              <a:ext cx="552450" cy="384175"/>
            </a:xfrm>
            <a:custGeom>
              <a:avLst/>
              <a:gdLst/>
              <a:ahLst/>
              <a:cxnLst>
                <a:cxn ang="0">
                  <a:pos x="35" y="2"/>
                </a:cxn>
                <a:cxn ang="0">
                  <a:pos x="45" y="3"/>
                </a:cxn>
                <a:cxn ang="0">
                  <a:pos x="54" y="3"/>
                </a:cxn>
                <a:cxn ang="0">
                  <a:pos x="66" y="3"/>
                </a:cxn>
                <a:cxn ang="0">
                  <a:pos x="74" y="3"/>
                </a:cxn>
                <a:cxn ang="0">
                  <a:pos x="85" y="3"/>
                </a:cxn>
                <a:cxn ang="0">
                  <a:pos x="97" y="3"/>
                </a:cxn>
                <a:cxn ang="0">
                  <a:pos x="111" y="5"/>
                </a:cxn>
                <a:cxn ang="0">
                  <a:pos x="123" y="5"/>
                </a:cxn>
                <a:cxn ang="0">
                  <a:pos x="148" y="5"/>
                </a:cxn>
                <a:cxn ang="0">
                  <a:pos x="159" y="5"/>
                </a:cxn>
                <a:cxn ang="0">
                  <a:pos x="174" y="5"/>
                </a:cxn>
                <a:cxn ang="0">
                  <a:pos x="198" y="5"/>
                </a:cxn>
                <a:cxn ang="0">
                  <a:pos x="217" y="5"/>
                </a:cxn>
                <a:cxn ang="0">
                  <a:pos x="234" y="7"/>
                </a:cxn>
                <a:cxn ang="0">
                  <a:pos x="260" y="8"/>
                </a:cxn>
                <a:cxn ang="0">
                  <a:pos x="277" y="8"/>
                </a:cxn>
                <a:cxn ang="0">
                  <a:pos x="305" y="10"/>
                </a:cxn>
                <a:cxn ang="0">
                  <a:pos x="314" y="10"/>
                </a:cxn>
                <a:cxn ang="0">
                  <a:pos x="341" y="12"/>
                </a:cxn>
                <a:cxn ang="0">
                  <a:pos x="348" y="22"/>
                </a:cxn>
                <a:cxn ang="0">
                  <a:pos x="348" y="43"/>
                </a:cxn>
                <a:cxn ang="0">
                  <a:pos x="346" y="62"/>
                </a:cxn>
                <a:cxn ang="0">
                  <a:pos x="344" y="96"/>
                </a:cxn>
                <a:cxn ang="0">
                  <a:pos x="344" y="113"/>
                </a:cxn>
                <a:cxn ang="0">
                  <a:pos x="344" y="127"/>
                </a:cxn>
                <a:cxn ang="0">
                  <a:pos x="343" y="156"/>
                </a:cxn>
                <a:cxn ang="0">
                  <a:pos x="343" y="179"/>
                </a:cxn>
                <a:cxn ang="0">
                  <a:pos x="341" y="205"/>
                </a:cxn>
                <a:cxn ang="0">
                  <a:pos x="341" y="242"/>
                </a:cxn>
                <a:cxn ang="0">
                  <a:pos x="329" y="242"/>
                </a:cxn>
                <a:cxn ang="0">
                  <a:pos x="307" y="241"/>
                </a:cxn>
                <a:cxn ang="0">
                  <a:pos x="274" y="239"/>
                </a:cxn>
                <a:cxn ang="0">
                  <a:pos x="250" y="237"/>
                </a:cxn>
                <a:cxn ang="0">
                  <a:pos x="224" y="236"/>
                </a:cxn>
                <a:cxn ang="0">
                  <a:pos x="203" y="234"/>
                </a:cxn>
                <a:cxn ang="0">
                  <a:pos x="160" y="232"/>
                </a:cxn>
                <a:cxn ang="0">
                  <a:pos x="138" y="232"/>
                </a:cxn>
                <a:cxn ang="0">
                  <a:pos x="116" y="230"/>
                </a:cxn>
                <a:cxn ang="0">
                  <a:pos x="73" y="229"/>
                </a:cxn>
                <a:cxn ang="0">
                  <a:pos x="56" y="227"/>
                </a:cxn>
                <a:cxn ang="0">
                  <a:pos x="33" y="225"/>
                </a:cxn>
                <a:cxn ang="0">
                  <a:pos x="9" y="224"/>
                </a:cxn>
                <a:cxn ang="0">
                  <a:pos x="0" y="217"/>
                </a:cxn>
                <a:cxn ang="0">
                  <a:pos x="0" y="181"/>
                </a:cxn>
                <a:cxn ang="0">
                  <a:pos x="2" y="168"/>
                </a:cxn>
                <a:cxn ang="0">
                  <a:pos x="2" y="156"/>
                </a:cxn>
                <a:cxn ang="0">
                  <a:pos x="2" y="136"/>
                </a:cxn>
                <a:cxn ang="0">
                  <a:pos x="2" y="112"/>
                </a:cxn>
                <a:cxn ang="0">
                  <a:pos x="4" y="91"/>
                </a:cxn>
                <a:cxn ang="0">
                  <a:pos x="4" y="81"/>
                </a:cxn>
                <a:cxn ang="0">
                  <a:pos x="4" y="60"/>
                </a:cxn>
                <a:cxn ang="0">
                  <a:pos x="4" y="51"/>
                </a:cxn>
                <a:cxn ang="0">
                  <a:pos x="4" y="36"/>
                </a:cxn>
                <a:cxn ang="0">
                  <a:pos x="4" y="10"/>
                </a:cxn>
              </a:cxnLst>
              <a:rect l="0" t="0" r="r" b="b"/>
              <a:pathLst>
                <a:path w="348" h="242">
                  <a:moveTo>
                    <a:pt x="6" y="0"/>
                  </a:moveTo>
                  <a:lnTo>
                    <a:pt x="25" y="2"/>
                  </a:lnTo>
                  <a:lnTo>
                    <a:pt x="26" y="2"/>
                  </a:lnTo>
                  <a:lnTo>
                    <a:pt x="28" y="2"/>
                  </a:lnTo>
                  <a:lnTo>
                    <a:pt x="30" y="2"/>
                  </a:lnTo>
                  <a:lnTo>
                    <a:pt x="35" y="2"/>
                  </a:lnTo>
                  <a:lnTo>
                    <a:pt x="37" y="2"/>
                  </a:lnTo>
                  <a:lnTo>
                    <a:pt x="38" y="2"/>
                  </a:lnTo>
                  <a:lnTo>
                    <a:pt x="40" y="2"/>
                  </a:lnTo>
                  <a:lnTo>
                    <a:pt x="42" y="2"/>
                  </a:lnTo>
                  <a:lnTo>
                    <a:pt x="43" y="2"/>
                  </a:lnTo>
                  <a:lnTo>
                    <a:pt x="45" y="3"/>
                  </a:lnTo>
                  <a:lnTo>
                    <a:pt x="47" y="3"/>
                  </a:lnTo>
                  <a:lnTo>
                    <a:pt x="49" y="3"/>
                  </a:lnTo>
                  <a:lnTo>
                    <a:pt x="50" y="3"/>
                  </a:lnTo>
                  <a:lnTo>
                    <a:pt x="52" y="3"/>
                  </a:lnTo>
                  <a:lnTo>
                    <a:pt x="54" y="3"/>
                  </a:lnTo>
                  <a:lnTo>
                    <a:pt x="54" y="3"/>
                  </a:lnTo>
                  <a:lnTo>
                    <a:pt x="56" y="3"/>
                  </a:lnTo>
                  <a:lnTo>
                    <a:pt x="57" y="3"/>
                  </a:lnTo>
                  <a:lnTo>
                    <a:pt x="59" y="3"/>
                  </a:lnTo>
                  <a:lnTo>
                    <a:pt x="62" y="3"/>
                  </a:lnTo>
                  <a:lnTo>
                    <a:pt x="64" y="3"/>
                  </a:lnTo>
                  <a:lnTo>
                    <a:pt x="66" y="3"/>
                  </a:lnTo>
                  <a:lnTo>
                    <a:pt x="68" y="3"/>
                  </a:lnTo>
                  <a:lnTo>
                    <a:pt x="69" y="3"/>
                  </a:lnTo>
                  <a:lnTo>
                    <a:pt x="69" y="3"/>
                  </a:lnTo>
                  <a:lnTo>
                    <a:pt x="71" y="3"/>
                  </a:lnTo>
                  <a:lnTo>
                    <a:pt x="73" y="3"/>
                  </a:lnTo>
                  <a:lnTo>
                    <a:pt x="74" y="3"/>
                  </a:lnTo>
                  <a:lnTo>
                    <a:pt x="76" y="3"/>
                  </a:lnTo>
                  <a:lnTo>
                    <a:pt x="78" y="3"/>
                  </a:lnTo>
                  <a:lnTo>
                    <a:pt x="80" y="3"/>
                  </a:lnTo>
                  <a:lnTo>
                    <a:pt x="81" y="3"/>
                  </a:lnTo>
                  <a:lnTo>
                    <a:pt x="83" y="3"/>
                  </a:lnTo>
                  <a:lnTo>
                    <a:pt x="85" y="3"/>
                  </a:lnTo>
                  <a:lnTo>
                    <a:pt x="85" y="3"/>
                  </a:lnTo>
                  <a:lnTo>
                    <a:pt x="86" y="3"/>
                  </a:lnTo>
                  <a:lnTo>
                    <a:pt x="88" y="3"/>
                  </a:lnTo>
                  <a:lnTo>
                    <a:pt x="90" y="3"/>
                  </a:lnTo>
                  <a:lnTo>
                    <a:pt x="95" y="3"/>
                  </a:lnTo>
                  <a:lnTo>
                    <a:pt x="97" y="3"/>
                  </a:lnTo>
                  <a:lnTo>
                    <a:pt x="99" y="3"/>
                  </a:lnTo>
                  <a:lnTo>
                    <a:pt x="100" y="3"/>
                  </a:lnTo>
                  <a:lnTo>
                    <a:pt x="102" y="5"/>
                  </a:lnTo>
                  <a:lnTo>
                    <a:pt x="107" y="5"/>
                  </a:lnTo>
                  <a:lnTo>
                    <a:pt x="109" y="5"/>
                  </a:lnTo>
                  <a:lnTo>
                    <a:pt x="111" y="5"/>
                  </a:lnTo>
                  <a:lnTo>
                    <a:pt x="114" y="5"/>
                  </a:lnTo>
                  <a:lnTo>
                    <a:pt x="114" y="5"/>
                  </a:lnTo>
                  <a:lnTo>
                    <a:pt x="116" y="5"/>
                  </a:lnTo>
                  <a:lnTo>
                    <a:pt x="117" y="5"/>
                  </a:lnTo>
                  <a:lnTo>
                    <a:pt x="119" y="5"/>
                  </a:lnTo>
                  <a:lnTo>
                    <a:pt x="123" y="5"/>
                  </a:lnTo>
                  <a:lnTo>
                    <a:pt x="124" y="5"/>
                  </a:lnTo>
                  <a:lnTo>
                    <a:pt x="135" y="5"/>
                  </a:lnTo>
                  <a:lnTo>
                    <a:pt x="140" y="5"/>
                  </a:lnTo>
                  <a:lnTo>
                    <a:pt x="142" y="5"/>
                  </a:lnTo>
                  <a:lnTo>
                    <a:pt x="147" y="5"/>
                  </a:lnTo>
                  <a:lnTo>
                    <a:pt x="148" y="5"/>
                  </a:lnTo>
                  <a:lnTo>
                    <a:pt x="150" y="5"/>
                  </a:lnTo>
                  <a:lnTo>
                    <a:pt x="152" y="5"/>
                  </a:lnTo>
                  <a:lnTo>
                    <a:pt x="154" y="5"/>
                  </a:lnTo>
                  <a:lnTo>
                    <a:pt x="155" y="5"/>
                  </a:lnTo>
                  <a:lnTo>
                    <a:pt x="157" y="5"/>
                  </a:lnTo>
                  <a:lnTo>
                    <a:pt x="159" y="5"/>
                  </a:lnTo>
                  <a:lnTo>
                    <a:pt x="159" y="5"/>
                  </a:lnTo>
                  <a:lnTo>
                    <a:pt x="160" y="5"/>
                  </a:lnTo>
                  <a:lnTo>
                    <a:pt x="160" y="5"/>
                  </a:lnTo>
                  <a:lnTo>
                    <a:pt x="166" y="5"/>
                  </a:lnTo>
                  <a:lnTo>
                    <a:pt x="171" y="5"/>
                  </a:lnTo>
                  <a:lnTo>
                    <a:pt x="174" y="5"/>
                  </a:lnTo>
                  <a:lnTo>
                    <a:pt x="181" y="5"/>
                  </a:lnTo>
                  <a:lnTo>
                    <a:pt x="185" y="5"/>
                  </a:lnTo>
                  <a:lnTo>
                    <a:pt x="186" y="5"/>
                  </a:lnTo>
                  <a:lnTo>
                    <a:pt x="191" y="5"/>
                  </a:lnTo>
                  <a:lnTo>
                    <a:pt x="197" y="5"/>
                  </a:lnTo>
                  <a:lnTo>
                    <a:pt x="198" y="5"/>
                  </a:lnTo>
                  <a:lnTo>
                    <a:pt x="203" y="5"/>
                  </a:lnTo>
                  <a:lnTo>
                    <a:pt x="209" y="5"/>
                  </a:lnTo>
                  <a:lnTo>
                    <a:pt x="210" y="5"/>
                  </a:lnTo>
                  <a:lnTo>
                    <a:pt x="214" y="5"/>
                  </a:lnTo>
                  <a:lnTo>
                    <a:pt x="215" y="5"/>
                  </a:lnTo>
                  <a:lnTo>
                    <a:pt x="217" y="5"/>
                  </a:lnTo>
                  <a:lnTo>
                    <a:pt x="219" y="5"/>
                  </a:lnTo>
                  <a:lnTo>
                    <a:pt x="221" y="5"/>
                  </a:lnTo>
                  <a:lnTo>
                    <a:pt x="226" y="7"/>
                  </a:lnTo>
                  <a:lnTo>
                    <a:pt x="231" y="7"/>
                  </a:lnTo>
                  <a:lnTo>
                    <a:pt x="233" y="7"/>
                  </a:lnTo>
                  <a:lnTo>
                    <a:pt x="234" y="7"/>
                  </a:lnTo>
                  <a:lnTo>
                    <a:pt x="236" y="7"/>
                  </a:lnTo>
                  <a:lnTo>
                    <a:pt x="236" y="7"/>
                  </a:lnTo>
                  <a:lnTo>
                    <a:pt x="238" y="7"/>
                  </a:lnTo>
                  <a:lnTo>
                    <a:pt x="240" y="7"/>
                  </a:lnTo>
                  <a:lnTo>
                    <a:pt x="248" y="7"/>
                  </a:lnTo>
                  <a:lnTo>
                    <a:pt x="260" y="8"/>
                  </a:lnTo>
                  <a:lnTo>
                    <a:pt x="262" y="8"/>
                  </a:lnTo>
                  <a:lnTo>
                    <a:pt x="269" y="8"/>
                  </a:lnTo>
                  <a:lnTo>
                    <a:pt x="271" y="8"/>
                  </a:lnTo>
                  <a:lnTo>
                    <a:pt x="274" y="8"/>
                  </a:lnTo>
                  <a:lnTo>
                    <a:pt x="276" y="8"/>
                  </a:lnTo>
                  <a:lnTo>
                    <a:pt x="277" y="8"/>
                  </a:lnTo>
                  <a:lnTo>
                    <a:pt x="281" y="8"/>
                  </a:lnTo>
                  <a:lnTo>
                    <a:pt x="284" y="8"/>
                  </a:lnTo>
                  <a:lnTo>
                    <a:pt x="286" y="8"/>
                  </a:lnTo>
                  <a:lnTo>
                    <a:pt x="293" y="8"/>
                  </a:lnTo>
                  <a:lnTo>
                    <a:pt x="301" y="10"/>
                  </a:lnTo>
                  <a:lnTo>
                    <a:pt x="305" y="10"/>
                  </a:lnTo>
                  <a:lnTo>
                    <a:pt x="307" y="10"/>
                  </a:lnTo>
                  <a:lnTo>
                    <a:pt x="308" y="10"/>
                  </a:lnTo>
                  <a:lnTo>
                    <a:pt x="310" y="10"/>
                  </a:lnTo>
                  <a:lnTo>
                    <a:pt x="310" y="10"/>
                  </a:lnTo>
                  <a:lnTo>
                    <a:pt x="312" y="10"/>
                  </a:lnTo>
                  <a:lnTo>
                    <a:pt x="314" y="10"/>
                  </a:lnTo>
                  <a:lnTo>
                    <a:pt x="315" y="10"/>
                  </a:lnTo>
                  <a:lnTo>
                    <a:pt x="320" y="10"/>
                  </a:lnTo>
                  <a:lnTo>
                    <a:pt x="326" y="10"/>
                  </a:lnTo>
                  <a:lnTo>
                    <a:pt x="332" y="10"/>
                  </a:lnTo>
                  <a:lnTo>
                    <a:pt x="338" y="12"/>
                  </a:lnTo>
                  <a:lnTo>
                    <a:pt x="341" y="12"/>
                  </a:lnTo>
                  <a:lnTo>
                    <a:pt x="343" y="12"/>
                  </a:lnTo>
                  <a:lnTo>
                    <a:pt x="346" y="12"/>
                  </a:lnTo>
                  <a:lnTo>
                    <a:pt x="348" y="12"/>
                  </a:lnTo>
                  <a:lnTo>
                    <a:pt x="348" y="14"/>
                  </a:lnTo>
                  <a:lnTo>
                    <a:pt x="348" y="17"/>
                  </a:lnTo>
                  <a:lnTo>
                    <a:pt x="348" y="22"/>
                  </a:lnTo>
                  <a:lnTo>
                    <a:pt x="348" y="27"/>
                  </a:lnTo>
                  <a:lnTo>
                    <a:pt x="348" y="31"/>
                  </a:lnTo>
                  <a:lnTo>
                    <a:pt x="348" y="33"/>
                  </a:lnTo>
                  <a:lnTo>
                    <a:pt x="348" y="34"/>
                  </a:lnTo>
                  <a:lnTo>
                    <a:pt x="348" y="41"/>
                  </a:lnTo>
                  <a:lnTo>
                    <a:pt x="348" y="43"/>
                  </a:lnTo>
                  <a:lnTo>
                    <a:pt x="348" y="46"/>
                  </a:lnTo>
                  <a:lnTo>
                    <a:pt x="346" y="50"/>
                  </a:lnTo>
                  <a:lnTo>
                    <a:pt x="346" y="53"/>
                  </a:lnTo>
                  <a:lnTo>
                    <a:pt x="346" y="57"/>
                  </a:lnTo>
                  <a:lnTo>
                    <a:pt x="346" y="60"/>
                  </a:lnTo>
                  <a:lnTo>
                    <a:pt x="346" y="62"/>
                  </a:lnTo>
                  <a:lnTo>
                    <a:pt x="346" y="65"/>
                  </a:lnTo>
                  <a:lnTo>
                    <a:pt x="346" y="67"/>
                  </a:lnTo>
                  <a:lnTo>
                    <a:pt x="346" y="79"/>
                  </a:lnTo>
                  <a:lnTo>
                    <a:pt x="346" y="89"/>
                  </a:lnTo>
                  <a:lnTo>
                    <a:pt x="346" y="91"/>
                  </a:lnTo>
                  <a:lnTo>
                    <a:pt x="344" y="96"/>
                  </a:lnTo>
                  <a:lnTo>
                    <a:pt x="344" y="96"/>
                  </a:lnTo>
                  <a:lnTo>
                    <a:pt x="344" y="100"/>
                  </a:lnTo>
                  <a:lnTo>
                    <a:pt x="344" y="101"/>
                  </a:lnTo>
                  <a:lnTo>
                    <a:pt x="344" y="107"/>
                  </a:lnTo>
                  <a:lnTo>
                    <a:pt x="344" y="112"/>
                  </a:lnTo>
                  <a:lnTo>
                    <a:pt x="344" y="113"/>
                  </a:lnTo>
                  <a:lnTo>
                    <a:pt x="344" y="115"/>
                  </a:lnTo>
                  <a:lnTo>
                    <a:pt x="344" y="117"/>
                  </a:lnTo>
                  <a:lnTo>
                    <a:pt x="344" y="119"/>
                  </a:lnTo>
                  <a:lnTo>
                    <a:pt x="344" y="120"/>
                  </a:lnTo>
                  <a:lnTo>
                    <a:pt x="344" y="124"/>
                  </a:lnTo>
                  <a:lnTo>
                    <a:pt x="344" y="127"/>
                  </a:lnTo>
                  <a:lnTo>
                    <a:pt x="344" y="129"/>
                  </a:lnTo>
                  <a:lnTo>
                    <a:pt x="343" y="143"/>
                  </a:lnTo>
                  <a:lnTo>
                    <a:pt x="343" y="144"/>
                  </a:lnTo>
                  <a:lnTo>
                    <a:pt x="343" y="146"/>
                  </a:lnTo>
                  <a:lnTo>
                    <a:pt x="343" y="155"/>
                  </a:lnTo>
                  <a:lnTo>
                    <a:pt x="343" y="156"/>
                  </a:lnTo>
                  <a:lnTo>
                    <a:pt x="343" y="156"/>
                  </a:lnTo>
                  <a:lnTo>
                    <a:pt x="343" y="168"/>
                  </a:lnTo>
                  <a:lnTo>
                    <a:pt x="341" y="172"/>
                  </a:lnTo>
                  <a:lnTo>
                    <a:pt x="341" y="174"/>
                  </a:lnTo>
                  <a:lnTo>
                    <a:pt x="341" y="179"/>
                  </a:lnTo>
                  <a:lnTo>
                    <a:pt x="343" y="179"/>
                  </a:lnTo>
                  <a:lnTo>
                    <a:pt x="343" y="186"/>
                  </a:lnTo>
                  <a:lnTo>
                    <a:pt x="341" y="193"/>
                  </a:lnTo>
                  <a:lnTo>
                    <a:pt x="341" y="198"/>
                  </a:lnTo>
                  <a:lnTo>
                    <a:pt x="341" y="201"/>
                  </a:lnTo>
                  <a:lnTo>
                    <a:pt x="341" y="203"/>
                  </a:lnTo>
                  <a:lnTo>
                    <a:pt x="341" y="205"/>
                  </a:lnTo>
                  <a:lnTo>
                    <a:pt x="341" y="210"/>
                  </a:lnTo>
                  <a:lnTo>
                    <a:pt x="341" y="215"/>
                  </a:lnTo>
                  <a:lnTo>
                    <a:pt x="341" y="232"/>
                  </a:lnTo>
                  <a:lnTo>
                    <a:pt x="341" y="234"/>
                  </a:lnTo>
                  <a:lnTo>
                    <a:pt x="341" y="241"/>
                  </a:lnTo>
                  <a:lnTo>
                    <a:pt x="341" y="242"/>
                  </a:lnTo>
                  <a:lnTo>
                    <a:pt x="339" y="242"/>
                  </a:lnTo>
                  <a:lnTo>
                    <a:pt x="338" y="242"/>
                  </a:lnTo>
                  <a:lnTo>
                    <a:pt x="334" y="242"/>
                  </a:lnTo>
                  <a:lnTo>
                    <a:pt x="332" y="242"/>
                  </a:lnTo>
                  <a:lnTo>
                    <a:pt x="331" y="242"/>
                  </a:lnTo>
                  <a:lnTo>
                    <a:pt x="329" y="242"/>
                  </a:lnTo>
                  <a:lnTo>
                    <a:pt x="327" y="242"/>
                  </a:lnTo>
                  <a:lnTo>
                    <a:pt x="326" y="242"/>
                  </a:lnTo>
                  <a:lnTo>
                    <a:pt x="322" y="242"/>
                  </a:lnTo>
                  <a:lnTo>
                    <a:pt x="310" y="241"/>
                  </a:lnTo>
                  <a:lnTo>
                    <a:pt x="308" y="241"/>
                  </a:lnTo>
                  <a:lnTo>
                    <a:pt x="307" y="241"/>
                  </a:lnTo>
                  <a:lnTo>
                    <a:pt x="305" y="241"/>
                  </a:lnTo>
                  <a:lnTo>
                    <a:pt x="301" y="241"/>
                  </a:lnTo>
                  <a:lnTo>
                    <a:pt x="296" y="241"/>
                  </a:lnTo>
                  <a:lnTo>
                    <a:pt x="286" y="239"/>
                  </a:lnTo>
                  <a:lnTo>
                    <a:pt x="281" y="239"/>
                  </a:lnTo>
                  <a:lnTo>
                    <a:pt x="274" y="239"/>
                  </a:lnTo>
                  <a:lnTo>
                    <a:pt x="271" y="239"/>
                  </a:lnTo>
                  <a:lnTo>
                    <a:pt x="267" y="239"/>
                  </a:lnTo>
                  <a:lnTo>
                    <a:pt x="264" y="239"/>
                  </a:lnTo>
                  <a:lnTo>
                    <a:pt x="260" y="237"/>
                  </a:lnTo>
                  <a:lnTo>
                    <a:pt x="252" y="237"/>
                  </a:lnTo>
                  <a:lnTo>
                    <a:pt x="250" y="237"/>
                  </a:lnTo>
                  <a:lnTo>
                    <a:pt x="246" y="237"/>
                  </a:lnTo>
                  <a:lnTo>
                    <a:pt x="245" y="237"/>
                  </a:lnTo>
                  <a:lnTo>
                    <a:pt x="236" y="237"/>
                  </a:lnTo>
                  <a:lnTo>
                    <a:pt x="231" y="236"/>
                  </a:lnTo>
                  <a:lnTo>
                    <a:pt x="228" y="236"/>
                  </a:lnTo>
                  <a:lnTo>
                    <a:pt x="224" y="236"/>
                  </a:lnTo>
                  <a:lnTo>
                    <a:pt x="214" y="236"/>
                  </a:lnTo>
                  <a:lnTo>
                    <a:pt x="209" y="236"/>
                  </a:lnTo>
                  <a:lnTo>
                    <a:pt x="207" y="236"/>
                  </a:lnTo>
                  <a:lnTo>
                    <a:pt x="205" y="236"/>
                  </a:lnTo>
                  <a:lnTo>
                    <a:pt x="203" y="236"/>
                  </a:lnTo>
                  <a:lnTo>
                    <a:pt x="203" y="234"/>
                  </a:lnTo>
                  <a:lnTo>
                    <a:pt x="188" y="234"/>
                  </a:lnTo>
                  <a:lnTo>
                    <a:pt x="186" y="234"/>
                  </a:lnTo>
                  <a:lnTo>
                    <a:pt x="181" y="234"/>
                  </a:lnTo>
                  <a:lnTo>
                    <a:pt x="174" y="232"/>
                  </a:lnTo>
                  <a:lnTo>
                    <a:pt x="169" y="232"/>
                  </a:lnTo>
                  <a:lnTo>
                    <a:pt x="160" y="232"/>
                  </a:lnTo>
                  <a:lnTo>
                    <a:pt x="157" y="232"/>
                  </a:lnTo>
                  <a:lnTo>
                    <a:pt x="155" y="232"/>
                  </a:lnTo>
                  <a:lnTo>
                    <a:pt x="152" y="232"/>
                  </a:lnTo>
                  <a:lnTo>
                    <a:pt x="150" y="232"/>
                  </a:lnTo>
                  <a:lnTo>
                    <a:pt x="143" y="232"/>
                  </a:lnTo>
                  <a:lnTo>
                    <a:pt x="138" y="232"/>
                  </a:lnTo>
                  <a:lnTo>
                    <a:pt x="136" y="232"/>
                  </a:lnTo>
                  <a:lnTo>
                    <a:pt x="126" y="232"/>
                  </a:lnTo>
                  <a:lnTo>
                    <a:pt x="124" y="232"/>
                  </a:lnTo>
                  <a:lnTo>
                    <a:pt x="123" y="230"/>
                  </a:lnTo>
                  <a:lnTo>
                    <a:pt x="121" y="230"/>
                  </a:lnTo>
                  <a:lnTo>
                    <a:pt x="116" y="230"/>
                  </a:lnTo>
                  <a:lnTo>
                    <a:pt x="114" y="230"/>
                  </a:lnTo>
                  <a:lnTo>
                    <a:pt x="104" y="230"/>
                  </a:lnTo>
                  <a:lnTo>
                    <a:pt x="102" y="230"/>
                  </a:lnTo>
                  <a:lnTo>
                    <a:pt x="95" y="229"/>
                  </a:lnTo>
                  <a:lnTo>
                    <a:pt x="81" y="229"/>
                  </a:lnTo>
                  <a:lnTo>
                    <a:pt x="73" y="229"/>
                  </a:lnTo>
                  <a:lnTo>
                    <a:pt x="69" y="227"/>
                  </a:lnTo>
                  <a:lnTo>
                    <a:pt x="68" y="227"/>
                  </a:lnTo>
                  <a:lnTo>
                    <a:pt x="61" y="227"/>
                  </a:lnTo>
                  <a:lnTo>
                    <a:pt x="59" y="227"/>
                  </a:lnTo>
                  <a:lnTo>
                    <a:pt x="57" y="227"/>
                  </a:lnTo>
                  <a:lnTo>
                    <a:pt x="56" y="227"/>
                  </a:lnTo>
                  <a:lnTo>
                    <a:pt x="54" y="227"/>
                  </a:lnTo>
                  <a:lnTo>
                    <a:pt x="49" y="227"/>
                  </a:lnTo>
                  <a:lnTo>
                    <a:pt x="42" y="225"/>
                  </a:lnTo>
                  <a:lnTo>
                    <a:pt x="40" y="225"/>
                  </a:lnTo>
                  <a:lnTo>
                    <a:pt x="38" y="225"/>
                  </a:lnTo>
                  <a:lnTo>
                    <a:pt x="33" y="225"/>
                  </a:lnTo>
                  <a:lnTo>
                    <a:pt x="25" y="225"/>
                  </a:lnTo>
                  <a:lnTo>
                    <a:pt x="18" y="225"/>
                  </a:lnTo>
                  <a:lnTo>
                    <a:pt x="14" y="224"/>
                  </a:lnTo>
                  <a:lnTo>
                    <a:pt x="11" y="224"/>
                  </a:lnTo>
                  <a:lnTo>
                    <a:pt x="9" y="224"/>
                  </a:lnTo>
                  <a:lnTo>
                    <a:pt x="9" y="224"/>
                  </a:lnTo>
                  <a:lnTo>
                    <a:pt x="4" y="224"/>
                  </a:lnTo>
                  <a:lnTo>
                    <a:pt x="2" y="224"/>
                  </a:lnTo>
                  <a:lnTo>
                    <a:pt x="0" y="224"/>
                  </a:lnTo>
                  <a:lnTo>
                    <a:pt x="0" y="220"/>
                  </a:lnTo>
                  <a:lnTo>
                    <a:pt x="0" y="218"/>
                  </a:lnTo>
                  <a:lnTo>
                    <a:pt x="0" y="217"/>
                  </a:lnTo>
                  <a:lnTo>
                    <a:pt x="0" y="215"/>
                  </a:lnTo>
                  <a:lnTo>
                    <a:pt x="0" y="213"/>
                  </a:lnTo>
                  <a:lnTo>
                    <a:pt x="0" y="201"/>
                  </a:lnTo>
                  <a:lnTo>
                    <a:pt x="0" y="194"/>
                  </a:lnTo>
                  <a:lnTo>
                    <a:pt x="0" y="186"/>
                  </a:lnTo>
                  <a:lnTo>
                    <a:pt x="0" y="181"/>
                  </a:lnTo>
                  <a:lnTo>
                    <a:pt x="0" y="179"/>
                  </a:lnTo>
                  <a:lnTo>
                    <a:pt x="2" y="174"/>
                  </a:lnTo>
                  <a:lnTo>
                    <a:pt x="2" y="172"/>
                  </a:lnTo>
                  <a:lnTo>
                    <a:pt x="2" y="172"/>
                  </a:lnTo>
                  <a:lnTo>
                    <a:pt x="2" y="170"/>
                  </a:lnTo>
                  <a:lnTo>
                    <a:pt x="2" y="168"/>
                  </a:lnTo>
                  <a:lnTo>
                    <a:pt x="2" y="163"/>
                  </a:lnTo>
                  <a:lnTo>
                    <a:pt x="2" y="162"/>
                  </a:lnTo>
                  <a:lnTo>
                    <a:pt x="2" y="160"/>
                  </a:lnTo>
                  <a:lnTo>
                    <a:pt x="2" y="158"/>
                  </a:lnTo>
                  <a:lnTo>
                    <a:pt x="2" y="156"/>
                  </a:lnTo>
                  <a:lnTo>
                    <a:pt x="2" y="156"/>
                  </a:lnTo>
                  <a:lnTo>
                    <a:pt x="2" y="153"/>
                  </a:lnTo>
                  <a:lnTo>
                    <a:pt x="2" y="151"/>
                  </a:lnTo>
                  <a:lnTo>
                    <a:pt x="2" y="144"/>
                  </a:lnTo>
                  <a:lnTo>
                    <a:pt x="2" y="141"/>
                  </a:lnTo>
                  <a:lnTo>
                    <a:pt x="2" y="138"/>
                  </a:lnTo>
                  <a:lnTo>
                    <a:pt x="2" y="136"/>
                  </a:lnTo>
                  <a:lnTo>
                    <a:pt x="2" y="134"/>
                  </a:lnTo>
                  <a:lnTo>
                    <a:pt x="2" y="125"/>
                  </a:lnTo>
                  <a:lnTo>
                    <a:pt x="2" y="124"/>
                  </a:lnTo>
                  <a:lnTo>
                    <a:pt x="2" y="120"/>
                  </a:lnTo>
                  <a:lnTo>
                    <a:pt x="2" y="117"/>
                  </a:lnTo>
                  <a:lnTo>
                    <a:pt x="2" y="112"/>
                  </a:lnTo>
                  <a:lnTo>
                    <a:pt x="2" y="107"/>
                  </a:lnTo>
                  <a:lnTo>
                    <a:pt x="2" y="105"/>
                  </a:lnTo>
                  <a:lnTo>
                    <a:pt x="2" y="100"/>
                  </a:lnTo>
                  <a:lnTo>
                    <a:pt x="2" y="98"/>
                  </a:lnTo>
                  <a:lnTo>
                    <a:pt x="2" y="93"/>
                  </a:lnTo>
                  <a:lnTo>
                    <a:pt x="4" y="91"/>
                  </a:lnTo>
                  <a:lnTo>
                    <a:pt x="4" y="89"/>
                  </a:lnTo>
                  <a:lnTo>
                    <a:pt x="4" y="88"/>
                  </a:lnTo>
                  <a:lnTo>
                    <a:pt x="4" y="86"/>
                  </a:lnTo>
                  <a:lnTo>
                    <a:pt x="4" y="84"/>
                  </a:lnTo>
                  <a:lnTo>
                    <a:pt x="4" y="82"/>
                  </a:lnTo>
                  <a:lnTo>
                    <a:pt x="4" y="81"/>
                  </a:lnTo>
                  <a:lnTo>
                    <a:pt x="4" y="79"/>
                  </a:lnTo>
                  <a:lnTo>
                    <a:pt x="4" y="76"/>
                  </a:lnTo>
                  <a:lnTo>
                    <a:pt x="4" y="72"/>
                  </a:lnTo>
                  <a:lnTo>
                    <a:pt x="4" y="70"/>
                  </a:lnTo>
                  <a:lnTo>
                    <a:pt x="4" y="65"/>
                  </a:lnTo>
                  <a:lnTo>
                    <a:pt x="4" y="60"/>
                  </a:lnTo>
                  <a:lnTo>
                    <a:pt x="4" y="58"/>
                  </a:lnTo>
                  <a:lnTo>
                    <a:pt x="4" y="57"/>
                  </a:lnTo>
                  <a:lnTo>
                    <a:pt x="4" y="55"/>
                  </a:lnTo>
                  <a:lnTo>
                    <a:pt x="4" y="53"/>
                  </a:lnTo>
                  <a:lnTo>
                    <a:pt x="4" y="51"/>
                  </a:lnTo>
                  <a:lnTo>
                    <a:pt x="4" y="51"/>
                  </a:lnTo>
                  <a:lnTo>
                    <a:pt x="4" y="48"/>
                  </a:lnTo>
                  <a:lnTo>
                    <a:pt x="4" y="46"/>
                  </a:lnTo>
                  <a:lnTo>
                    <a:pt x="4" y="45"/>
                  </a:lnTo>
                  <a:lnTo>
                    <a:pt x="4" y="41"/>
                  </a:lnTo>
                  <a:lnTo>
                    <a:pt x="4" y="39"/>
                  </a:lnTo>
                  <a:lnTo>
                    <a:pt x="4" y="36"/>
                  </a:lnTo>
                  <a:lnTo>
                    <a:pt x="4" y="34"/>
                  </a:lnTo>
                  <a:lnTo>
                    <a:pt x="4" y="21"/>
                  </a:lnTo>
                  <a:lnTo>
                    <a:pt x="4" y="19"/>
                  </a:lnTo>
                  <a:lnTo>
                    <a:pt x="4" y="14"/>
                  </a:lnTo>
                  <a:lnTo>
                    <a:pt x="4" y="12"/>
                  </a:lnTo>
                  <a:lnTo>
                    <a:pt x="4" y="10"/>
                  </a:lnTo>
                  <a:lnTo>
                    <a:pt x="6" y="7"/>
                  </a:lnTo>
                  <a:lnTo>
                    <a:pt x="6" y="5"/>
                  </a:lnTo>
                  <a:lnTo>
                    <a:pt x="6" y="2"/>
                  </a:lnTo>
                  <a:lnTo>
                    <a:pt x="6"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7" name="Freeform 241"/>
            <p:cNvSpPr>
              <a:spLocks/>
            </p:cNvSpPr>
            <p:nvPr/>
          </p:nvSpPr>
          <p:spPr bwMode="auto">
            <a:xfrm>
              <a:off x="4069646" y="5368719"/>
              <a:ext cx="496888" cy="533400"/>
            </a:xfrm>
            <a:custGeom>
              <a:avLst/>
              <a:gdLst/>
              <a:ahLst/>
              <a:cxnLst>
                <a:cxn ang="0">
                  <a:pos x="291" y="30"/>
                </a:cxn>
                <a:cxn ang="0">
                  <a:pos x="291" y="55"/>
                </a:cxn>
                <a:cxn ang="0">
                  <a:pos x="291" y="81"/>
                </a:cxn>
                <a:cxn ang="0">
                  <a:pos x="295" y="88"/>
                </a:cxn>
                <a:cxn ang="0">
                  <a:pos x="307" y="88"/>
                </a:cxn>
                <a:cxn ang="0">
                  <a:pos x="313" y="102"/>
                </a:cxn>
                <a:cxn ang="0">
                  <a:pos x="312" y="131"/>
                </a:cxn>
                <a:cxn ang="0">
                  <a:pos x="312" y="157"/>
                </a:cxn>
                <a:cxn ang="0">
                  <a:pos x="310" y="193"/>
                </a:cxn>
                <a:cxn ang="0">
                  <a:pos x="310" y="221"/>
                </a:cxn>
                <a:cxn ang="0">
                  <a:pos x="310" y="241"/>
                </a:cxn>
                <a:cxn ang="0">
                  <a:pos x="310" y="257"/>
                </a:cxn>
                <a:cxn ang="0">
                  <a:pos x="308" y="267"/>
                </a:cxn>
                <a:cxn ang="0">
                  <a:pos x="308" y="279"/>
                </a:cxn>
                <a:cxn ang="0">
                  <a:pos x="308" y="305"/>
                </a:cxn>
                <a:cxn ang="0">
                  <a:pos x="307" y="334"/>
                </a:cxn>
                <a:cxn ang="0">
                  <a:pos x="281" y="336"/>
                </a:cxn>
                <a:cxn ang="0">
                  <a:pos x="252" y="336"/>
                </a:cxn>
                <a:cxn ang="0">
                  <a:pos x="233" y="334"/>
                </a:cxn>
                <a:cxn ang="0">
                  <a:pos x="221" y="334"/>
                </a:cxn>
                <a:cxn ang="0">
                  <a:pos x="205" y="334"/>
                </a:cxn>
                <a:cxn ang="0">
                  <a:pos x="178" y="334"/>
                </a:cxn>
                <a:cxn ang="0">
                  <a:pos x="131" y="334"/>
                </a:cxn>
                <a:cxn ang="0">
                  <a:pos x="107" y="334"/>
                </a:cxn>
                <a:cxn ang="0">
                  <a:pos x="95" y="334"/>
                </a:cxn>
                <a:cxn ang="0">
                  <a:pos x="73" y="334"/>
                </a:cxn>
                <a:cxn ang="0">
                  <a:pos x="61" y="334"/>
                </a:cxn>
                <a:cxn ang="0">
                  <a:pos x="45" y="332"/>
                </a:cxn>
                <a:cxn ang="0">
                  <a:pos x="0" y="332"/>
                </a:cxn>
                <a:cxn ang="0">
                  <a:pos x="2" y="298"/>
                </a:cxn>
                <a:cxn ang="0">
                  <a:pos x="4" y="269"/>
                </a:cxn>
                <a:cxn ang="0">
                  <a:pos x="6" y="236"/>
                </a:cxn>
                <a:cxn ang="0">
                  <a:pos x="6" y="207"/>
                </a:cxn>
                <a:cxn ang="0">
                  <a:pos x="7" y="174"/>
                </a:cxn>
                <a:cxn ang="0">
                  <a:pos x="9" y="141"/>
                </a:cxn>
                <a:cxn ang="0">
                  <a:pos x="9" y="114"/>
                </a:cxn>
                <a:cxn ang="0">
                  <a:pos x="9" y="92"/>
                </a:cxn>
                <a:cxn ang="0">
                  <a:pos x="11" y="67"/>
                </a:cxn>
                <a:cxn ang="0">
                  <a:pos x="11" y="42"/>
                </a:cxn>
                <a:cxn ang="0">
                  <a:pos x="12" y="16"/>
                </a:cxn>
                <a:cxn ang="0">
                  <a:pos x="14" y="0"/>
                </a:cxn>
                <a:cxn ang="0">
                  <a:pos x="52" y="2"/>
                </a:cxn>
                <a:cxn ang="0">
                  <a:pos x="71" y="2"/>
                </a:cxn>
                <a:cxn ang="0">
                  <a:pos x="83" y="2"/>
                </a:cxn>
                <a:cxn ang="0">
                  <a:pos x="97" y="4"/>
                </a:cxn>
                <a:cxn ang="0">
                  <a:pos x="105" y="4"/>
                </a:cxn>
                <a:cxn ang="0">
                  <a:pos x="114" y="4"/>
                </a:cxn>
                <a:cxn ang="0">
                  <a:pos x="131" y="6"/>
                </a:cxn>
                <a:cxn ang="0">
                  <a:pos x="150" y="6"/>
                </a:cxn>
                <a:cxn ang="0">
                  <a:pos x="169" y="6"/>
                </a:cxn>
                <a:cxn ang="0">
                  <a:pos x="191" y="7"/>
                </a:cxn>
                <a:cxn ang="0">
                  <a:pos x="214" y="7"/>
                </a:cxn>
                <a:cxn ang="0">
                  <a:pos x="234" y="7"/>
                </a:cxn>
                <a:cxn ang="0">
                  <a:pos x="255" y="9"/>
                </a:cxn>
                <a:cxn ang="0">
                  <a:pos x="283" y="11"/>
                </a:cxn>
              </a:cxnLst>
              <a:rect l="0" t="0" r="r" b="b"/>
              <a:pathLst>
                <a:path w="313" h="336">
                  <a:moveTo>
                    <a:pt x="293" y="11"/>
                  </a:moveTo>
                  <a:lnTo>
                    <a:pt x="293" y="14"/>
                  </a:lnTo>
                  <a:lnTo>
                    <a:pt x="293" y="16"/>
                  </a:lnTo>
                  <a:lnTo>
                    <a:pt x="291" y="21"/>
                  </a:lnTo>
                  <a:lnTo>
                    <a:pt x="291" y="24"/>
                  </a:lnTo>
                  <a:lnTo>
                    <a:pt x="291" y="30"/>
                  </a:lnTo>
                  <a:lnTo>
                    <a:pt x="291" y="31"/>
                  </a:lnTo>
                  <a:lnTo>
                    <a:pt x="291" y="38"/>
                  </a:lnTo>
                  <a:lnTo>
                    <a:pt x="291" y="43"/>
                  </a:lnTo>
                  <a:lnTo>
                    <a:pt x="291" y="47"/>
                  </a:lnTo>
                  <a:lnTo>
                    <a:pt x="291" y="49"/>
                  </a:lnTo>
                  <a:lnTo>
                    <a:pt x="291" y="55"/>
                  </a:lnTo>
                  <a:lnTo>
                    <a:pt x="291" y="66"/>
                  </a:lnTo>
                  <a:lnTo>
                    <a:pt x="291" y="74"/>
                  </a:lnTo>
                  <a:lnTo>
                    <a:pt x="291" y="76"/>
                  </a:lnTo>
                  <a:lnTo>
                    <a:pt x="291" y="78"/>
                  </a:lnTo>
                  <a:lnTo>
                    <a:pt x="291" y="80"/>
                  </a:lnTo>
                  <a:lnTo>
                    <a:pt x="291" y="81"/>
                  </a:lnTo>
                  <a:lnTo>
                    <a:pt x="291" y="85"/>
                  </a:lnTo>
                  <a:lnTo>
                    <a:pt x="291" y="86"/>
                  </a:lnTo>
                  <a:lnTo>
                    <a:pt x="291" y="88"/>
                  </a:lnTo>
                  <a:lnTo>
                    <a:pt x="293" y="88"/>
                  </a:lnTo>
                  <a:lnTo>
                    <a:pt x="295" y="88"/>
                  </a:lnTo>
                  <a:lnTo>
                    <a:pt x="295" y="88"/>
                  </a:lnTo>
                  <a:lnTo>
                    <a:pt x="296" y="88"/>
                  </a:lnTo>
                  <a:lnTo>
                    <a:pt x="298" y="88"/>
                  </a:lnTo>
                  <a:lnTo>
                    <a:pt x="300" y="88"/>
                  </a:lnTo>
                  <a:lnTo>
                    <a:pt x="301" y="88"/>
                  </a:lnTo>
                  <a:lnTo>
                    <a:pt x="303" y="88"/>
                  </a:lnTo>
                  <a:lnTo>
                    <a:pt x="307" y="88"/>
                  </a:lnTo>
                  <a:lnTo>
                    <a:pt x="308" y="88"/>
                  </a:lnTo>
                  <a:lnTo>
                    <a:pt x="313" y="88"/>
                  </a:lnTo>
                  <a:lnTo>
                    <a:pt x="313" y="93"/>
                  </a:lnTo>
                  <a:lnTo>
                    <a:pt x="313" y="98"/>
                  </a:lnTo>
                  <a:lnTo>
                    <a:pt x="313" y="100"/>
                  </a:lnTo>
                  <a:lnTo>
                    <a:pt x="313" y="102"/>
                  </a:lnTo>
                  <a:lnTo>
                    <a:pt x="313" y="112"/>
                  </a:lnTo>
                  <a:lnTo>
                    <a:pt x="313" y="116"/>
                  </a:lnTo>
                  <a:lnTo>
                    <a:pt x="313" y="119"/>
                  </a:lnTo>
                  <a:lnTo>
                    <a:pt x="313" y="124"/>
                  </a:lnTo>
                  <a:lnTo>
                    <a:pt x="312" y="124"/>
                  </a:lnTo>
                  <a:lnTo>
                    <a:pt x="312" y="131"/>
                  </a:lnTo>
                  <a:lnTo>
                    <a:pt x="312" y="136"/>
                  </a:lnTo>
                  <a:lnTo>
                    <a:pt x="312" y="138"/>
                  </a:lnTo>
                  <a:lnTo>
                    <a:pt x="312" y="143"/>
                  </a:lnTo>
                  <a:lnTo>
                    <a:pt x="312" y="153"/>
                  </a:lnTo>
                  <a:lnTo>
                    <a:pt x="312" y="155"/>
                  </a:lnTo>
                  <a:lnTo>
                    <a:pt x="312" y="157"/>
                  </a:lnTo>
                  <a:lnTo>
                    <a:pt x="312" y="167"/>
                  </a:lnTo>
                  <a:lnTo>
                    <a:pt x="310" y="174"/>
                  </a:lnTo>
                  <a:lnTo>
                    <a:pt x="310" y="183"/>
                  </a:lnTo>
                  <a:lnTo>
                    <a:pt x="310" y="186"/>
                  </a:lnTo>
                  <a:lnTo>
                    <a:pt x="310" y="191"/>
                  </a:lnTo>
                  <a:lnTo>
                    <a:pt x="310" y="193"/>
                  </a:lnTo>
                  <a:lnTo>
                    <a:pt x="310" y="197"/>
                  </a:lnTo>
                  <a:lnTo>
                    <a:pt x="310" y="202"/>
                  </a:lnTo>
                  <a:lnTo>
                    <a:pt x="310" y="209"/>
                  </a:lnTo>
                  <a:lnTo>
                    <a:pt x="310" y="210"/>
                  </a:lnTo>
                  <a:lnTo>
                    <a:pt x="310" y="219"/>
                  </a:lnTo>
                  <a:lnTo>
                    <a:pt x="310" y="221"/>
                  </a:lnTo>
                  <a:lnTo>
                    <a:pt x="310" y="231"/>
                  </a:lnTo>
                  <a:lnTo>
                    <a:pt x="310" y="234"/>
                  </a:lnTo>
                  <a:lnTo>
                    <a:pt x="310" y="236"/>
                  </a:lnTo>
                  <a:lnTo>
                    <a:pt x="310" y="236"/>
                  </a:lnTo>
                  <a:lnTo>
                    <a:pt x="310" y="238"/>
                  </a:lnTo>
                  <a:lnTo>
                    <a:pt x="310" y="241"/>
                  </a:lnTo>
                  <a:lnTo>
                    <a:pt x="310" y="246"/>
                  </a:lnTo>
                  <a:lnTo>
                    <a:pt x="310" y="252"/>
                  </a:lnTo>
                  <a:lnTo>
                    <a:pt x="310" y="252"/>
                  </a:lnTo>
                  <a:lnTo>
                    <a:pt x="310" y="255"/>
                  </a:lnTo>
                  <a:lnTo>
                    <a:pt x="308" y="257"/>
                  </a:lnTo>
                  <a:lnTo>
                    <a:pt x="310" y="257"/>
                  </a:lnTo>
                  <a:lnTo>
                    <a:pt x="308" y="258"/>
                  </a:lnTo>
                  <a:lnTo>
                    <a:pt x="310" y="258"/>
                  </a:lnTo>
                  <a:lnTo>
                    <a:pt x="308" y="262"/>
                  </a:lnTo>
                  <a:lnTo>
                    <a:pt x="308" y="264"/>
                  </a:lnTo>
                  <a:lnTo>
                    <a:pt x="308" y="265"/>
                  </a:lnTo>
                  <a:lnTo>
                    <a:pt x="308" y="267"/>
                  </a:lnTo>
                  <a:lnTo>
                    <a:pt x="308" y="269"/>
                  </a:lnTo>
                  <a:lnTo>
                    <a:pt x="308" y="270"/>
                  </a:lnTo>
                  <a:lnTo>
                    <a:pt x="308" y="272"/>
                  </a:lnTo>
                  <a:lnTo>
                    <a:pt x="308" y="274"/>
                  </a:lnTo>
                  <a:lnTo>
                    <a:pt x="308" y="276"/>
                  </a:lnTo>
                  <a:lnTo>
                    <a:pt x="308" y="279"/>
                  </a:lnTo>
                  <a:lnTo>
                    <a:pt x="308" y="281"/>
                  </a:lnTo>
                  <a:lnTo>
                    <a:pt x="308" y="286"/>
                  </a:lnTo>
                  <a:lnTo>
                    <a:pt x="308" y="288"/>
                  </a:lnTo>
                  <a:lnTo>
                    <a:pt x="308" y="293"/>
                  </a:lnTo>
                  <a:lnTo>
                    <a:pt x="308" y="301"/>
                  </a:lnTo>
                  <a:lnTo>
                    <a:pt x="308" y="305"/>
                  </a:lnTo>
                  <a:lnTo>
                    <a:pt x="307" y="308"/>
                  </a:lnTo>
                  <a:lnTo>
                    <a:pt x="307" y="320"/>
                  </a:lnTo>
                  <a:lnTo>
                    <a:pt x="307" y="327"/>
                  </a:lnTo>
                  <a:lnTo>
                    <a:pt x="307" y="327"/>
                  </a:lnTo>
                  <a:lnTo>
                    <a:pt x="307" y="329"/>
                  </a:lnTo>
                  <a:lnTo>
                    <a:pt x="307" y="334"/>
                  </a:lnTo>
                  <a:lnTo>
                    <a:pt x="307" y="336"/>
                  </a:lnTo>
                  <a:lnTo>
                    <a:pt x="305" y="336"/>
                  </a:lnTo>
                  <a:lnTo>
                    <a:pt x="296" y="336"/>
                  </a:lnTo>
                  <a:lnTo>
                    <a:pt x="286" y="336"/>
                  </a:lnTo>
                  <a:lnTo>
                    <a:pt x="281" y="336"/>
                  </a:lnTo>
                  <a:lnTo>
                    <a:pt x="281" y="336"/>
                  </a:lnTo>
                  <a:lnTo>
                    <a:pt x="276" y="336"/>
                  </a:lnTo>
                  <a:lnTo>
                    <a:pt x="269" y="336"/>
                  </a:lnTo>
                  <a:lnTo>
                    <a:pt x="267" y="336"/>
                  </a:lnTo>
                  <a:lnTo>
                    <a:pt x="265" y="336"/>
                  </a:lnTo>
                  <a:lnTo>
                    <a:pt x="260" y="336"/>
                  </a:lnTo>
                  <a:lnTo>
                    <a:pt x="252" y="336"/>
                  </a:lnTo>
                  <a:lnTo>
                    <a:pt x="250" y="334"/>
                  </a:lnTo>
                  <a:lnTo>
                    <a:pt x="248" y="334"/>
                  </a:lnTo>
                  <a:lnTo>
                    <a:pt x="241" y="334"/>
                  </a:lnTo>
                  <a:lnTo>
                    <a:pt x="240" y="334"/>
                  </a:lnTo>
                  <a:lnTo>
                    <a:pt x="234" y="334"/>
                  </a:lnTo>
                  <a:lnTo>
                    <a:pt x="233" y="334"/>
                  </a:lnTo>
                  <a:lnTo>
                    <a:pt x="229" y="334"/>
                  </a:lnTo>
                  <a:lnTo>
                    <a:pt x="227" y="334"/>
                  </a:lnTo>
                  <a:lnTo>
                    <a:pt x="226" y="334"/>
                  </a:lnTo>
                  <a:lnTo>
                    <a:pt x="222" y="334"/>
                  </a:lnTo>
                  <a:lnTo>
                    <a:pt x="221" y="334"/>
                  </a:lnTo>
                  <a:lnTo>
                    <a:pt x="221" y="334"/>
                  </a:lnTo>
                  <a:lnTo>
                    <a:pt x="219" y="334"/>
                  </a:lnTo>
                  <a:lnTo>
                    <a:pt x="217" y="334"/>
                  </a:lnTo>
                  <a:lnTo>
                    <a:pt x="214" y="334"/>
                  </a:lnTo>
                  <a:lnTo>
                    <a:pt x="212" y="334"/>
                  </a:lnTo>
                  <a:lnTo>
                    <a:pt x="205" y="334"/>
                  </a:lnTo>
                  <a:lnTo>
                    <a:pt x="205" y="334"/>
                  </a:lnTo>
                  <a:lnTo>
                    <a:pt x="203" y="334"/>
                  </a:lnTo>
                  <a:lnTo>
                    <a:pt x="202" y="334"/>
                  </a:lnTo>
                  <a:lnTo>
                    <a:pt x="193" y="334"/>
                  </a:lnTo>
                  <a:lnTo>
                    <a:pt x="190" y="334"/>
                  </a:lnTo>
                  <a:lnTo>
                    <a:pt x="186" y="334"/>
                  </a:lnTo>
                  <a:lnTo>
                    <a:pt x="178" y="334"/>
                  </a:lnTo>
                  <a:lnTo>
                    <a:pt x="174" y="334"/>
                  </a:lnTo>
                  <a:lnTo>
                    <a:pt x="162" y="334"/>
                  </a:lnTo>
                  <a:lnTo>
                    <a:pt x="154" y="334"/>
                  </a:lnTo>
                  <a:lnTo>
                    <a:pt x="152" y="334"/>
                  </a:lnTo>
                  <a:lnTo>
                    <a:pt x="150" y="334"/>
                  </a:lnTo>
                  <a:lnTo>
                    <a:pt x="131" y="334"/>
                  </a:lnTo>
                  <a:lnTo>
                    <a:pt x="126" y="334"/>
                  </a:lnTo>
                  <a:lnTo>
                    <a:pt x="124" y="334"/>
                  </a:lnTo>
                  <a:lnTo>
                    <a:pt x="121" y="334"/>
                  </a:lnTo>
                  <a:lnTo>
                    <a:pt x="117" y="334"/>
                  </a:lnTo>
                  <a:lnTo>
                    <a:pt x="111" y="334"/>
                  </a:lnTo>
                  <a:lnTo>
                    <a:pt x="107" y="334"/>
                  </a:lnTo>
                  <a:lnTo>
                    <a:pt x="105" y="334"/>
                  </a:lnTo>
                  <a:lnTo>
                    <a:pt x="104" y="334"/>
                  </a:lnTo>
                  <a:lnTo>
                    <a:pt x="98" y="334"/>
                  </a:lnTo>
                  <a:lnTo>
                    <a:pt x="98" y="334"/>
                  </a:lnTo>
                  <a:lnTo>
                    <a:pt x="97" y="334"/>
                  </a:lnTo>
                  <a:lnTo>
                    <a:pt x="95" y="334"/>
                  </a:lnTo>
                  <a:lnTo>
                    <a:pt x="93" y="334"/>
                  </a:lnTo>
                  <a:lnTo>
                    <a:pt x="92" y="334"/>
                  </a:lnTo>
                  <a:lnTo>
                    <a:pt x="90" y="334"/>
                  </a:lnTo>
                  <a:lnTo>
                    <a:pt x="83" y="334"/>
                  </a:lnTo>
                  <a:lnTo>
                    <a:pt x="78" y="334"/>
                  </a:lnTo>
                  <a:lnTo>
                    <a:pt x="73" y="334"/>
                  </a:lnTo>
                  <a:lnTo>
                    <a:pt x="71" y="334"/>
                  </a:lnTo>
                  <a:lnTo>
                    <a:pt x="69" y="334"/>
                  </a:lnTo>
                  <a:lnTo>
                    <a:pt x="68" y="334"/>
                  </a:lnTo>
                  <a:lnTo>
                    <a:pt x="64" y="334"/>
                  </a:lnTo>
                  <a:lnTo>
                    <a:pt x="62" y="334"/>
                  </a:lnTo>
                  <a:lnTo>
                    <a:pt x="61" y="334"/>
                  </a:lnTo>
                  <a:lnTo>
                    <a:pt x="55" y="334"/>
                  </a:lnTo>
                  <a:lnTo>
                    <a:pt x="52" y="334"/>
                  </a:lnTo>
                  <a:lnTo>
                    <a:pt x="50" y="334"/>
                  </a:lnTo>
                  <a:lnTo>
                    <a:pt x="49" y="334"/>
                  </a:lnTo>
                  <a:lnTo>
                    <a:pt x="49" y="332"/>
                  </a:lnTo>
                  <a:lnTo>
                    <a:pt x="45" y="332"/>
                  </a:lnTo>
                  <a:lnTo>
                    <a:pt x="35" y="332"/>
                  </a:lnTo>
                  <a:lnTo>
                    <a:pt x="33" y="332"/>
                  </a:lnTo>
                  <a:lnTo>
                    <a:pt x="11" y="332"/>
                  </a:lnTo>
                  <a:lnTo>
                    <a:pt x="7" y="332"/>
                  </a:lnTo>
                  <a:lnTo>
                    <a:pt x="4" y="332"/>
                  </a:lnTo>
                  <a:lnTo>
                    <a:pt x="0" y="332"/>
                  </a:lnTo>
                  <a:lnTo>
                    <a:pt x="0" y="331"/>
                  </a:lnTo>
                  <a:lnTo>
                    <a:pt x="0" y="329"/>
                  </a:lnTo>
                  <a:lnTo>
                    <a:pt x="0" y="326"/>
                  </a:lnTo>
                  <a:lnTo>
                    <a:pt x="2" y="310"/>
                  </a:lnTo>
                  <a:lnTo>
                    <a:pt x="2" y="301"/>
                  </a:lnTo>
                  <a:lnTo>
                    <a:pt x="2" y="298"/>
                  </a:lnTo>
                  <a:lnTo>
                    <a:pt x="2" y="295"/>
                  </a:lnTo>
                  <a:lnTo>
                    <a:pt x="2" y="281"/>
                  </a:lnTo>
                  <a:lnTo>
                    <a:pt x="4" y="276"/>
                  </a:lnTo>
                  <a:lnTo>
                    <a:pt x="4" y="274"/>
                  </a:lnTo>
                  <a:lnTo>
                    <a:pt x="4" y="270"/>
                  </a:lnTo>
                  <a:lnTo>
                    <a:pt x="4" y="269"/>
                  </a:lnTo>
                  <a:lnTo>
                    <a:pt x="4" y="267"/>
                  </a:lnTo>
                  <a:lnTo>
                    <a:pt x="4" y="262"/>
                  </a:lnTo>
                  <a:lnTo>
                    <a:pt x="4" y="250"/>
                  </a:lnTo>
                  <a:lnTo>
                    <a:pt x="6" y="240"/>
                  </a:lnTo>
                  <a:lnTo>
                    <a:pt x="6" y="236"/>
                  </a:lnTo>
                  <a:lnTo>
                    <a:pt x="6" y="236"/>
                  </a:lnTo>
                  <a:lnTo>
                    <a:pt x="6" y="231"/>
                  </a:lnTo>
                  <a:lnTo>
                    <a:pt x="6" y="219"/>
                  </a:lnTo>
                  <a:lnTo>
                    <a:pt x="6" y="217"/>
                  </a:lnTo>
                  <a:lnTo>
                    <a:pt x="6" y="215"/>
                  </a:lnTo>
                  <a:lnTo>
                    <a:pt x="7" y="207"/>
                  </a:lnTo>
                  <a:lnTo>
                    <a:pt x="6" y="207"/>
                  </a:lnTo>
                  <a:lnTo>
                    <a:pt x="7" y="198"/>
                  </a:lnTo>
                  <a:lnTo>
                    <a:pt x="7" y="190"/>
                  </a:lnTo>
                  <a:lnTo>
                    <a:pt x="7" y="186"/>
                  </a:lnTo>
                  <a:lnTo>
                    <a:pt x="7" y="184"/>
                  </a:lnTo>
                  <a:lnTo>
                    <a:pt x="7" y="183"/>
                  </a:lnTo>
                  <a:lnTo>
                    <a:pt x="7" y="174"/>
                  </a:lnTo>
                  <a:lnTo>
                    <a:pt x="9" y="169"/>
                  </a:lnTo>
                  <a:lnTo>
                    <a:pt x="9" y="160"/>
                  </a:lnTo>
                  <a:lnTo>
                    <a:pt x="9" y="153"/>
                  </a:lnTo>
                  <a:lnTo>
                    <a:pt x="9" y="150"/>
                  </a:lnTo>
                  <a:lnTo>
                    <a:pt x="9" y="143"/>
                  </a:lnTo>
                  <a:lnTo>
                    <a:pt x="9" y="141"/>
                  </a:lnTo>
                  <a:lnTo>
                    <a:pt x="9" y="141"/>
                  </a:lnTo>
                  <a:lnTo>
                    <a:pt x="9" y="141"/>
                  </a:lnTo>
                  <a:lnTo>
                    <a:pt x="9" y="140"/>
                  </a:lnTo>
                  <a:lnTo>
                    <a:pt x="9" y="133"/>
                  </a:lnTo>
                  <a:lnTo>
                    <a:pt x="9" y="131"/>
                  </a:lnTo>
                  <a:lnTo>
                    <a:pt x="9" y="114"/>
                  </a:lnTo>
                  <a:lnTo>
                    <a:pt x="9" y="109"/>
                  </a:lnTo>
                  <a:lnTo>
                    <a:pt x="9" y="104"/>
                  </a:lnTo>
                  <a:lnTo>
                    <a:pt x="9" y="102"/>
                  </a:lnTo>
                  <a:lnTo>
                    <a:pt x="9" y="100"/>
                  </a:lnTo>
                  <a:lnTo>
                    <a:pt x="9" y="97"/>
                  </a:lnTo>
                  <a:lnTo>
                    <a:pt x="9" y="92"/>
                  </a:lnTo>
                  <a:lnTo>
                    <a:pt x="11" y="85"/>
                  </a:lnTo>
                  <a:lnTo>
                    <a:pt x="11" y="78"/>
                  </a:lnTo>
                  <a:lnTo>
                    <a:pt x="9" y="78"/>
                  </a:lnTo>
                  <a:lnTo>
                    <a:pt x="9" y="73"/>
                  </a:lnTo>
                  <a:lnTo>
                    <a:pt x="9" y="71"/>
                  </a:lnTo>
                  <a:lnTo>
                    <a:pt x="11" y="67"/>
                  </a:lnTo>
                  <a:lnTo>
                    <a:pt x="11" y="55"/>
                  </a:lnTo>
                  <a:lnTo>
                    <a:pt x="11" y="55"/>
                  </a:lnTo>
                  <a:lnTo>
                    <a:pt x="11" y="54"/>
                  </a:lnTo>
                  <a:lnTo>
                    <a:pt x="11" y="45"/>
                  </a:lnTo>
                  <a:lnTo>
                    <a:pt x="11" y="43"/>
                  </a:lnTo>
                  <a:lnTo>
                    <a:pt x="11" y="42"/>
                  </a:lnTo>
                  <a:lnTo>
                    <a:pt x="12" y="28"/>
                  </a:lnTo>
                  <a:lnTo>
                    <a:pt x="12" y="26"/>
                  </a:lnTo>
                  <a:lnTo>
                    <a:pt x="12" y="23"/>
                  </a:lnTo>
                  <a:lnTo>
                    <a:pt x="12" y="19"/>
                  </a:lnTo>
                  <a:lnTo>
                    <a:pt x="12" y="18"/>
                  </a:lnTo>
                  <a:lnTo>
                    <a:pt x="12" y="16"/>
                  </a:lnTo>
                  <a:lnTo>
                    <a:pt x="12" y="14"/>
                  </a:lnTo>
                  <a:lnTo>
                    <a:pt x="12" y="12"/>
                  </a:lnTo>
                  <a:lnTo>
                    <a:pt x="12" y="11"/>
                  </a:lnTo>
                  <a:lnTo>
                    <a:pt x="12" y="6"/>
                  </a:lnTo>
                  <a:lnTo>
                    <a:pt x="12" y="0"/>
                  </a:lnTo>
                  <a:lnTo>
                    <a:pt x="14" y="0"/>
                  </a:lnTo>
                  <a:lnTo>
                    <a:pt x="23" y="0"/>
                  </a:lnTo>
                  <a:lnTo>
                    <a:pt x="37" y="0"/>
                  </a:lnTo>
                  <a:lnTo>
                    <a:pt x="42" y="0"/>
                  </a:lnTo>
                  <a:lnTo>
                    <a:pt x="43" y="0"/>
                  </a:lnTo>
                  <a:lnTo>
                    <a:pt x="47" y="2"/>
                  </a:lnTo>
                  <a:lnTo>
                    <a:pt x="52" y="2"/>
                  </a:lnTo>
                  <a:lnTo>
                    <a:pt x="57" y="2"/>
                  </a:lnTo>
                  <a:lnTo>
                    <a:pt x="59" y="2"/>
                  </a:lnTo>
                  <a:lnTo>
                    <a:pt x="61" y="2"/>
                  </a:lnTo>
                  <a:lnTo>
                    <a:pt x="64" y="2"/>
                  </a:lnTo>
                  <a:lnTo>
                    <a:pt x="69" y="2"/>
                  </a:lnTo>
                  <a:lnTo>
                    <a:pt x="71" y="2"/>
                  </a:lnTo>
                  <a:lnTo>
                    <a:pt x="73" y="2"/>
                  </a:lnTo>
                  <a:lnTo>
                    <a:pt x="74" y="2"/>
                  </a:lnTo>
                  <a:lnTo>
                    <a:pt x="78" y="2"/>
                  </a:lnTo>
                  <a:lnTo>
                    <a:pt x="80" y="2"/>
                  </a:lnTo>
                  <a:lnTo>
                    <a:pt x="81" y="2"/>
                  </a:lnTo>
                  <a:lnTo>
                    <a:pt x="83" y="2"/>
                  </a:lnTo>
                  <a:lnTo>
                    <a:pt x="85" y="4"/>
                  </a:lnTo>
                  <a:lnTo>
                    <a:pt x="88" y="4"/>
                  </a:lnTo>
                  <a:lnTo>
                    <a:pt x="92" y="4"/>
                  </a:lnTo>
                  <a:lnTo>
                    <a:pt x="93" y="4"/>
                  </a:lnTo>
                  <a:lnTo>
                    <a:pt x="95" y="4"/>
                  </a:lnTo>
                  <a:lnTo>
                    <a:pt x="97" y="4"/>
                  </a:lnTo>
                  <a:lnTo>
                    <a:pt x="98" y="4"/>
                  </a:lnTo>
                  <a:lnTo>
                    <a:pt x="98" y="4"/>
                  </a:lnTo>
                  <a:lnTo>
                    <a:pt x="100" y="4"/>
                  </a:lnTo>
                  <a:lnTo>
                    <a:pt x="102" y="4"/>
                  </a:lnTo>
                  <a:lnTo>
                    <a:pt x="104" y="4"/>
                  </a:lnTo>
                  <a:lnTo>
                    <a:pt x="105" y="4"/>
                  </a:lnTo>
                  <a:lnTo>
                    <a:pt x="107" y="4"/>
                  </a:lnTo>
                  <a:lnTo>
                    <a:pt x="109" y="4"/>
                  </a:lnTo>
                  <a:lnTo>
                    <a:pt x="111" y="4"/>
                  </a:lnTo>
                  <a:lnTo>
                    <a:pt x="112" y="4"/>
                  </a:lnTo>
                  <a:lnTo>
                    <a:pt x="114" y="4"/>
                  </a:lnTo>
                  <a:lnTo>
                    <a:pt x="114" y="4"/>
                  </a:lnTo>
                  <a:lnTo>
                    <a:pt x="116" y="4"/>
                  </a:lnTo>
                  <a:lnTo>
                    <a:pt x="117" y="4"/>
                  </a:lnTo>
                  <a:lnTo>
                    <a:pt x="124" y="4"/>
                  </a:lnTo>
                  <a:lnTo>
                    <a:pt x="126" y="6"/>
                  </a:lnTo>
                  <a:lnTo>
                    <a:pt x="129" y="6"/>
                  </a:lnTo>
                  <a:lnTo>
                    <a:pt x="131" y="6"/>
                  </a:lnTo>
                  <a:lnTo>
                    <a:pt x="136" y="6"/>
                  </a:lnTo>
                  <a:lnTo>
                    <a:pt x="138" y="6"/>
                  </a:lnTo>
                  <a:lnTo>
                    <a:pt x="140" y="6"/>
                  </a:lnTo>
                  <a:lnTo>
                    <a:pt x="147" y="6"/>
                  </a:lnTo>
                  <a:lnTo>
                    <a:pt x="148" y="6"/>
                  </a:lnTo>
                  <a:lnTo>
                    <a:pt x="150" y="6"/>
                  </a:lnTo>
                  <a:lnTo>
                    <a:pt x="155" y="6"/>
                  </a:lnTo>
                  <a:lnTo>
                    <a:pt x="159" y="6"/>
                  </a:lnTo>
                  <a:lnTo>
                    <a:pt x="162" y="6"/>
                  </a:lnTo>
                  <a:lnTo>
                    <a:pt x="164" y="6"/>
                  </a:lnTo>
                  <a:lnTo>
                    <a:pt x="166" y="6"/>
                  </a:lnTo>
                  <a:lnTo>
                    <a:pt x="169" y="6"/>
                  </a:lnTo>
                  <a:lnTo>
                    <a:pt x="171" y="6"/>
                  </a:lnTo>
                  <a:lnTo>
                    <a:pt x="172" y="6"/>
                  </a:lnTo>
                  <a:lnTo>
                    <a:pt x="181" y="6"/>
                  </a:lnTo>
                  <a:lnTo>
                    <a:pt x="186" y="6"/>
                  </a:lnTo>
                  <a:lnTo>
                    <a:pt x="186" y="7"/>
                  </a:lnTo>
                  <a:lnTo>
                    <a:pt x="191" y="7"/>
                  </a:lnTo>
                  <a:lnTo>
                    <a:pt x="193" y="7"/>
                  </a:lnTo>
                  <a:lnTo>
                    <a:pt x="203" y="7"/>
                  </a:lnTo>
                  <a:lnTo>
                    <a:pt x="205" y="7"/>
                  </a:lnTo>
                  <a:lnTo>
                    <a:pt x="207" y="7"/>
                  </a:lnTo>
                  <a:lnTo>
                    <a:pt x="209" y="7"/>
                  </a:lnTo>
                  <a:lnTo>
                    <a:pt x="214" y="7"/>
                  </a:lnTo>
                  <a:lnTo>
                    <a:pt x="221" y="7"/>
                  </a:lnTo>
                  <a:lnTo>
                    <a:pt x="222" y="7"/>
                  </a:lnTo>
                  <a:lnTo>
                    <a:pt x="224" y="7"/>
                  </a:lnTo>
                  <a:lnTo>
                    <a:pt x="226" y="7"/>
                  </a:lnTo>
                  <a:lnTo>
                    <a:pt x="227" y="7"/>
                  </a:lnTo>
                  <a:lnTo>
                    <a:pt x="234" y="7"/>
                  </a:lnTo>
                  <a:lnTo>
                    <a:pt x="240" y="9"/>
                  </a:lnTo>
                  <a:lnTo>
                    <a:pt x="248" y="9"/>
                  </a:lnTo>
                  <a:lnTo>
                    <a:pt x="250" y="9"/>
                  </a:lnTo>
                  <a:lnTo>
                    <a:pt x="250" y="9"/>
                  </a:lnTo>
                  <a:lnTo>
                    <a:pt x="252" y="9"/>
                  </a:lnTo>
                  <a:lnTo>
                    <a:pt x="255" y="9"/>
                  </a:lnTo>
                  <a:lnTo>
                    <a:pt x="258" y="9"/>
                  </a:lnTo>
                  <a:lnTo>
                    <a:pt x="262" y="9"/>
                  </a:lnTo>
                  <a:lnTo>
                    <a:pt x="264" y="9"/>
                  </a:lnTo>
                  <a:lnTo>
                    <a:pt x="269" y="9"/>
                  </a:lnTo>
                  <a:lnTo>
                    <a:pt x="279" y="11"/>
                  </a:lnTo>
                  <a:lnTo>
                    <a:pt x="283" y="11"/>
                  </a:lnTo>
                  <a:lnTo>
                    <a:pt x="288" y="11"/>
                  </a:lnTo>
                  <a:lnTo>
                    <a:pt x="293" y="11"/>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8" name="Freeform 245"/>
            <p:cNvSpPr>
              <a:spLocks/>
            </p:cNvSpPr>
            <p:nvPr/>
          </p:nvSpPr>
          <p:spPr bwMode="auto">
            <a:xfrm>
              <a:off x="4819740" y="5516582"/>
              <a:ext cx="541338" cy="390525"/>
            </a:xfrm>
            <a:custGeom>
              <a:avLst/>
              <a:gdLst/>
              <a:ahLst/>
              <a:cxnLst>
                <a:cxn ang="0">
                  <a:pos x="35" y="0"/>
                </a:cxn>
                <a:cxn ang="0">
                  <a:pos x="80" y="1"/>
                </a:cxn>
                <a:cxn ang="0">
                  <a:pos x="105" y="3"/>
                </a:cxn>
                <a:cxn ang="0">
                  <a:pos x="124" y="3"/>
                </a:cxn>
                <a:cxn ang="0">
                  <a:pos x="160" y="5"/>
                </a:cxn>
                <a:cxn ang="0">
                  <a:pos x="181" y="5"/>
                </a:cxn>
                <a:cxn ang="0">
                  <a:pos x="203" y="5"/>
                </a:cxn>
                <a:cxn ang="0">
                  <a:pos x="252" y="6"/>
                </a:cxn>
                <a:cxn ang="0">
                  <a:pos x="277" y="8"/>
                </a:cxn>
                <a:cxn ang="0">
                  <a:pos x="301" y="8"/>
                </a:cxn>
                <a:cxn ang="0">
                  <a:pos x="329" y="8"/>
                </a:cxn>
                <a:cxn ang="0">
                  <a:pos x="341" y="24"/>
                </a:cxn>
                <a:cxn ang="0">
                  <a:pos x="339" y="48"/>
                </a:cxn>
                <a:cxn ang="0">
                  <a:pos x="339" y="56"/>
                </a:cxn>
                <a:cxn ang="0">
                  <a:pos x="339" y="68"/>
                </a:cxn>
                <a:cxn ang="0">
                  <a:pos x="339" y="77"/>
                </a:cxn>
                <a:cxn ang="0">
                  <a:pos x="339" y="87"/>
                </a:cxn>
                <a:cxn ang="0">
                  <a:pos x="339" y="99"/>
                </a:cxn>
                <a:cxn ang="0">
                  <a:pos x="339" y="110"/>
                </a:cxn>
                <a:cxn ang="0">
                  <a:pos x="339" y="123"/>
                </a:cxn>
                <a:cxn ang="0">
                  <a:pos x="338" y="142"/>
                </a:cxn>
                <a:cxn ang="0">
                  <a:pos x="338" y="151"/>
                </a:cxn>
                <a:cxn ang="0">
                  <a:pos x="338" y="175"/>
                </a:cxn>
                <a:cxn ang="0">
                  <a:pos x="338" y="191"/>
                </a:cxn>
                <a:cxn ang="0">
                  <a:pos x="338" y="215"/>
                </a:cxn>
                <a:cxn ang="0">
                  <a:pos x="336" y="235"/>
                </a:cxn>
                <a:cxn ang="0">
                  <a:pos x="329" y="246"/>
                </a:cxn>
                <a:cxn ang="0">
                  <a:pos x="319" y="246"/>
                </a:cxn>
                <a:cxn ang="0">
                  <a:pos x="298" y="246"/>
                </a:cxn>
                <a:cxn ang="0">
                  <a:pos x="279" y="246"/>
                </a:cxn>
                <a:cxn ang="0">
                  <a:pos x="264" y="246"/>
                </a:cxn>
                <a:cxn ang="0">
                  <a:pos x="246" y="246"/>
                </a:cxn>
                <a:cxn ang="0">
                  <a:pos x="229" y="246"/>
                </a:cxn>
                <a:cxn ang="0">
                  <a:pos x="210" y="246"/>
                </a:cxn>
                <a:cxn ang="0">
                  <a:pos x="188" y="246"/>
                </a:cxn>
                <a:cxn ang="0">
                  <a:pos x="171" y="246"/>
                </a:cxn>
                <a:cxn ang="0">
                  <a:pos x="140" y="246"/>
                </a:cxn>
                <a:cxn ang="0">
                  <a:pos x="123" y="246"/>
                </a:cxn>
                <a:cxn ang="0">
                  <a:pos x="93" y="246"/>
                </a:cxn>
                <a:cxn ang="0">
                  <a:pos x="64" y="246"/>
                </a:cxn>
                <a:cxn ang="0">
                  <a:pos x="16" y="246"/>
                </a:cxn>
                <a:cxn ang="0">
                  <a:pos x="0" y="244"/>
                </a:cxn>
                <a:cxn ang="0">
                  <a:pos x="0" y="225"/>
                </a:cxn>
                <a:cxn ang="0">
                  <a:pos x="2" y="215"/>
                </a:cxn>
                <a:cxn ang="0">
                  <a:pos x="2" y="204"/>
                </a:cxn>
                <a:cxn ang="0">
                  <a:pos x="2" y="187"/>
                </a:cxn>
                <a:cxn ang="0">
                  <a:pos x="2" y="172"/>
                </a:cxn>
                <a:cxn ang="0">
                  <a:pos x="4" y="144"/>
                </a:cxn>
                <a:cxn ang="0">
                  <a:pos x="4" y="122"/>
                </a:cxn>
                <a:cxn ang="0">
                  <a:pos x="4" y="103"/>
                </a:cxn>
                <a:cxn ang="0">
                  <a:pos x="4" y="91"/>
                </a:cxn>
                <a:cxn ang="0">
                  <a:pos x="6" y="67"/>
                </a:cxn>
                <a:cxn ang="0">
                  <a:pos x="6" y="36"/>
                </a:cxn>
                <a:cxn ang="0">
                  <a:pos x="7" y="17"/>
                </a:cxn>
              </a:cxnLst>
              <a:rect l="0" t="0" r="r" b="b"/>
              <a:pathLst>
                <a:path w="341" h="246">
                  <a:moveTo>
                    <a:pt x="7" y="0"/>
                  </a:moveTo>
                  <a:lnTo>
                    <a:pt x="16" y="0"/>
                  </a:lnTo>
                  <a:lnTo>
                    <a:pt x="23" y="0"/>
                  </a:lnTo>
                  <a:lnTo>
                    <a:pt x="25" y="0"/>
                  </a:lnTo>
                  <a:lnTo>
                    <a:pt x="28" y="0"/>
                  </a:lnTo>
                  <a:lnTo>
                    <a:pt x="35" y="0"/>
                  </a:lnTo>
                  <a:lnTo>
                    <a:pt x="37" y="1"/>
                  </a:lnTo>
                  <a:lnTo>
                    <a:pt x="42" y="1"/>
                  </a:lnTo>
                  <a:lnTo>
                    <a:pt x="45" y="1"/>
                  </a:lnTo>
                  <a:lnTo>
                    <a:pt x="49" y="1"/>
                  </a:lnTo>
                  <a:lnTo>
                    <a:pt x="55" y="1"/>
                  </a:lnTo>
                  <a:lnTo>
                    <a:pt x="80" y="1"/>
                  </a:lnTo>
                  <a:lnTo>
                    <a:pt x="81" y="1"/>
                  </a:lnTo>
                  <a:lnTo>
                    <a:pt x="83" y="1"/>
                  </a:lnTo>
                  <a:lnTo>
                    <a:pt x="86" y="1"/>
                  </a:lnTo>
                  <a:lnTo>
                    <a:pt x="93" y="3"/>
                  </a:lnTo>
                  <a:lnTo>
                    <a:pt x="100" y="3"/>
                  </a:lnTo>
                  <a:lnTo>
                    <a:pt x="105" y="3"/>
                  </a:lnTo>
                  <a:lnTo>
                    <a:pt x="109" y="3"/>
                  </a:lnTo>
                  <a:lnTo>
                    <a:pt x="119" y="3"/>
                  </a:lnTo>
                  <a:lnTo>
                    <a:pt x="121" y="3"/>
                  </a:lnTo>
                  <a:lnTo>
                    <a:pt x="123" y="3"/>
                  </a:lnTo>
                  <a:lnTo>
                    <a:pt x="124" y="3"/>
                  </a:lnTo>
                  <a:lnTo>
                    <a:pt x="124" y="3"/>
                  </a:lnTo>
                  <a:lnTo>
                    <a:pt x="148" y="3"/>
                  </a:lnTo>
                  <a:lnTo>
                    <a:pt x="150" y="3"/>
                  </a:lnTo>
                  <a:lnTo>
                    <a:pt x="152" y="5"/>
                  </a:lnTo>
                  <a:lnTo>
                    <a:pt x="154" y="5"/>
                  </a:lnTo>
                  <a:lnTo>
                    <a:pt x="155" y="5"/>
                  </a:lnTo>
                  <a:lnTo>
                    <a:pt x="160" y="5"/>
                  </a:lnTo>
                  <a:lnTo>
                    <a:pt x="162" y="5"/>
                  </a:lnTo>
                  <a:lnTo>
                    <a:pt x="169" y="5"/>
                  </a:lnTo>
                  <a:lnTo>
                    <a:pt x="169" y="5"/>
                  </a:lnTo>
                  <a:lnTo>
                    <a:pt x="178" y="5"/>
                  </a:lnTo>
                  <a:lnTo>
                    <a:pt x="179" y="5"/>
                  </a:lnTo>
                  <a:lnTo>
                    <a:pt x="181" y="5"/>
                  </a:lnTo>
                  <a:lnTo>
                    <a:pt x="183" y="5"/>
                  </a:lnTo>
                  <a:lnTo>
                    <a:pt x="186" y="5"/>
                  </a:lnTo>
                  <a:lnTo>
                    <a:pt x="193" y="5"/>
                  </a:lnTo>
                  <a:lnTo>
                    <a:pt x="197" y="5"/>
                  </a:lnTo>
                  <a:lnTo>
                    <a:pt x="198" y="5"/>
                  </a:lnTo>
                  <a:lnTo>
                    <a:pt x="203" y="5"/>
                  </a:lnTo>
                  <a:lnTo>
                    <a:pt x="207" y="5"/>
                  </a:lnTo>
                  <a:lnTo>
                    <a:pt x="217" y="6"/>
                  </a:lnTo>
                  <a:lnTo>
                    <a:pt x="219" y="6"/>
                  </a:lnTo>
                  <a:lnTo>
                    <a:pt x="238" y="6"/>
                  </a:lnTo>
                  <a:lnTo>
                    <a:pt x="241" y="6"/>
                  </a:lnTo>
                  <a:lnTo>
                    <a:pt x="252" y="6"/>
                  </a:lnTo>
                  <a:lnTo>
                    <a:pt x="255" y="6"/>
                  </a:lnTo>
                  <a:lnTo>
                    <a:pt x="264" y="6"/>
                  </a:lnTo>
                  <a:lnTo>
                    <a:pt x="265" y="6"/>
                  </a:lnTo>
                  <a:lnTo>
                    <a:pt x="272" y="8"/>
                  </a:lnTo>
                  <a:lnTo>
                    <a:pt x="274" y="8"/>
                  </a:lnTo>
                  <a:lnTo>
                    <a:pt x="277" y="8"/>
                  </a:lnTo>
                  <a:lnTo>
                    <a:pt x="286" y="8"/>
                  </a:lnTo>
                  <a:lnTo>
                    <a:pt x="288" y="8"/>
                  </a:lnTo>
                  <a:lnTo>
                    <a:pt x="291" y="8"/>
                  </a:lnTo>
                  <a:lnTo>
                    <a:pt x="298" y="8"/>
                  </a:lnTo>
                  <a:lnTo>
                    <a:pt x="300" y="8"/>
                  </a:lnTo>
                  <a:lnTo>
                    <a:pt x="301" y="8"/>
                  </a:lnTo>
                  <a:lnTo>
                    <a:pt x="305" y="8"/>
                  </a:lnTo>
                  <a:lnTo>
                    <a:pt x="308" y="8"/>
                  </a:lnTo>
                  <a:lnTo>
                    <a:pt x="310" y="8"/>
                  </a:lnTo>
                  <a:lnTo>
                    <a:pt x="326" y="8"/>
                  </a:lnTo>
                  <a:lnTo>
                    <a:pt x="327" y="8"/>
                  </a:lnTo>
                  <a:lnTo>
                    <a:pt x="329" y="8"/>
                  </a:lnTo>
                  <a:lnTo>
                    <a:pt x="331" y="8"/>
                  </a:lnTo>
                  <a:lnTo>
                    <a:pt x="332" y="8"/>
                  </a:lnTo>
                  <a:lnTo>
                    <a:pt x="341" y="8"/>
                  </a:lnTo>
                  <a:lnTo>
                    <a:pt x="341" y="10"/>
                  </a:lnTo>
                  <a:lnTo>
                    <a:pt x="341" y="13"/>
                  </a:lnTo>
                  <a:lnTo>
                    <a:pt x="341" y="24"/>
                  </a:lnTo>
                  <a:lnTo>
                    <a:pt x="341" y="25"/>
                  </a:lnTo>
                  <a:lnTo>
                    <a:pt x="341" y="27"/>
                  </a:lnTo>
                  <a:lnTo>
                    <a:pt x="341" y="32"/>
                  </a:lnTo>
                  <a:lnTo>
                    <a:pt x="341" y="34"/>
                  </a:lnTo>
                  <a:lnTo>
                    <a:pt x="339" y="39"/>
                  </a:lnTo>
                  <a:lnTo>
                    <a:pt x="339" y="48"/>
                  </a:lnTo>
                  <a:lnTo>
                    <a:pt x="339" y="49"/>
                  </a:lnTo>
                  <a:lnTo>
                    <a:pt x="339" y="51"/>
                  </a:lnTo>
                  <a:lnTo>
                    <a:pt x="339" y="53"/>
                  </a:lnTo>
                  <a:lnTo>
                    <a:pt x="339" y="55"/>
                  </a:lnTo>
                  <a:lnTo>
                    <a:pt x="339" y="55"/>
                  </a:lnTo>
                  <a:lnTo>
                    <a:pt x="339" y="56"/>
                  </a:lnTo>
                  <a:lnTo>
                    <a:pt x="339" y="58"/>
                  </a:lnTo>
                  <a:lnTo>
                    <a:pt x="339" y="60"/>
                  </a:lnTo>
                  <a:lnTo>
                    <a:pt x="339" y="61"/>
                  </a:lnTo>
                  <a:lnTo>
                    <a:pt x="339" y="63"/>
                  </a:lnTo>
                  <a:lnTo>
                    <a:pt x="339" y="67"/>
                  </a:lnTo>
                  <a:lnTo>
                    <a:pt x="339" y="68"/>
                  </a:lnTo>
                  <a:lnTo>
                    <a:pt x="339" y="68"/>
                  </a:lnTo>
                  <a:lnTo>
                    <a:pt x="339" y="70"/>
                  </a:lnTo>
                  <a:lnTo>
                    <a:pt x="339" y="72"/>
                  </a:lnTo>
                  <a:lnTo>
                    <a:pt x="339" y="74"/>
                  </a:lnTo>
                  <a:lnTo>
                    <a:pt x="339" y="75"/>
                  </a:lnTo>
                  <a:lnTo>
                    <a:pt x="339" y="77"/>
                  </a:lnTo>
                  <a:lnTo>
                    <a:pt x="339" y="79"/>
                  </a:lnTo>
                  <a:lnTo>
                    <a:pt x="339" y="80"/>
                  </a:lnTo>
                  <a:lnTo>
                    <a:pt x="339" y="82"/>
                  </a:lnTo>
                  <a:lnTo>
                    <a:pt x="339" y="84"/>
                  </a:lnTo>
                  <a:lnTo>
                    <a:pt x="339" y="86"/>
                  </a:lnTo>
                  <a:lnTo>
                    <a:pt x="339" y="87"/>
                  </a:lnTo>
                  <a:lnTo>
                    <a:pt x="339" y="89"/>
                  </a:lnTo>
                  <a:lnTo>
                    <a:pt x="339" y="91"/>
                  </a:lnTo>
                  <a:lnTo>
                    <a:pt x="339" y="92"/>
                  </a:lnTo>
                  <a:lnTo>
                    <a:pt x="339" y="96"/>
                  </a:lnTo>
                  <a:lnTo>
                    <a:pt x="339" y="98"/>
                  </a:lnTo>
                  <a:lnTo>
                    <a:pt x="339" y="99"/>
                  </a:lnTo>
                  <a:lnTo>
                    <a:pt x="339" y="99"/>
                  </a:lnTo>
                  <a:lnTo>
                    <a:pt x="339" y="101"/>
                  </a:lnTo>
                  <a:lnTo>
                    <a:pt x="339" y="103"/>
                  </a:lnTo>
                  <a:lnTo>
                    <a:pt x="339" y="105"/>
                  </a:lnTo>
                  <a:lnTo>
                    <a:pt x="339" y="106"/>
                  </a:lnTo>
                  <a:lnTo>
                    <a:pt x="339" y="110"/>
                  </a:lnTo>
                  <a:lnTo>
                    <a:pt x="339" y="111"/>
                  </a:lnTo>
                  <a:lnTo>
                    <a:pt x="339" y="115"/>
                  </a:lnTo>
                  <a:lnTo>
                    <a:pt x="339" y="117"/>
                  </a:lnTo>
                  <a:lnTo>
                    <a:pt x="339" y="120"/>
                  </a:lnTo>
                  <a:lnTo>
                    <a:pt x="339" y="122"/>
                  </a:lnTo>
                  <a:lnTo>
                    <a:pt x="339" y="123"/>
                  </a:lnTo>
                  <a:lnTo>
                    <a:pt x="338" y="129"/>
                  </a:lnTo>
                  <a:lnTo>
                    <a:pt x="338" y="130"/>
                  </a:lnTo>
                  <a:lnTo>
                    <a:pt x="338" y="134"/>
                  </a:lnTo>
                  <a:lnTo>
                    <a:pt x="338" y="135"/>
                  </a:lnTo>
                  <a:lnTo>
                    <a:pt x="338" y="139"/>
                  </a:lnTo>
                  <a:lnTo>
                    <a:pt x="338" y="142"/>
                  </a:lnTo>
                  <a:lnTo>
                    <a:pt x="338" y="144"/>
                  </a:lnTo>
                  <a:lnTo>
                    <a:pt x="338" y="144"/>
                  </a:lnTo>
                  <a:lnTo>
                    <a:pt x="338" y="146"/>
                  </a:lnTo>
                  <a:lnTo>
                    <a:pt x="338" y="148"/>
                  </a:lnTo>
                  <a:lnTo>
                    <a:pt x="338" y="149"/>
                  </a:lnTo>
                  <a:lnTo>
                    <a:pt x="338" y="151"/>
                  </a:lnTo>
                  <a:lnTo>
                    <a:pt x="338" y="158"/>
                  </a:lnTo>
                  <a:lnTo>
                    <a:pt x="338" y="163"/>
                  </a:lnTo>
                  <a:lnTo>
                    <a:pt x="338" y="168"/>
                  </a:lnTo>
                  <a:lnTo>
                    <a:pt x="338" y="170"/>
                  </a:lnTo>
                  <a:lnTo>
                    <a:pt x="338" y="173"/>
                  </a:lnTo>
                  <a:lnTo>
                    <a:pt x="338" y="175"/>
                  </a:lnTo>
                  <a:lnTo>
                    <a:pt x="338" y="178"/>
                  </a:lnTo>
                  <a:lnTo>
                    <a:pt x="338" y="182"/>
                  </a:lnTo>
                  <a:lnTo>
                    <a:pt x="338" y="187"/>
                  </a:lnTo>
                  <a:lnTo>
                    <a:pt x="338" y="189"/>
                  </a:lnTo>
                  <a:lnTo>
                    <a:pt x="338" y="189"/>
                  </a:lnTo>
                  <a:lnTo>
                    <a:pt x="338" y="191"/>
                  </a:lnTo>
                  <a:lnTo>
                    <a:pt x="338" y="194"/>
                  </a:lnTo>
                  <a:lnTo>
                    <a:pt x="338" y="196"/>
                  </a:lnTo>
                  <a:lnTo>
                    <a:pt x="338" y="201"/>
                  </a:lnTo>
                  <a:lnTo>
                    <a:pt x="338" y="203"/>
                  </a:lnTo>
                  <a:lnTo>
                    <a:pt x="338" y="209"/>
                  </a:lnTo>
                  <a:lnTo>
                    <a:pt x="338" y="215"/>
                  </a:lnTo>
                  <a:lnTo>
                    <a:pt x="338" y="220"/>
                  </a:lnTo>
                  <a:lnTo>
                    <a:pt x="336" y="221"/>
                  </a:lnTo>
                  <a:lnTo>
                    <a:pt x="336" y="225"/>
                  </a:lnTo>
                  <a:lnTo>
                    <a:pt x="336" y="227"/>
                  </a:lnTo>
                  <a:lnTo>
                    <a:pt x="336" y="230"/>
                  </a:lnTo>
                  <a:lnTo>
                    <a:pt x="336" y="235"/>
                  </a:lnTo>
                  <a:lnTo>
                    <a:pt x="336" y="235"/>
                  </a:lnTo>
                  <a:lnTo>
                    <a:pt x="336" y="239"/>
                  </a:lnTo>
                  <a:lnTo>
                    <a:pt x="336" y="240"/>
                  </a:lnTo>
                  <a:lnTo>
                    <a:pt x="336" y="244"/>
                  </a:lnTo>
                  <a:lnTo>
                    <a:pt x="336" y="246"/>
                  </a:lnTo>
                  <a:lnTo>
                    <a:pt x="329" y="246"/>
                  </a:lnTo>
                  <a:lnTo>
                    <a:pt x="327" y="246"/>
                  </a:lnTo>
                  <a:lnTo>
                    <a:pt x="326" y="246"/>
                  </a:lnTo>
                  <a:lnTo>
                    <a:pt x="324" y="246"/>
                  </a:lnTo>
                  <a:lnTo>
                    <a:pt x="320" y="246"/>
                  </a:lnTo>
                  <a:lnTo>
                    <a:pt x="320" y="246"/>
                  </a:lnTo>
                  <a:lnTo>
                    <a:pt x="319" y="246"/>
                  </a:lnTo>
                  <a:lnTo>
                    <a:pt x="317" y="246"/>
                  </a:lnTo>
                  <a:lnTo>
                    <a:pt x="313" y="246"/>
                  </a:lnTo>
                  <a:lnTo>
                    <a:pt x="312" y="246"/>
                  </a:lnTo>
                  <a:lnTo>
                    <a:pt x="310" y="246"/>
                  </a:lnTo>
                  <a:lnTo>
                    <a:pt x="305" y="246"/>
                  </a:lnTo>
                  <a:lnTo>
                    <a:pt x="298" y="246"/>
                  </a:lnTo>
                  <a:lnTo>
                    <a:pt x="296" y="246"/>
                  </a:lnTo>
                  <a:lnTo>
                    <a:pt x="295" y="246"/>
                  </a:lnTo>
                  <a:lnTo>
                    <a:pt x="289" y="246"/>
                  </a:lnTo>
                  <a:lnTo>
                    <a:pt x="288" y="246"/>
                  </a:lnTo>
                  <a:lnTo>
                    <a:pt x="286" y="246"/>
                  </a:lnTo>
                  <a:lnTo>
                    <a:pt x="279" y="246"/>
                  </a:lnTo>
                  <a:lnTo>
                    <a:pt x="276" y="246"/>
                  </a:lnTo>
                  <a:lnTo>
                    <a:pt x="274" y="246"/>
                  </a:lnTo>
                  <a:lnTo>
                    <a:pt x="269" y="246"/>
                  </a:lnTo>
                  <a:lnTo>
                    <a:pt x="267" y="246"/>
                  </a:lnTo>
                  <a:lnTo>
                    <a:pt x="265" y="246"/>
                  </a:lnTo>
                  <a:lnTo>
                    <a:pt x="264" y="246"/>
                  </a:lnTo>
                  <a:lnTo>
                    <a:pt x="262" y="246"/>
                  </a:lnTo>
                  <a:lnTo>
                    <a:pt x="260" y="246"/>
                  </a:lnTo>
                  <a:lnTo>
                    <a:pt x="257" y="246"/>
                  </a:lnTo>
                  <a:lnTo>
                    <a:pt x="250" y="246"/>
                  </a:lnTo>
                  <a:lnTo>
                    <a:pt x="248" y="246"/>
                  </a:lnTo>
                  <a:lnTo>
                    <a:pt x="246" y="246"/>
                  </a:lnTo>
                  <a:lnTo>
                    <a:pt x="245" y="246"/>
                  </a:lnTo>
                  <a:lnTo>
                    <a:pt x="240" y="246"/>
                  </a:lnTo>
                  <a:lnTo>
                    <a:pt x="236" y="246"/>
                  </a:lnTo>
                  <a:lnTo>
                    <a:pt x="234" y="246"/>
                  </a:lnTo>
                  <a:lnTo>
                    <a:pt x="231" y="246"/>
                  </a:lnTo>
                  <a:lnTo>
                    <a:pt x="229" y="246"/>
                  </a:lnTo>
                  <a:lnTo>
                    <a:pt x="224" y="246"/>
                  </a:lnTo>
                  <a:lnTo>
                    <a:pt x="219" y="246"/>
                  </a:lnTo>
                  <a:lnTo>
                    <a:pt x="217" y="246"/>
                  </a:lnTo>
                  <a:lnTo>
                    <a:pt x="214" y="246"/>
                  </a:lnTo>
                  <a:lnTo>
                    <a:pt x="214" y="246"/>
                  </a:lnTo>
                  <a:lnTo>
                    <a:pt x="210" y="246"/>
                  </a:lnTo>
                  <a:lnTo>
                    <a:pt x="209" y="246"/>
                  </a:lnTo>
                  <a:lnTo>
                    <a:pt x="205" y="246"/>
                  </a:lnTo>
                  <a:lnTo>
                    <a:pt x="198" y="246"/>
                  </a:lnTo>
                  <a:lnTo>
                    <a:pt x="197" y="246"/>
                  </a:lnTo>
                  <a:lnTo>
                    <a:pt x="190" y="246"/>
                  </a:lnTo>
                  <a:lnTo>
                    <a:pt x="188" y="246"/>
                  </a:lnTo>
                  <a:lnTo>
                    <a:pt x="186" y="246"/>
                  </a:lnTo>
                  <a:lnTo>
                    <a:pt x="184" y="246"/>
                  </a:lnTo>
                  <a:lnTo>
                    <a:pt x="181" y="246"/>
                  </a:lnTo>
                  <a:lnTo>
                    <a:pt x="179" y="246"/>
                  </a:lnTo>
                  <a:lnTo>
                    <a:pt x="172" y="246"/>
                  </a:lnTo>
                  <a:lnTo>
                    <a:pt x="171" y="246"/>
                  </a:lnTo>
                  <a:lnTo>
                    <a:pt x="167" y="246"/>
                  </a:lnTo>
                  <a:lnTo>
                    <a:pt x="164" y="246"/>
                  </a:lnTo>
                  <a:lnTo>
                    <a:pt x="154" y="246"/>
                  </a:lnTo>
                  <a:lnTo>
                    <a:pt x="152" y="246"/>
                  </a:lnTo>
                  <a:lnTo>
                    <a:pt x="141" y="246"/>
                  </a:lnTo>
                  <a:lnTo>
                    <a:pt x="140" y="246"/>
                  </a:lnTo>
                  <a:lnTo>
                    <a:pt x="140" y="246"/>
                  </a:lnTo>
                  <a:lnTo>
                    <a:pt x="136" y="246"/>
                  </a:lnTo>
                  <a:lnTo>
                    <a:pt x="133" y="246"/>
                  </a:lnTo>
                  <a:lnTo>
                    <a:pt x="129" y="246"/>
                  </a:lnTo>
                  <a:lnTo>
                    <a:pt x="128" y="246"/>
                  </a:lnTo>
                  <a:lnTo>
                    <a:pt x="123" y="246"/>
                  </a:lnTo>
                  <a:lnTo>
                    <a:pt x="117" y="246"/>
                  </a:lnTo>
                  <a:lnTo>
                    <a:pt x="112" y="246"/>
                  </a:lnTo>
                  <a:lnTo>
                    <a:pt x="102" y="246"/>
                  </a:lnTo>
                  <a:lnTo>
                    <a:pt x="98" y="246"/>
                  </a:lnTo>
                  <a:lnTo>
                    <a:pt x="95" y="246"/>
                  </a:lnTo>
                  <a:lnTo>
                    <a:pt x="93" y="246"/>
                  </a:lnTo>
                  <a:lnTo>
                    <a:pt x="86" y="246"/>
                  </a:lnTo>
                  <a:lnTo>
                    <a:pt x="83" y="246"/>
                  </a:lnTo>
                  <a:lnTo>
                    <a:pt x="80" y="246"/>
                  </a:lnTo>
                  <a:lnTo>
                    <a:pt x="78" y="246"/>
                  </a:lnTo>
                  <a:lnTo>
                    <a:pt x="69" y="246"/>
                  </a:lnTo>
                  <a:lnTo>
                    <a:pt x="64" y="246"/>
                  </a:lnTo>
                  <a:lnTo>
                    <a:pt x="59" y="246"/>
                  </a:lnTo>
                  <a:lnTo>
                    <a:pt x="54" y="246"/>
                  </a:lnTo>
                  <a:lnTo>
                    <a:pt x="47" y="246"/>
                  </a:lnTo>
                  <a:lnTo>
                    <a:pt x="40" y="246"/>
                  </a:lnTo>
                  <a:lnTo>
                    <a:pt x="33" y="246"/>
                  </a:lnTo>
                  <a:lnTo>
                    <a:pt x="16" y="246"/>
                  </a:lnTo>
                  <a:lnTo>
                    <a:pt x="14" y="246"/>
                  </a:lnTo>
                  <a:lnTo>
                    <a:pt x="12" y="246"/>
                  </a:lnTo>
                  <a:lnTo>
                    <a:pt x="4" y="246"/>
                  </a:lnTo>
                  <a:lnTo>
                    <a:pt x="4" y="246"/>
                  </a:lnTo>
                  <a:lnTo>
                    <a:pt x="0" y="246"/>
                  </a:lnTo>
                  <a:lnTo>
                    <a:pt x="0" y="244"/>
                  </a:lnTo>
                  <a:lnTo>
                    <a:pt x="0" y="239"/>
                  </a:lnTo>
                  <a:lnTo>
                    <a:pt x="0" y="237"/>
                  </a:lnTo>
                  <a:lnTo>
                    <a:pt x="0" y="234"/>
                  </a:lnTo>
                  <a:lnTo>
                    <a:pt x="0" y="230"/>
                  </a:lnTo>
                  <a:lnTo>
                    <a:pt x="0" y="228"/>
                  </a:lnTo>
                  <a:lnTo>
                    <a:pt x="0" y="225"/>
                  </a:lnTo>
                  <a:lnTo>
                    <a:pt x="0" y="220"/>
                  </a:lnTo>
                  <a:lnTo>
                    <a:pt x="0" y="220"/>
                  </a:lnTo>
                  <a:lnTo>
                    <a:pt x="2" y="220"/>
                  </a:lnTo>
                  <a:lnTo>
                    <a:pt x="2" y="218"/>
                  </a:lnTo>
                  <a:lnTo>
                    <a:pt x="2" y="216"/>
                  </a:lnTo>
                  <a:lnTo>
                    <a:pt x="2" y="215"/>
                  </a:lnTo>
                  <a:lnTo>
                    <a:pt x="2" y="213"/>
                  </a:lnTo>
                  <a:lnTo>
                    <a:pt x="2" y="211"/>
                  </a:lnTo>
                  <a:lnTo>
                    <a:pt x="2" y="208"/>
                  </a:lnTo>
                  <a:lnTo>
                    <a:pt x="2" y="206"/>
                  </a:lnTo>
                  <a:lnTo>
                    <a:pt x="2" y="204"/>
                  </a:lnTo>
                  <a:lnTo>
                    <a:pt x="2" y="204"/>
                  </a:lnTo>
                  <a:lnTo>
                    <a:pt x="2" y="201"/>
                  </a:lnTo>
                  <a:lnTo>
                    <a:pt x="2" y="199"/>
                  </a:lnTo>
                  <a:lnTo>
                    <a:pt x="2" y="194"/>
                  </a:lnTo>
                  <a:lnTo>
                    <a:pt x="2" y="191"/>
                  </a:lnTo>
                  <a:lnTo>
                    <a:pt x="2" y="189"/>
                  </a:lnTo>
                  <a:lnTo>
                    <a:pt x="2" y="187"/>
                  </a:lnTo>
                  <a:lnTo>
                    <a:pt x="2" y="180"/>
                  </a:lnTo>
                  <a:lnTo>
                    <a:pt x="2" y="178"/>
                  </a:lnTo>
                  <a:lnTo>
                    <a:pt x="2" y="177"/>
                  </a:lnTo>
                  <a:lnTo>
                    <a:pt x="2" y="175"/>
                  </a:lnTo>
                  <a:lnTo>
                    <a:pt x="2" y="173"/>
                  </a:lnTo>
                  <a:lnTo>
                    <a:pt x="2" y="172"/>
                  </a:lnTo>
                  <a:lnTo>
                    <a:pt x="2" y="170"/>
                  </a:lnTo>
                  <a:lnTo>
                    <a:pt x="2" y="163"/>
                  </a:lnTo>
                  <a:lnTo>
                    <a:pt x="2" y="161"/>
                  </a:lnTo>
                  <a:lnTo>
                    <a:pt x="4" y="151"/>
                  </a:lnTo>
                  <a:lnTo>
                    <a:pt x="4" y="148"/>
                  </a:lnTo>
                  <a:lnTo>
                    <a:pt x="4" y="144"/>
                  </a:lnTo>
                  <a:lnTo>
                    <a:pt x="4" y="144"/>
                  </a:lnTo>
                  <a:lnTo>
                    <a:pt x="4" y="139"/>
                  </a:lnTo>
                  <a:lnTo>
                    <a:pt x="4" y="135"/>
                  </a:lnTo>
                  <a:lnTo>
                    <a:pt x="4" y="132"/>
                  </a:lnTo>
                  <a:lnTo>
                    <a:pt x="4" y="129"/>
                  </a:lnTo>
                  <a:lnTo>
                    <a:pt x="4" y="122"/>
                  </a:lnTo>
                  <a:lnTo>
                    <a:pt x="4" y="115"/>
                  </a:lnTo>
                  <a:lnTo>
                    <a:pt x="4" y="111"/>
                  </a:lnTo>
                  <a:lnTo>
                    <a:pt x="4" y="110"/>
                  </a:lnTo>
                  <a:lnTo>
                    <a:pt x="4" y="108"/>
                  </a:lnTo>
                  <a:lnTo>
                    <a:pt x="4" y="105"/>
                  </a:lnTo>
                  <a:lnTo>
                    <a:pt x="4" y="103"/>
                  </a:lnTo>
                  <a:lnTo>
                    <a:pt x="4" y="101"/>
                  </a:lnTo>
                  <a:lnTo>
                    <a:pt x="4" y="99"/>
                  </a:lnTo>
                  <a:lnTo>
                    <a:pt x="4" y="98"/>
                  </a:lnTo>
                  <a:lnTo>
                    <a:pt x="4" y="96"/>
                  </a:lnTo>
                  <a:lnTo>
                    <a:pt x="4" y="92"/>
                  </a:lnTo>
                  <a:lnTo>
                    <a:pt x="4" y="91"/>
                  </a:lnTo>
                  <a:lnTo>
                    <a:pt x="4" y="87"/>
                  </a:lnTo>
                  <a:lnTo>
                    <a:pt x="4" y="79"/>
                  </a:lnTo>
                  <a:lnTo>
                    <a:pt x="4" y="75"/>
                  </a:lnTo>
                  <a:lnTo>
                    <a:pt x="4" y="70"/>
                  </a:lnTo>
                  <a:lnTo>
                    <a:pt x="4" y="67"/>
                  </a:lnTo>
                  <a:lnTo>
                    <a:pt x="6" y="67"/>
                  </a:lnTo>
                  <a:lnTo>
                    <a:pt x="6" y="65"/>
                  </a:lnTo>
                  <a:lnTo>
                    <a:pt x="6" y="60"/>
                  </a:lnTo>
                  <a:lnTo>
                    <a:pt x="6" y="51"/>
                  </a:lnTo>
                  <a:lnTo>
                    <a:pt x="6" y="48"/>
                  </a:lnTo>
                  <a:lnTo>
                    <a:pt x="6" y="44"/>
                  </a:lnTo>
                  <a:lnTo>
                    <a:pt x="6" y="36"/>
                  </a:lnTo>
                  <a:lnTo>
                    <a:pt x="6" y="34"/>
                  </a:lnTo>
                  <a:lnTo>
                    <a:pt x="6" y="27"/>
                  </a:lnTo>
                  <a:lnTo>
                    <a:pt x="6" y="22"/>
                  </a:lnTo>
                  <a:lnTo>
                    <a:pt x="7" y="20"/>
                  </a:lnTo>
                  <a:lnTo>
                    <a:pt x="7" y="18"/>
                  </a:lnTo>
                  <a:lnTo>
                    <a:pt x="7" y="17"/>
                  </a:lnTo>
                  <a:lnTo>
                    <a:pt x="7" y="15"/>
                  </a:lnTo>
                  <a:lnTo>
                    <a:pt x="7" y="10"/>
                  </a:lnTo>
                  <a:lnTo>
                    <a:pt x="7" y="8"/>
                  </a:lnTo>
                  <a:lnTo>
                    <a:pt x="7"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29" name="Freeform 246"/>
            <p:cNvSpPr>
              <a:spLocks/>
            </p:cNvSpPr>
            <p:nvPr/>
          </p:nvSpPr>
          <p:spPr bwMode="auto">
            <a:xfrm>
              <a:off x="5353933" y="5527469"/>
              <a:ext cx="647700" cy="377825"/>
            </a:xfrm>
            <a:custGeom>
              <a:avLst/>
              <a:gdLst/>
              <a:ahLst/>
              <a:cxnLst>
                <a:cxn ang="0">
                  <a:pos x="406" y="35"/>
                </a:cxn>
                <a:cxn ang="0">
                  <a:pos x="406" y="48"/>
                </a:cxn>
                <a:cxn ang="0">
                  <a:pos x="406" y="60"/>
                </a:cxn>
                <a:cxn ang="0">
                  <a:pos x="406" y="76"/>
                </a:cxn>
                <a:cxn ang="0">
                  <a:pos x="406" y="95"/>
                </a:cxn>
                <a:cxn ang="0">
                  <a:pos x="406" y="107"/>
                </a:cxn>
                <a:cxn ang="0">
                  <a:pos x="406" y="129"/>
                </a:cxn>
                <a:cxn ang="0">
                  <a:pos x="406" y="141"/>
                </a:cxn>
                <a:cxn ang="0">
                  <a:pos x="406" y="153"/>
                </a:cxn>
                <a:cxn ang="0">
                  <a:pos x="406" y="167"/>
                </a:cxn>
                <a:cxn ang="0">
                  <a:pos x="406" y="183"/>
                </a:cxn>
                <a:cxn ang="0">
                  <a:pos x="406" y="196"/>
                </a:cxn>
                <a:cxn ang="0">
                  <a:pos x="406" y="212"/>
                </a:cxn>
                <a:cxn ang="0">
                  <a:pos x="406" y="226"/>
                </a:cxn>
                <a:cxn ang="0">
                  <a:pos x="401" y="234"/>
                </a:cxn>
                <a:cxn ang="0">
                  <a:pos x="377" y="234"/>
                </a:cxn>
                <a:cxn ang="0">
                  <a:pos x="349" y="234"/>
                </a:cxn>
                <a:cxn ang="0">
                  <a:pos x="323" y="236"/>
                </a:cxn>
                <a:cxn ang="0">
                  <a:pos x="308" y="236"/>
                </a:cxn>
                <a:cxn ang="0">
                  <a:pos x="282" y="236"/>
                </a:cxn>
                <a:cxn ang="0">
                  <a:pos x="260" y="236"/>
                </a:cxn>
                <a:cxn ang="0">
                  <a:pos x="232" y="236"/>
                </a:cxn>
                <a:cxn ang="0">
                  <a:pos x="210" y="236"/>
                </a:cxn>
                <a:cxn ang="0">
                  <a:pos x="180" y="236"/>
                </a:cxn>
                <a:cxn ang="0">
                  <a:pos x="160" y="236"/>
                </a:cxn>
                <a:cxn ang="0">
                  <a:pos x="122" y="236"/>
                </a:cxn>
                <a:cxn ang="0">
                  <a:pos x="96" y="238"/>
                </a:cxn>
                <a:cxn ang="0">
                  <a:pos x="76" y="238"/>
                </a:cxn>
                <a:cxn ang="0">
                  <a:pos x="48" y="238"/>
                </a:cxn>
                <a:cxn ang="0">
                  <a:pos x="26" y="238"/>
                </a:cxn>
                <a:cxn ang="0">
                  <a:pos x="10" y="238"/>
                </a:cxn>
                <a:cxn ang="0">
                  <a:pos x="0" y="227"/>
                </a:cxn>
                <a:cxn ang="0">
                  <a:pos x="2" y="207"/>
                </a:cxn>
                <a:cxn ang="0">
                  <a:pos x="2" y="181"/>
                </a:cxn>
                <a:cxn ang="0">
                  <a:pos x="2" y="162"/>
                </a:cxn>
                <a:cxn ang="0">
                  <a:pos x="2" y="138"/>
                </a:cxn>
                <a:cxn ang="0">
                  <a:pos x="2" y="122"/>
                </a:cxn>
                <a:cxn ang="0">
                  <a:pos x="3" y="103"/>
                </a:cxn>
                <a:cxn ang="0">
                  <a:pos x="3" y="91"/>
                </a:cxn>
                <a:cxn ang="0">
                  <a:pos x="3" y="78"/>
                </a:cxn>
                <a:cxn ang="0">
                  <a:pos x="3" y="66"/>
                </a:cxn>
                <a:cxn ang="0">
                  <a:pos x="3" y="53"/>
                </a:cxn>
                <a:cxn ang="0">
                  <a:pos x="3" y="43"/>
                </a:cxn>
                <a:cxn ang="0">
                  <a:pos x="5" y="17"/>
                </a:cxn>
                <a:cxn ang="0">
                  <a:pos x="17" y="0"/>
                </a:cxn>
                <a:cxn ang="0">
                  <a:pos x="53" y="0"/>
                </a:cxn>
                <a:cxn ang="0">
                  <a:pos x="74" y="0"/>
                </a:cxn>
                <a:cxn ang="0">
                  <a:pos x="91" y="2"/>
                </a:cxn>
                <a:cxn ang="0">
                  <a:pos x="122" y="2"/>
                </a:cxn>
                <a:cxn ang="0">
                  <a:pos x="151" y="2"/>
                </a:cxn>
                <a:cxn ang="0">
                  <a:pos x="167" y="2"/>
                </a:cxn>
                <a:cxn ang="0">
                  <a:pos x="194" y="4"/>
                </a:cxn>
                <a:cxn ang="0">
                  <a:pos x="220" y="4"/>
                </a:cxn>
                <a:cxn ang="0">
                  <a:pos x="241" y="4"/>
                </a:cxn>
                <a:cxn ang="0">
                  <a:pos x="256" y="4"/>
                </a:cxn>
                <a:cxn ang="0">
                  <a:pos x="272" y="4"/>
                </a:cxn>
                <a:cxn ang="0">
                  <a:pos x="289" y="5"/>
                </a:cxn>
                <a:cxn ang="0">
                  <a:pos x="308" y="5"/>
                </a:cxn>
                <a:cxn ang="0">
                  <a:pos x="322" y="5"/>
                </a:cxn>
                <a:cxn ang="0">
                  <a:pos x="346" y="5"/>
                </a:cxn>
                <a:cxn ang="0">
                  <a:pos x="373" y="7"/>
                </a:cxn>
                <a:cxn ang="0">
                  <a:pos x="390" y="7"/>
                </a:cxn>
              </a:cxnLst>
              <a:rect l="0" t="0" r="r" b="b"/>
              <a:pathLst>
                <a:path w="408" h="238">
                  <a:moveTo>
                    <a:pt x="408" y="7"/>
                  </a:moveTo>
                  <a:lnTo>
                    <a:pt x="408" y="14"/>
                  </a:lnTo>
                  <a:lnTo>
                    <a:pt x="408" y="16"/>
                  </a:lnTo>
                  <a:lnTo>
                    <a:pt x="408" y="17"/>
                  </a:lnTo>
                  <a:lnTo>
                    <a:pt x="408" y="19"/>
                  </a:lnTo>
                  <a:lnTo>
                    <a:pt x="408" y="31"/>
                  </a:lnTo>
                  <a:lnTo>
                    <a:pt x="406" y="35"/>
                  </a:lnTo>
                  <a:lnTo>
                    <a:pt x="408" y="36"/>
                  </a:lnTo>
                  <a:lnTo>
                    <a:pt x="406" y="36"/>
                  </a:lnTo>
                  <a:lnTo>
                    <a:pt x="406" y="41"/>
                  </a:lnTo>
                  <a:lnTo>
                    <a:pt x="406" y="45"/>
                  </a:lnTo>
                  <a:lnTo>
                    <a:pt x="406" y="47"/>
                  </a:lnTo>
                  <a:lnTo>
                    <a:pt x="406" y="47"/>
                  </a:lnTo>
                  <a:lnTo>
                    <a:pt x="406" y="48"/>
                  </a:lnTo>
                  <a:lnTo>
                    <a:pt x="406" y="50"/>
                  </a:lnTo>
                  <a:lnTo>
                    <a:pt x="406" y="52"/>
                  </a:lnTo>
                  <a:lnTo>
                    <a:pt x="406" y="53"/>
                  </a:lnTo>
                  <a:lnTo>
                    <a:pt x="406" y="57"/>
                  </a:lnTo>
                  <a:lnTo>
                    <a:pt x="406" y="59"/>
                  </a:lnTo>
                  <a:lnTo>
                    <a:pt x="406" y="60"/>
                  </a:lnTo>
                  <a:lnTo>
                    <a:pt x="406" y="60"/>
                  </a:lnTo>
                  <a:lnTo>
                    <a:pt x="406" y="62"/>
                  </a:lnTo>
                  <a:lnTo>
                    <a:pt x="406" y="64"/>
                  </a:lnTo>
                  <a:lnTo>
                    <a:pt x="406" y="71"/>
                  </a:lnTo>
                  <a:lnTo>
                    <a:pt x="406" y="72"/>
                  </a:lnTo>
                  <a:lnTo>
                    <a:pt x="406" y="74"/>
                  </a:lnTo>
                  <a:lnTo>
                    <a:pt x="406" y="76"/>
                  </a:lnTo>
                  <a:lnTo>
                    <a:pt x="406" y="76"/>
                  </a:lnTo>
                  <a:lnTo>
                    <a:pt x="406" y="83"/>
                  </a:lnTo>
                  <a:lnTo>
                    <a:pt x="406" y="86"/>
                  </a:lnTo>
                  <a:lnTo>
                    <a:pt x="406" y="88"/>
                  </a:lnTo>
                  <a:lnTo>
                    <a:pt x="406" y="90"/>
                  </a:lnTo>
                  <a:lnTo>
                    <a:pt x="406" y="91"/>
                  </a:lnTo>
                  <a:lnTo>
                    <a:pt x="406" y="93"/>
                  </a:lnTo>
                  <a:lnTo>
                    <a:pt x="406" y="95"/>
                  </a:lnTo>
                  <a:lnTo>
                    <a:pt x="406" y="98"/>
                  </a:lnTo>
                  <a:lnTo>
                    <a:pt x="406" y="100"/>
                  </a:lnTo>
                  <a:lnTo>
                    <a:pt x="406" y="102"/>
                  </a:lnTo>
                  <a:lnTo>
                    <a:pt x="406" y="103"/>
                  </a:lnTo>
                  <a:lnTo>
                    <a:pt x="406" y="105"/>
                  </a:lnTo>
                  <a:lnTo>
                    <a:pt x="406" y="107"/>
                  </a:lnTo>
                  <a:lnTo>
                    <a:pt x="406" y="107"/>
                  </a:lnTo>
                  <a:lnTo>
                    <a:pt x="406" y="110"/>
                  </a:lnTo>
                  <a:lnTo>
                    <a:pt x="406" y="117"/>
                  </a:lnTo>
                  <a:lnTo>
                    <a:pt x="406" y="121"/>
                  </a:lnTo>
                  <a:lnTo>
                    <a:pt x="406" y="121"/>
                  </a:lnTo>
                  <a:lnTo>
                    <a:pt x="406" y="122"/>
                  </a:lnTo>
                  <a:lnTo>
                    <a:pt x="406" y="126"/>
                  </a:lnTo>
                  <a:lnTo>
                    <a:pt x="406" y="129"/>
                  </a:lnTo>
                  <a:lnTo>
                    <a:pt x="406" y="133"/>
                  </a:lnTo>
                  <a:lnTo>
                    <a:pt x="406" y="134"/>
                  </a:lnTo>
                  <a:lnTo>
                    <a:pt x="406" y="136"/>
                  </a:lnTo>
                  <a:lnTo>
                    <a:pt x="406" y="136"/>
                  </a:lnTo>
                  <a:lnTo>
                    <a:pt x="406" y="138"/>
                  </a:lnTo>
                  <a:lnTo>
                    <a:pt x="406" y="140"/>
                  </a:lnTo>
                  <a:lnTo>
                    <a:pt x="406" y="141"/>
                  </a:lnTo>
                  <a:lnTo>
                    <a:pt x="406" y="143"/>
                  </a:lnTo>
                  <a:lnTo>
                    <a:pt x="406" y="145"/>
                  </a:lnTo>
                  <a:lnTo>
                    <a:pt x="406" y="146"/>
                  </a:lnTo>
                  <a:lnTo>
                    <a:pt x="406" y="148"/>
                  </a:lnTo>
                  <a:lnTo>
                    <a:pt x="406" y="150"/>
                  </a:lnTo>
                  <a:lnTo>
                    <a:pt x="406" y="152"/>
                  </a:lnTo>
                  <a:lnTo>
                    <a:pt x="406" y="153"/>
                  </a:lnTo>
                  <a:lnTo>
                    <a:pt x="406" y="155"/>
                  </a:lnTo>
                  <a:lnTo>
                    <a:pt x="406" y="157"/>
                  </a:lnTo>
                  <a:lnTo>
                    <a:pt x="406" y="158"/>
                  </a:lnTo>
                  <a:lnTo>
                    <a:pt x="406" y="162"/>
                  </a:lnTo>
                  <a:lnTo>
                    <a:pt x="406" y="164"/>
                  </a:lnTo>
                  <a:lnTo>
                    <a:pt x="406" y="167"/>
                  </a:lnTo>
                  <a:lnTo>
                    <a:pt x="406" y="167"/>
                  </a:lnTo>
                  <a:lnTo>
                    <a:pt x="406" y="169"/>
                  </a:lnTo>
                  <a:lnTo>
                    <a:pt x="406" y="170"/>
                  </a:lnTo>
                  <a:lnTo>
                    <a:pt x="406" y="172"/>
                  </a:lnTo>
                  <a:lnTo>
                    <a:pt x="406" y="174"/>
                  </a:lnTo>
                  <a:lnTo>
                    <a:pt x="406" y="177"/>
                  </a:lnTo>
                  <a:lnTo>
                    <a:pt x="406" y="179"/>
                  </a:lnTo>
                  <a:lnTo>
                    <a:pt x="406" y="183"/>
                  </a:lnTo>
                  <a:lnTo>
                    <a:pt x="406" y="183"/>
                  </a:lnTo>
                  <a:lnTo>
                    <a:pt x="406" y="184"/>
                  </a:lnTo>
                  <a:lnTo>
                    <a:pt x="406" y="186"/>
                  </a:lnTo>
                  <a:lnTo>
                    <a:pt x="406" y="189"/>
                  </a:lnTo>
                  <a:lnTo>
                    <a:pt x="406" y="191"/>
                  </a:lnTo>
                  <a:lnTo>
                    <a:pt x="406" y="193"/>
                  </a:lnTo>
                  <a:lnTo>
                    <a:pt x="406" y="196"/>
                  </a:lnTo>
                  <a:lnTo>
                    <a:pt x="406" y="196"/>
                  </a:lnTo>
                  <a:lnTo>
                    <a:pt x="406" y="200"/>
                  </a:lnTo>
                  <a:lnTo>
                    <a:pt x="406" y="203"/>
                  </a:lnTo>
                  <a:lnTo>
                    <a:pt x="406" y="205"/>
                  </a:lnTo>
                  <a:lnTo>
                    <a:pt x="406" y="207"/>
                  </a:lnTo>
                  <a:lnTo>
                    <a:pt x="406" y="208"/>
                  </a:lnTo>
                  <a:lnTo>
                    <a:pt x="406" y="212"/>
                  </a:lnTo>
                  <a:lnTo>
                    <a:pt x="406" y="213"/>
                  </a:lnTo>
                  <a:lnTo>
                    <a:pt x="406" y="215"/>
                  </a:lnTo>
                  <a:lnTo>
                    <a:pt x="406" y="219"/>
                  </a:lnTo>
                  <a:lnTo>
                    <a:pt x="406" y="220"/>
                  </a:lnTo>
                  <a:lnTo>
                    <a:pt x="406" y="222"/>
                  </a:lnTo>
                  <a:lnTo>
                    <a:pt x="406" y="224"/>
                  </a:lnTo>
                  <a:lnTo>
                    <a:pt x="406" y="226"/>
                  </a:lnTo>
                  <a:lnTo>
                    <a:pt x="406" y="227"/>
                  </a:lnTo>
                  <a:lnTo>
                    <a:pt x="406" y="229"/>
                  </a:lnTo>
                  <a:lnTo>
                    <a:pt x="406" y="231"/>
                  </a:lnTo>
                  <a:lnTo>
                    <a:pt x="406" y="232"/>
                  </a:lnTo>
                  <a:lnTo>
                    <a:pt x="406" y="234"/>
                  </a:lnTo>
                  <a:lnTo>
                    <a:pt x="402" y="234"/>
                  </a:lnTo>
                  <a:lnTo>
                    <a:pt x="401" y="234"/>
                  </a:lnTo>
                  <a:lnTo>
                    <a:pt x="399" y="234"/>
                  </a:lnTo>
                  <a:lnTo>
                    <a:pt x="395" y="234"/>
                  </a:lnTo>
                  <a:lnTo>
                    <a:pt x="394" y="234"/>
                  </a:lnTo>
                  <a:lnTo>
                    <a:pt x="392" y="234"/>
                  </a:lnTo>
                  <a:lnTo>
                    <a:pt x="387" y="234"/>
                  </a:lnTo>
                  <a:lnTo>
                    <a:pt x="378" y="234"/>
                  </a:lnTo>
                  <a:lnTo>
                    <a:pt x="377" y="234"/>
                  </a:lnTo>
                  <a:lnTo>
                    <a:pt x="375" y="234"/>
                  </a:lnTo>
                  <a:lnTo>
                    <a:pt x="368" y="234"/>
                  </a:lnTo>
                  <a:lnTo>
                    <a:pt x="365" y="234"/>
                  </a:lnTo>
                  <a:lnTo>
                    <a:pt x="363" y="234"/>
                  </a:lnTo>
                  <a:lnTo>
                    <a:pt x="356" y="234"/>
                  </a:lnTo>
                  <a:lnTo>
                    <a:pt x="354" y="234"/>
                  </a:lnTo>
                  <a:lnTo>
                    <a:pt x="349" y="234"/>
                  </a:lnTo>
                  <a:lnTo>
                    <a:pt x="347" y="234"/>
                  </a:lnTo>
                  <a:lnTo>
                    <a:pt x="346" y="234"/>
                  </a:lnTo>
                  <a:lnTo>
                    <a:pt x="346" y="234"/>
                  </a:lnTo>
                  <a:lnTo>
                    <a:pt x="339" y="236"/>
                  </a:lnTo>
                  <a:lnTo>
                    <a:pt x="332" y="236"/>
                  </a:lnTo>
                  <a:lnTo>
                    <a:pt x="325" y="236"/>
                  </a:lnTo>
                  <a:lnTo>
                    <a:pt x="323" y="236"/>
                  </a:lnTo>
                  <a:lnTo>
                    <a:pt x="322" y="236"/>
                  </a:lnTo>
                  <a:lnTo>
                    <a:pt x="320" y="236"/>
                  </a:lnTo>
                  <a:lnTo>
                    <a:pt x="318" y="236"/>
                  </a:lnTo>
                  <a:lnTo>
                    <a:pt x="316" y="236"/>
                  </a:lnTo>
                  <a:lnTo>
                    <a:pt x="316" y="236"/>
                  </a:lnTo>
                  <a:lnTo>
                    <a:pt x="313" y="236"/>
                  </a:lnTo>
                  <a:lnTo>
                    <a:pt x="308" y="236"/>
                  </a:lnTo>
                  <a:lnTo>
                    <a:pt x="306" y="236"/>
                  </a:lnTo>
                  <a:lnTo>
                    <a:pt x="303" y="236"/>
                  </a:lnTo>
                  <a:lnTo>
                    <a:pt x="299" y="236"/>
                  </a:lnTo>
                  <a:lnTo>
                    <a:pt x="292" y="236"/>
                  </a:lnTo>
                  <a:lnTo>
                    <a:pt x="289" y="236"/>
                  </a:lnTo>
                  <a:lnTo>
                    <a:pt x="287" y="236"/>
                  </a:lnTo>
                  <a:lnTo>
                    <a:pt x="282" y="236"/>
                  </a:lnTo>
                  <a:lnTo>
                    <a:pt x="279" y="236"/>
                  </a:lnTo>
                  <a:lnTo>
                    <a:pt x="272" y="236"/>
                  </a:lnTo>
                  <a:lnTo>
                    <a:pt x="270" y="236"/>
                  </a:lnTo>
                  <a:lnTo>
                    <a:pt x="270" y="236"/>
                  </a:lnTo>
                  <a:lnTo>
                    <a:pt x="263" y="236"/>
                  </a:lnTo>
                  <a:lnTo>
                    <a:pt x="261" y="236"/>
                  </a:lnTo>
                  <a:lnTo>
                    <a:pt x="260" y="236"/>
                  </a:lnTo>
                  <a:lnTo>
                    <a:pt x="258" y="236"/>
                  </a:lnTo>
                  <a:lnTo>
                    <a:pt x="256" y="236"/>
                  </a:lnTo>
                  <a:lnTo>
                    <a:pt x="251" y="236"/>
                  </a:lnTo>
                  <a:lnTo>
                    <a:pt x="248" y="238"/>
                  </a:lnTo>
                  <a:lnTo>
                    <a:pt x="244" y="236"/>
                  </a:lnTo>
                  <a:lnTo>
                    <a:pt x="241" y="236"/>
                  </a:lnTo>
                  <a:lnTo>
                    <a:pt x="232" y="236"/>
                  </a:lnTo>
                  <a:lnTo>
                    <a:pt x="225" y="236"/>
                  </a:lnTo>
                  <a:lnTo>
                    <a:pt x="225" y="236"/>
                  </a:lnTo>
                  <a:lnTo>
                    <a:pt x="220" y="236"/>
                  </a:lnTo>
                  <a:lnTo>
                    <a:pt x="218" y="236"/>
                  </a:lnTo>
                  <a:lnTo>
                    <a:pt x="215" y="236"/>
                  </a:lnTo>
                  <a:lnTo>
                    <a:pt x="211" y="236"/>
                  </a:lnTo>
                  <a:lnTo>
                    <a:pt x="210" y="236"/>
                  </a:lnTo>
                  <a:lnTo>
                    <a:pt x="205" y="236"/>
                  </a:lnTo>
                  <a:lnTo>
                    <a:pt x="203" y="236"/>
                  </a:lnTo>
                  <a:lnTo>
                    <a:pt x="201" y="236"/>
                  </a:lnTo>
                  <a:lnTo>
                    <a:pt x="194" y="236"/>
                  </a:lnTo>
                  <a:lnTo>
                    <a:pt x="193" y="236"/>
                  </a:lnTo>
                  <a:lnTo>
                    <a:pt x="180" y="236"/>
                  </a:lnTo>
                  <a:lnTo>
                    <a:pt x="180" y="236"/>
                  </a:lnTo>
                  <a:lnTo>
                    <a:pt x="175" y="236"/>
                  </a:lnTo>
                  <a:lnTo>
                    <a:pt x="172" y="236"/>
                  </a:lnTo>
                  <a:lnTo>
                    <a:pt x="168" y="236"/>
                  </a:lnTo>
                  <a:lnTo>
                    <a:pt x="167" y="236"/>
                  </a:lnTo>
                  <a:lnTo>
                    <a:pt x="165" y="236"/>
                  </a:lnTo>
                  <a:lnTo>
                    <a:pt x="163" y="236"/>
                  </a:lnTo>
                  <a:lnTo>
                    <a:pt x="160" y="236"/>
                  </a:lnTo>
                  <a:lnTo>
                    <a:pt x="155" y="236"/>
                  </a:lnTo>
                  <a:lnTo>
                    <a:pt x="151" y="236"/>
                  </a:lnTo>
                  <a:lnTo>
                    <a:pt x="148" y="236"/>
                  </a:lnTo>
                  <a:lnTo>
                    <a:pt x="139" y="236"/>
                  </a:lnTo>
                  <a:lnTo>
                    <a:pt x="134" y="236"/>
                  </a:lnTo>
                  <a:lnTo>
                    <a:pt x="131" y="236"/>
                  </a:lnTo>
                  <a:lnTo>
                    <a:pt x="122" y="236"/>
                  </a:lnTo>
                  <a:lnTo>
                    <a:pt x="112" y="238"/>
                  </a:lnTo>
                  <a:lnTo>
                    <a:pt x="110" y="238"/>
                  </a:lnTo>
                  <a:lnTo>
                    <a:pt x="107" y="238"/>
                  </a:lnTo>
                  <a:lnTo>
                    <a:pt x="105" y="238"/>
                  </a:lnTo>
                  <a:lnTo>
                    <a:pt x="101" y="238"/>
                  </a:lnTo>
                  <a:lnTo>
                    <a:pt x="98" y="238"/>
                  </a:lnTo>
                  <a:lnTo>
                    <a:pt x="96" y="238"/>
                  </a:lnTo>
                  <a:lnTo>
                    <a:pt x="91" y="238"/>
                  </a:lnTo>
                  <a:lnTo>
                    <a:pt x="89" y="238"/>
                  </a:lnTo>
                  <a:lnTo>
                    <a:pt x="86" y="238"/>
                  </a:lnTo>
                  <a:lnTo>
                    <a:pt x="84" y="238"/>
                  </a:lnTo>
                  <a:lnTo>
                    <a:pt x="82" y="238"/>
                  </a:lnTo>
                  <a:lnTo>
                    <a:pt x="81" y="238"/>
                  </a:lnTo>
                  <a:lnTo>
                    <a:pt x="76" y="238"/>
                  </a:lnTo>
                  <a:lnTo>
                    <a:pt x="70" y="238"/>
                  </a:lnTo>
                  <a:lnTo>
                    <a:pt x="69" y="238"/>
                  </a:lnTo>
                  <a:lnTo>
                    <a:pt x="55" y="238"/>
                  </a:lnTo>
                  <a:lnTo>
                    <a:pt x="53" y="238"/>
                  </a:lnTo>
                  <a:lnTo>
                    <a:pt x="51" y="238"/>
                  </a:lnTo>
                  <a:lnTo>
                    <a:pt x="50" y="238"/>
                  </a:lnTo>
                  <a:lnTo>
                    <a:pt x="48" y="238"/>
                  </a:lnTo>
                  <a:lnTo>
                    <a:pt x="46" y="238"/>
                  </a:lnTo>
                  <a:lnTo>
                    <a:pt x="45" y="238"/>
                  </a:lnTo>
                  <a:lnTo>
                    <a:pt x="41" y="238"/>
                  </a:lnTo>
                  <a:lnTo>
                    <a:pt x="34" y="238"/>
                  </a:lnTo>
                  <a:lnTo>
                    <a:pt x="31" y="238"/>
                  </a:lnTo>
                  <a:lnTo>
                    <a:pt x="29" y="238"/>
                  </a:lnTo>
                  <a:lnTo>
                    <a:pt x="26" y="238"/>
                  </a:lnTo>
                  <a:lnTo>
                    <a:pt x="22" y="238"/>
                  </a:lnTo>
                  <a:lnTo>
                    <a:pt x="20" y="238"/>
                  </a:lnTo>
                  <a:lnTo>
                    <a:pt x="19" y="238"/>
                  </a:lnTo>
                  <a:lnTo>
                    <a:pt x="17" y="238"/>
                  </a:lnTo>
                  <a:lnTo>
                    <a:pt x="14" y="238"/>
                  </a:lnTo>
                  <a:lnTo>
                    <a:pt x="14" y="238"/>
                  </a:lnTo>
                  <a:lnTo>
                    <a:pt x="10" y="238"/>
                  </a:lnTo>
                  <a:lnTo>
                    <a:pt x="8" y="238"/>
                  </a:lnTo>
                  <a:lnTo>
                    <a:pt x="7" y="238"/>
                  </a:lnTo>
                  <a:lnTo>
                    <a:pt x="0" y="238"/>
                  </a:lnTo>
                  <a:lnTo>
                    <a:pt x="0" y="236"/>
                  </a:lnTo>
                  <a:lnTo>
                    <a:pt x="0" y="232"/>
                  </a:lnTo>
                  <a:lnTo>
                    <a:pt x="0" y="231"/>
                  </a:lnTo>
                  <a:lnTo>
                    <a:pt x="0" y="227"/>
                  </a:lnTo>
                  <a:lnTo>
                    <a:pt x="0" y="227"/>
                  </a:lnTo>
                  <a:lnTo>
                    <a:pt x="0" y="222"/>
                  </a:lnTo>
                  <a:lnTo>
                    <a:pt x="0" y="219"/>
                  </a:lnTo>
                  <a:lnTo>
                    <a:pt x="0" y="217"/>
                  </a:lnTo>
                  <a:lnTo>
                    <a:pt x="0" y="213"/>
                  </a:lnTo>
                  <a:lnTo>
                    <a:pt x="2" y="212"/>
                  </a:lnTo>
                  <a:lnTo>
                    <a:pt x="2" y="207"/>
                  </a:lnTo>
                  <a:lnTo>
                    <a:pt x="2" y="201"/>
                  </a:lnTo>
                  <a:lnTo>
                    <a:pt x="2" y="195"/>
                  </a:lnTo>
                  <a:lnTo>
                    <a:pt x="2" y="193"/>
                  </a:lnTo>
                  <a:lnTo>
                    <a:pt x="2" y="188"/>
                  </a:lnTo>
                  <a:lnTo>
                    <a:pt x="2" y="186"/>
                  </a:lnTo>
                  <a:lnTo>
                    <a:pt x="2" y="183"/>
                  </a:lnTo>
                  <a:lnTo>
                    <a:pt x="2" y="181"/>
                  </a:lnTo>
                  <a:lnTo>
                    <a:pt x="2" y="181"/>
                  </a:lnTo>
                  <a:lnTo>
                    <a:pt x="2" y="179"/>
                  </a:lnTo>
                  <a:lnTo>
                    <a:pt x="2" y="174"/>
                  </a:lnTo>
                  <a:lnTo>
                    <a:pt x="2" y="170"/>
                  </a:lnTo>
                  <a:lnTo>
                    <a:pt x="2" y="167"/>
                  </a:lnTo>
                  <a:lnTo>
                    <a:pt x="2" y="165"/>
                  </a:lnTo>
                  <a:lnTo>
                    <a:pt x="2" y="162"/>
                  </a:lnTo>
                  <a:lnTo>
                    <a:pt x="2" y="160"/>
                  </a:lnTo>
                  <a:lnTo>
                    <a:pt x="2" y="155"/>
                  </a:lnTo>
                  <a:lnTo>
                    <a:pt x="2" y="150"/>
                  </a:lnTo>
                  <a:lnTo>
                    <a:pt x="2" y="143"/>
                  </a:lnTo>
                  <a:lnTo>
                    <a:pt x="2" y="141"/>
                  </a:lnTo>
                  <a:lnTo>
                    <a:pt x="2" y="140"/>
                  </a:lnTo>
                  <a:lnTo>
                    <a:pt x="2" y="138"/>
                  </a:lnTo>
                  <a:lnTo>
                    <a:pt x="2" y="136"/>
                  </a:lnTo>
                  <a:lnTo>
                    <a:pt x="2" y="136"/>
                  </a:lnTo>
                  <a:lnTo>
                    <a:pt x="2" y="134"/>
                  </a:lnTo>
                  <a:lnTo>
                    <a:pt x="2" y="131"/>
                  </a:lnTo>
                  <a:lnTo>
                    <a:pt x="2" y="127"/>
                  </a:lnTo>
                  <a:lnTo>
                    <a:pt x="2" y="126"/>
                  </a:lnTo>
                  <a:lnTo>
                    <a:pt x="2" y="122"/>
                  </a:lnTo>
                  <a:lnTo>
                    <a:pt x="2" y="121"/>
                  </a:lnTo>
                  <a:lnTo>
                    <a:pt x="3" y="115"/>
                  </a:lnTo>
                  <a:lnTo>
                    <a:pt x="3" y="114"/>
                  </a:lnTo>
                  <a:lnTo>
                    <a:pt x="3" y="112"/>
                  </a:lnTo>
                  <a:lnTo>
                    <a:pt x="3" y="109"/>
                  </a:lnTo>
                  <a:lnTo>
                    <a:pt x="3" y="107"/>
                  </a:lnTo>
                  <a:lnTo>
                    <a:pt x="3" y="103"/>
                  </a:lnTo>
                  <a:lnTo>
                    <a:pt x="3" y="102"/>
                  </a:lnTo>
                  <a:lnTo>
                    <a:pt x="3" y="98"/>
                  </a:lnTo>
                  <a:lnTo>
                    <a:pt x="3" y="97"/>
                  </a:lnTo>
                  <a:lnTo>
                    <a:pt x="3" y="95"/>
                  </a:lnTo>
                  <a:lnTo>
                    <a:pt x="3" y="93"/>
                  </a:lnTo>
                  <a:lnTo>
                    <a:pt x="3" y="91"/>
                  </a:lnTo>
                  <a:lnTo>
                    <a:pt x="3" y="91"/>
                  </a:lnTo>
                  <a:lnTo>
                    <a:pt x="3" y="90"/>
                  </a:lnTo>
                  <a:lnTo>
                    <a:pt x="3" y="88"/>
                  </a:lnTo>
                  <a:lnTo>
                    <a:pt x="3" y="84"/>
                  </a:lnTo>
                  <a:lnTo>
                    <a:pt x="3" y="83"/>
                  </a:lnTo>
                  <a:lnTo>
                    <a:pt x="3" y="81"/>
                  </a:lnTo>
                  <a:lnTo>
                    <a:pt x="3" y="79"/>
                  </a:lnTo>
                  <a:lnTo>
                    <a:pt x="3" y="78"/>
                  </a:lnTo>
                  <a:lnTo>
                    <a:pt x="3" y="76"/>
                  </a:lnTo>
                  <a:lnTo>
                    <a:pt x="3" y="74"/>
                  </a:lnTo>
                  <a:lnTo>
                    <a:pt x="3" y="72"/>
                  </a:lnTo>
                  <a:lnTo>
                    <a:pt x="3" y="71"/>
                  </a:lnTo>
                  <a:lnTo>
                    <a:pt x="3" y="69"/>
                  </a:lnTo>
                  <a:lnTo>
                    <a:pt x="3" y="67"/>
                  </a:lnTo>
                  <a:lnTo>
                    <a:pt x="3" y="66"/>
                  </a:lnTo>
                  <a:lnTo>
                    <a:pt x="3" y="64"/>
                  </a:lnTo>
                  <a:lnTo>
                    <a:pt x="3" y="62"/>
                  </a:lnTo>
                  <a:lnTo>
                    <a:pt x="3" y="60"/>
                  </a:lnTo>
                  <a:lnTo>
                    <a:pt x="3" y="60"/>
                  </a:lnTo>
                  <a:lnTo>
                    <a:pt x="3" y="59"/>
                  </a:lnTo>
                  <a:lnTo>
                    <a:pt x="3" y="55"/>
                  </a:lnTo>
                  <a:lnTo>
                    <a:pt x="3" y="53"/>
                  </a:lnTo>
                  <a:lnTo>
                    <a:pt x="3" y="52"/>
                  </a:lnTo>
                  <a:lnTo>
                    <a:pt x="3" y="50"/>
                  </a:lnTo>
                  <a:lnTo>
                    <a:pt x="3" y="48"/>
                  </a:lnTo>
                  <a:lnTo>
                    <a:pt x="3" y="47"/>
                  </a:lnTo>
                  <a:lnTo>
                    <a:pt x="3" y="47"/>
                  </a:lnTo>
                  <a:lnTo>
                    <a:pt x="3" y="45"/>
                  </a:lnTo>
                  <a:lnTo>
                    <a:pt x="3" y="43"/>
                  </a:lnTo>
                  <a:lnTo>
                    <a:pt x="3" y="41"/>
                  </a:lnTo>
                  <a:lnTo>
                    <a:pt x="3" y="40"/>
                  </a:lnTo>
                  <a:lnTo>
                    <a:pt x="3" y="31"/>
                  </a:lnTo>
                  <a:lnTo>
                    <a:pt x="5" y="26"/>
                  </a:lnTo>
                  <a:lnTo>
                    <a:pt x="5" y="24"/>
                  </a:lnTo>
                  <a:lnTo>
                    <a:pt x="5" y="19"/>
                  </a:lnTo>
                  <a:lnTo>
                    <a:pt x="5" y="17"/>
                  </a:lnTo>
                  <a:lnTo>
                    <a:pt x="5" y="16"/>
                  </a:lnTo>
                  <a:lnTo>
                    <a:pt x="5" y="5"/>
                  </a:lnTo>
                  <a:lnTo>
                    <a:pt x="5" y="2"/>
                  </a:lnTo>
                  <a:lnTo>
                    <a:pt x="5" y="0"/>
                  </a:lnTo>
                  <a:lnTo>
                    <a:pt x="14" y="0"/>
                  </a:lnTo>
                  <a:lnTo>
                    <a:pt x="15" y="0"/>
                  </a:lnTo>
                  <a:lnTo>
                    <a:pt x="17" y="0"/>
                  </a:lnTo>
                  <a:lnTo>
                    <a:pt x="26" y="0"/>
                  </a:lnTo>
                  <a:lnTo>
                    <a:pt x="31" y="0"/>
                  </a:lnTo>
                  <a:lnTo>
                    <a:pt x="34" y="0"/>
                  </a:lnTo>
                  <a:lnTo>
                    <a:pt x="39" y="0"/>
                  </a:lnTo>
                  <a:lnTo>
                    <a:pt x="41" y="0"/>
                  </a:lnTo>
                  <a:lnTo>
                    <a:pt x="46" y="0"/>
                  </a:lnTo>
                  <a:lnTo>
                    <a:pt x="53" y="0"/>
                  </a:lnTo>
                  <a:lnTo>
                    <a:pt x="55" y="0"/>
                  </a:lnTo>
                  <a:lnTo>
                    <a:pt x="57" y="0"/>
                  </a:lnTo>
                  <a:lnTo>
                    <a:pt x="62" y="0"/>
                  </a:lnTo>
                  <a:lnTo>
                    <a:pt x="65" y="0"/>
                  </a:lnTo>
                  <a:lnTo>
                    <a:pt x="69" y="0"/>
                  </a:lnTo>
                  <a:lnTo>
                    <a:pt x="72" y="0"/>
                  </a:lnTo>
                  <a:lnTo>
                    <a:pt x="74" y="0"/>
                  </a:lnTo>
                  <a:lnTo>
                    <a:pt x="79" y="0"/>
                  </a:lnTo>
                  <a:lnTo>
                    <a:pt x="81" y="0"/>
                  </a:lnTo>
                  <a:lnTo>
                    <a:pt x="82" y="0"/>
                  </a:lnTo>
                  <a:lnTo>
                    <a:pt x="86" y="2"/>
                  </a:lnTo>
                  <a:lnTo>
                    <a:pt x="89" y="2"/>
                  </a:lnTo>
                  <a:lnTo>
                    <a:pt x="89" y="2"/>
                  </a:lnTo>
                  <a:lnTo>
                    <a:pt x="91" y="2"/>
                  </a:lnTo>
                  <a:lnTo>
                    <a:pt x="93" y="2"/>
                  </a:lnTo>
                  <a:lnTo>
                    <a:pt x="96" y="2"/>
                  </a:lnTo>
                  <a:lnTo>
                    <a:pt x="112" y="2"/>
                  </a:lnTo>
                  <a:lnTo>
                    <a:pt x="113" y="2"/>
                  </a:lnTo>
                  <a:lnTo>
                    <a:pt x="119" y="2"/>
                  </a:lnTo>
                  <a:lnTo>
                    <a:pt x="120" y="2"/>
                  </a:lnTo>
                  <a:lnTo>
                    <a:pt x="122" y="2"/>
                  </a:lnTo>
                  <a:lnTo>
                    <a:pt x="134" y="2"/>
                  </a:lnTo>
                  <a:lnTo>
                    <a:pt x="136" y="2"/>
                  </a:lnTo>
                  <a:lnTo>
                    <a:pt x="139" y="2"/>
                  </a:lnTo>
                  <a:lnTo>
                    <a:pt x="141" y="2"/>
                  </a:lnTo>
                  <a:lnTo>
                    <a:pt x="143" y="2"/>
                  </a:lnTo>
                  <a:lnTo>
                    <a:pt x="150" y="2"/>
                  </a:lnTo>
                  <a:lnTo>
                    <a:pt x="151" y="2"/>
                  </a:lnTo>
                  <a:lnTo>
                    <a:pt x="153" y="2"/>
                  </a:lnTo>
                  <a:lnTo>
                    <a:pt x="155" y="2"/>
                  </a:lnTo>
                  <a:lnTo>
                    <a:pt x="156" y="2"/>
                  </a:lnTo>
                  <a:lnTo>
                    <a:pt x="158" y="2"/>
                  </a:lnTo>
                  <a:lnTo>
                    <a:pt x="162" y="2"/>
                  </a:lnTo>
                  <a:lnTo>
                    <a:pt x="165" y="2"/>
                  </a:lnTo>
                  <a:lnTo>
                    <a:pt x="167" y="2"/>
                  </a:lnTo>
                  <a:lnTo>
                    <a:pt x="168" y="2"/>
                  </a:lnTo>
                  <a:lnTo>
                    <a:pt x="179" y="4"/>
                  </a:lnTo>
                  <a:lnTo>
                    <a:pt x="180" y="4"/>
                  </a:lnTo>
                  <a:lnTo>
                    <a:pt x="189" y="4"/>
                  </a:lnTo>
                  <a:lnTo>
                    <a:pt x="191" y="4"/>
                  </a:lnTo>
                  <a:lnTo>
                    <a:pt x="194" y="4"/>
                  </a:lnTo>
                  <a:lnTo>
                    <a:pt x="194" y="4"/>
                  </a:lnTo>
                  <a:lnTo>
                    <a:pt x="199" y="4"/>
                  </a:lnTo>
                  <a:lnTo>
                    <a:pt x="203" y="4"/>
                  </a:lnTo>
                  <a:lnTo>
                    <a:pt x="210" y="4"/>
                  </a:lnTo>
                  <a:lnTo>
                    <a:pt x="213" y="4"/>
                  </a:lnTo>
                  <a:lnTo>
                    <a:pt x="215" y="4"/>
                  </a:lnTo>
                  <a:lnTo>
                    <a:pt x="217" y="4"/>
                  </a:lnTo>
                  <a:lnTo>
                    <a:pt x="220" y="4"/>
                  </a:lnTo>
                  <a:lnTo>
                    <a:pt x="222" y="4"/>
                  </a:lnTo>
                  <a:lnTo>
                    <a:pt x="223" y="4"/>
                  </a:lnTo>
                  <a:lnTo>
                    <a:pt x="225" y="4"/>
                  </a:lnTo>
                  <a:lnTo>
                    <a:pt x="227" y="4"/>
                  </a:lnTo>
                  <a:lnTo>
                    <a:pt x="229" y="4"/>
                  </a:lnTo>
                  <a:lnTo>
                    <a:pt x="230" y="4"/>
                  </a:lnTo>
                  <a:lnTo>
                    <a:pt x="241" y="4"/>
                  </a:lnTo>
                  <a:lnTo>
                    <a:pt x="246" y="4"/>
                  </a:lnTo>
                  <a:lnTo>
                    <a:pt x="248" y="4"/>
                  </a:lnTo>
                  <a:lnTo>
                    <a:pt x="249" y="4"/>
                  </a:lnTo>
                  <a:lnTo>
                    <a:pt x="251" y="4"/>
                  </a:lnTo>
                  <a:lnTo>
                    <a:pt x="253" y="4"/>
                  </a:lnTo>
                  <a:lnTo>
                    <a:pt x="254" y="4"/>
                  </a:lnTo>
                  <a:lnTo>
                    <a:pt x="256" y="4"/>
                  </a:lnTo>
                  <a:lnTo>
                    <a:pt x="256" y="4"/>
                  </a:lnTo>
                  <a:lnTo>
                    <a:pt x="258" y="4"/>
                  </a:lnTo>
                  <a:lnTo>
                    <a:pt x="263" y="4"/>
                  </a:lnTo>
                  <a:lnTo>
                    <a:pt x="266" y="4"/>
                  </a:lnTo>
                  <a:lnTo>
                    <a:pt x="270" y="4"/>
                  </a:lnTo>
                  <a:lnTo>
                    <a:pt x="270" y="4"/>
                  </a:lnTo>
                  <a:lnTo>
                    <a:pt x="272" y="4"/>
                  </a:lnTo>
                  <a:lnTo>
                    <a:pt x="273" y="5"/>
                  </a:lnTo>
                  <a:lnTo>
                    <a:pt x="277" y="5"/>
                  </a:lnTo>
                  <a:lnTo>
                    <a:pt x="279" y="5"/>
                  </a:lnTo>
                  <a:lnTo>
                    <a:pt x="282" y="5"/>
                  </a:lnTo>
                  <a:lnTo>
                    <a:pt x="285" y="5"/>
                  </a:lnTo>
                  <a:lnTo>
                    <a:pt x="287" y="5"/>
                  </a:lnTo>
                  <a:lnTo>
                    <a:pt x="289" y="5"/>
                  </a:lnTo>
                  <a:lnTo>
                    <a:pt x="292" y="5"/>
                  </a:lnTo>
                  <a:lnTo>
                    <a:pt x="299" y="5"/>
                  </a:lnTo>
                  <a:lnTo>
                    <a:pt x="301" y="5"/>
                  </a:lnTo>
                  <a:lnTo>
                    <a:pt x="301" y="5"/>
                  </a:lnTo>
                  <a:lnTo>
                    <a:pt x="304" y="5"/>
                  </a:lnTo>
                  <a:lnTo>
                    <a:pt x="306" y="5"/>
                  </a:lnTo>
                  <a:lnTo>
                    <a:pt x="308" y="5"/>
                  </a:lnTo>
                  <a:lnTo>
                    <a:pt x="311" y="5"/>
                  </a:lnTo>
                  <a:lnTo>
                    <a:pt x="313" y="5"/>
                  </a:lnTo>
                  <a:lnTo>
                    <a:pt x="315" y="5"/>
                  </a:lnTo>
                  <a:lnTo>
                    <a:pt x="316" y="5"/>
                  </a:lnTo>
                  <a:lnTo>
                    <a:pt x="318" y="5"/>
                  </a:lnTo>
                  <a:lnTo>
                    <a:pt x="320" y="5"/>
                  </a:lnTo>
                  <a:lnTo>
                    <a:pt x="322" y="5"/>
                  </a:lnTo>
                  <a:lnTo>
                    <a:pt x="323" y="5"/>
                  </a:lnTo>
                  <a:lnTo>
                    <a:pt x="327" y="5"/>
                  </a:lnTo>
                  <a:lnTo>
                    <a:pt x="330" y="5"/>
                  </a:lnTo>
                  <a:lnTo>
                    <a:pt x="337" y="5"/>
                  </a:lnTo>
                  <a:lnTo>
                    <a:pt x="340" y="5"/>
                  </a:lnTo>
                  <a:lnTo>
                    <a:pt x="344" y="5"/>
                  </a:lnTo>
                  <a:lnTo>
                    <a:pt x="346" y="5"/>
                  </a:lnTo>
                  <a:lnTo>
                    <a:pt x="347" y="5"/>
                  </a:lnTo>
                  <a:lnTo>
                    <a:pt x="351" y="5"/>
                  </a:lnTo>
                  <a:lnTo>
                    <a:pt x="358" y="5"/>
                  </a:lnTo>
                  <a:lnTo>
                    <a:pt x="361" y="5"/>
                  </a:lnTo>
                  <a:lnTo>
                    <a:pt x="361" y="5"/>
                  </a:lnTo>
                  <a:lnTo>
                    <a:pt x="371" y="7"/>
                  </a:lnTo>
                  <a:lnTo>
                    <a:pt x="373" y="7"/>
                  </a:lnTo>
                  <a:lnTo>
                    <a:pt x="375" y="7"/>
                  </a:lnTo>
                  <a:lnTo>
                    <a:pt x="377" y="7"/>
                  </a:lnTo>
                  <a:lnTo>
                    <a:pt x="378" y="7"/>
                  </a:lnTo>
                  <a:lnTo>
                    <a:pt x="380" y="7"/>
                  </a:lnTo>
                  <a:lnTo>
                    <a:pt x="387" y="7"/>
                  </a:lnTo>
                  <a:lnTo>
                    <a:pt x="390" y="7"/>
                  </a:lnTo>
                  <a:lnTo>
                    <a:pt x="390" y="7"/>
                  </a:lnTo>
                  <a:lnTo>
                    <a:pt x="395" y="7"/>
                  </a:lnTo>
                  <a:lnTo>
                    <a:pt x="401" y="7"/>
                  </a:lnTo>
                  <a:lnTo>
                    <a:pt x="406" y="7"/>
                  </a:lnTo>
                  <a:lnTo>
                    <a:pt x="408" y="7"/>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0" name="Freeform 248"/>
            <p:cNvSpPr>
              <a:spLocks/>
            </p:cNvSpPr>
            <p:nvPr/>
          </p:nvSpPr>
          <p:spPr bwMode="auto">
            <a:xfrm>
              <a:off x="7728833" y="5697331"/>
              <a:ext cx="415925" cy="785813"/>
            </a:xfrm>
            <a:custGeom>
              <a:avLst/>
              <a:gdLst/>
              <a:ahLst/>
              <a:cxnLst>
                <a:cxn ang="0">
                  <a:pos x="245" y="22"/>
                </a:cxn>
                <a:cxn ang="0">
                  <a:pos x="250" y="51"/>
                </a:cxn>
                <a:cxn ang="0">
                  <a:pos x="250" y="72"/>
                </a:cxn>
                <a:cxn ang="0">
                  <a:pos x="250" y="98"/>
                </a:cxn>
                <a:cxn ang="0">
                  <a:pos x="250" y="122"/>
                </a:cxn>
                <a:cxn ang="0">
                  <a:pos x="250" y="149"/>
                </a:cxn>
                <a:cxn ang="0">
                  <a:pos x="246" y="177"/>
                </a:cxn>
                <a:cxn ang="0">
                  <a:pos x="251" y="211"/>
                </a:cxn>
                <a:cxn ang="0">
                  <a:pos x="253" y="285"/>
                </a:cxn>
                <a:cxn ang="0">
                  <a:pos x="257" y="337"/>
                </a:cxn>
                <a:cxn ang="0">
                  <a:pos x="258" y="370"/>
                </a:cxn>
                <a:cxn ang="0">
                  <a:pos x="260" y="437"/>
                </a:cxn>
                <a:cxn ang="0">
                  <a:pos x="257" y="483"/>
                </a:cxn>
                <a:cxn ang="0">
                  <a:pos x="159" y="488"/>
                </a:cxn>
                <a:cxn ang="0">
                  <a:pos x="109" y="490"/>
                </a:cxn>
                <a:cxn ang="0">
                  <a:pos x="42" y="494"/>
                </a:cxn>
                <a:cxn ang="0">
                  <a:pos x="2" y="492"/>
                </a:cxn>
                <a:cxn ang="0">
                  <a:pos x="14" y="473"/>
                </a:cxn>
                <a:cxn ang="0">
                  <a:pos x="21" y="456"/>
                </a:cxn>
                <a:cxn ang="0">
                  <a:pos x="30" y="437"/>
                </a:cxn>
                <a:cxn ang="0">
                  <a:pos x="36" y="420"/>
                </a:cxn>
                <a:cxn ang="0">
                  <a:pos x="48" y="406"/>
                </a:cxn>
                <a:cxn ang="0">
                  <a:pos x="67" y="397"/>
                </a:cxn>
                <a:cxn ang="0">
                  <a:pos x="81" y="383"/>
                </a:cxn>
                <a:cxn ang="0">
                  <a:pos x="86" y="366"/>
                </a:cxn>
                <a:cxn ang="0">
                  <a:pos x="93" y="347"/>
                </a:cxn>
                <a:cxn ang="0">
                  <a:pos x="109" y="337"/>
                </a:cxn>
                <a:cxn ang="0">
                  <a:pos x="119" y="328"/>
                </a:cxn>
                <a:cxn ang="0">
                  <a:pos x="131" y="322"/>
                </a:cxn>
                <a:cxn ang="0">
                  <a:pos x="146" y="313"/>
                </a:cxn>
                <a:cxn ang="0">
                  <a:pos x="148" y="301"/>
                </a:cxn>
                <a:cxn ang="0">
                  <a:pos x="157" y="291"/>
                </a:cxn>
                <a:cxn ang="0">
                  <a:pos x="165" y="280"/>
                </a:cxn>
                <a:cxn ang="0">
                  <a:pos x="181" y="270"/>
                </a:cxn>
                <a:cxn ang="0">
                  <a:pos x="188" y="254"/>
                </a:cxn>
                <a:cxn ang="0">
                  <a:pos x="179" y="241"/>
                </a:cxn>
                <a:cxn ang="0">
                  <a:pos x="179" y="225"/>
                </a:cxn>
                <a:cxn ang="0">
                  <a:pos x="184" y="210"/>
                </a:cxn>
                <a:cxn ang="0">
                  <a:pos x="188" y="193"/>
                </a:cxn>
                <a:cxn ang="0">
                  <a:pos x="176" y="177"/>
                </a:cxn>
                <a:cxn ang="0">
                  <a:pos x="159" y="175"/>
                </a:cxn>
                <a:cxn ang="0">
                  <a:pos x="148" y="170"/>
                </a:cxn>
                <a:cxn ang="0">
                  <a:pos x="143" y="165"/>
                </a:cxn>
                <a:cxn ang="0">
                  <a:pos x="140" y="151"/>
                </a:cxn>
                <a:cxn ang="0">
                  <a:pos x="140" y="136"/>
                </a:cxn>
                <a:cxn ang="0">
                  <a:pos x="131" y="129"/>
                </a:cxn>
                <a:cxn ang="0">
                  <a:pos x="131" y="120"/>
                </a:cxn>
                <a:cxn ang="0">
                  <a:pos x="129" y="106"/>
                </a:cxn>
                <a:cxn ang="0">
                  <a:pos x="88" y="103"/>
                </a:cxn>
                <a:cxn ang="0">
                  <a:pos x="88" y="88"/>
                </a:cxn>
                <a:cxn ang="0">
                  <a:pos x="93" y="77"/>
                </a:cxn>
                <a:cxn ang="0">
                  <a:pos x="100" y="69"/>
                </a:cxn>
                <a:cxn ang="0">
                  <a:pos x="107" y="67"/>
                </a:cxn>
                <a:cxn ang="0">
                  <a:pos x="110" y="50"/>
                </a:cxn>
                <a:cxn ang="0">
                  <a:pos x="109" y="41"/>
                </a:cxn>
                <a:cxn ang="0">
                  <a:pos x="110" y="29"/>
                </a:cxn>
                <a:cxn ang="0">
                  <a:pos x="114" y="20"/>
                </a:cxn>
                <a:cxn ang="0">
                  <a:pos x="121" y="19"/>
                </a:cxn>
                <a:cxn ang="0">
                  <a:pos x="122" y="14"/>
                </a:cxn>
                <a:cxn ang="0">
                  <a:pos x="124" y="5"/>
                </a:cxn>
                <a:cxn ang="0">
                  <a:pos x="126" y="2"/>
                </a:cxn>
                <a:cxn ang="0">
                  <a:pos x="159" y="0"/>
                </a:cxn>
                <a:cxn ang="0">
                  <a:pos x="226" y="0"/>
                </a:cxn>
              </a:cxnLst>
              <a:rect l="0" t="0" r="r" b="b"/>
              <a:pathLst>
                <a:path w="262" h="495">
                  <a:moveTo>
                    <a:pt x="246" y="0"/>
                  </a:moveTo>
                  <a:lnTo>
                    <a:pt x="245" y="2"/>
                  </a:lnTo>
                  <a:lnTo>
                    <a:pt x="243" y="2"/>
                  </a:lnTo>
                  <a:lnTo>
                    <a:pt x="245" y="5"/>
                  </a:lnTo>
                  <a:lnTo>
                    <a:pt x="243" y="7"/>
                  </a:lnTo>
                  <a:lnTo>
                    <a:pt x="245" y="7"/>
                  </a:lnTo>
                  <a:lnTo>
                    <a:pt x="245" y="8"/>
                  </a:lnTo>
                  <a:lnTo>
                    <a:pt x="245" y="10"/>
                  </a:lnTo>
                  <a:lnTo>
                    <a:pt x="245" y="12"/>
                  </a:lnTo>
                  <a:lnTo>
                    <a:pt x="245" y="14"/>
                  </a:lnTo>
                  <a:lnTo>
                    <a:pt x="245" y="14"/>
                  </a:lnTo>
                  <a:lnTo>
                    <a:pt x="245" y="15"/>
                  </a:lnTo>
                  <a:lnTo>
                    <a:pt x="245" y="17"/>
                  </a:lnTo>
                  <a:lnTo>
                    <a:pt x="245" y="19"/>
                  </a:lnTo>
                  <a:lnTo>
                    <a:pt x="245" y="20"/>
                  </a:lnTo>
                  <a:lnTo>
                    <a:pt x="245" y="22"/>
                  </a:lnTo>
                  <a:lnTo>
                    <a:pt x="246" y="24"/>
                  </a:lnTo>
                  <a:lnTo>
                    <a:pt x="246" y="26"/>
                  </a:lnTo>
                  <a:lnTo>
                    <a:pt x="246" y="27"/>
                  </a:lnTo>
                  <a:lnTo>
                    <a:pt x="248" y="29"/>
                  </a:lnTo>
                  <a:lnTo>
                    <a:pt x="248" y="31"/>
                  </a:lnTo>
                  <a:lnTo>
                    <a:pt x="248" y="33"/>
                  </a:lnTo>
                  <a:lnTo>
                    <a:pt x="248" y="36"/>
                  </a:lnTo>
                  <a:lnTo>
                    <a:pt x="248" y="38"/>
                  </a:lnTo>
                  <a:lnTo>
                    <a:pt x="250" y="41"/>
                  </a:lnTo>
                  <a:lnTo>
                    <a:pt x="248" y="43"/>
                  </a:lnTo>
                  <a:lnTo>
                    <a:pt x="250" y="43"/>
                  </a:lnTo>
                  <a:lnTo>
                    <a:pt x="250" y="45"/>
                  </a:lnTo>
                  <a:lnTo>
                    <a:pt x="250" y="46"/>
                  </a:lnTo>
                  <a:lnTo>
                    <a:pt x="250" y="48"/>
                  </a:lnTo>
                  <a:lnTo>
                    <a:pt x="250" y="50"/>
                  </a:lnTo>
                  <a:lnTo>
                    <a:pt x="250" y="51"/>
                  </a:lnTo>
                  <a:lnTo>
                    <a:pt x="250" y="53"/>
                  </a:lnTo>
                  <a:lnTo>
                    <a:pt x="250" y="55"/>
                  </a:lnTo>
                  <a:lnTo>
                    <a:pt x="250" y="57"/>
                  </a:lnTo>
                  <a:lnTo>
                    <a:pt x="251" y="57"/>
                  </a:lnTo>
                  <a:lnTo>
                    <a:pt x="251" y="58"/>
                  </a:lnTo>
                  <a:lnTo>
                    <a:pt x="251" y="60"/>
                  </a:lnTo>
                  <a:lnTo>
                    <a:pt x="251" y="60"/>
                  </a:lnTo>
                  <a:lnTo>
                    <a:pt x="251" y="60"/>
                  </a:lnTo>
                  <a:lnTo>
                    <a:pt x="251" y="62"/>
                  </a:lnTo>
                  <a:lnTo>
                    <a:pt x="251" y="63"/>
                  </a:lnTo>
                  <a:lnTo>
                    <a:pt x="251" y="63"/>
                  </a:lnTo>
                  <a:lnTo>
                    <a:pt x="251" y="65"/>
                  </a:lnTo>
                  <a:lnTo>
                    <a:pt x="250" y="67"/>
                  </a:lnTo>
                  <a:lnTo>
                    <a:pt x="250" y="69"/>
                  </a:lnTo>
                  <a:lnTo>
                    <a:pt x="250" y="70"/>
                  </a:lnTo>
                  <a:lnTo>
                    <a:pt x="250" y="72"/>
                  </a:lnTo>
                  <a:lnTo>
                    <a:pt x="251" y="72"/>
                  </a:lnTo>
                  <a:lnTo>
                    <a:pt x="250" y="74"/>
                  </a:lnTo>
                  <a:lnTo>
                    <a:pt x="250" y="74"/>
                  </a:lnTo>
                  <a:lnTo>
                    <a:pt x="248" y="76"/>
                  </a:lnTo>
                  <a:lnTo>
                    <a:pt x="248" y="77"/>
                  </a:lnTo>
                  <a:lnTo>
                    <a:pt x="250" y="79"/>
                  </a:lnTo>
                  <a:lnTo>
                    <a:pt x="250" y="81"/>
                  </a:lnTo>
                  <a:lnTo>
                    <a:pt x="248" y="82"/>
                  </a:lnTo>
                  <a:lnTo>
                    <a:pt x="248" y="84"/>
                  </a:lnTo>
                  <a:lnTo>
                    <a:pt x="250" y="86"/>
                  </a:lnTo>
                  <a:lnTo>
                    <a:pt x="250" y="88"/>
                  </a:lnTo>
                  <a:lnTo>
                    <a:pt x="250" y="89"/>
                  </a:lnTo>
                  <a:lnTo>
                    <a:pt x="250" y="91"/>
                  </a:lnTo>
                  <a:lnTo>
                    <a:pt x="250" y="94"/>
                  </a:lnTo>
                  <a:lnTo>
                    <a:pt x="250" y="96"/>
                  </a:lnTo>
                  <a:lnTo>
                    <a:pt x="250" y="98"/>
                  </a:lnTo>
                  <a:lnTo>
                    <a:pt x="250" y="100"/>
                  </a:lnTo>
                  <a:lnTo>
                    <a:pt x="250" y="101"/>
                  </a:lnTo>
                  <a:lnTo>
                    <a:pt x="251" y="103"/>
                  </a:lnTo>
                  <a:lnTo>
                    <a:pt x="251" y="105"/>
                  </a:lnTo>
                  <a:lnTo>
                    <a:pt x="251" y="105"/>
                  </a:lnTo>
                  <a:lnTo>
                    <a:pt x="251" y="106"/>
                  </a:lnTo>
                  <a:lnTo>
                    <a:pt x="251" y="108"/>
                  </a:lnTo>
                  <a:lnTo>
                    <a:pt x="251" y="110"/>
                  </a:lnTo>
                  <a:lnTo>
                    <a:pt x="251" y="112"/>
                  </a:lnTo>
                  <a:lnTo>
                    <a:pt x="251" y="113"/>
                  </a:lnTo>
                  <a:lnTo>
                    <a:pt x="251" y="115"/>
                  </a:lnTo>
                  <a:lnTo>
                    <a:pt x="251" y="117"/>
                  </a:lnTo>
                  <a:lnTo>
                    <a:pt x="251" y="119"/>
                  </a:lnTo>
                  <a:lnTo>
                    <a:pt x="251" y="120"/>
                  </a:lnTo>
                  <a:lnTo>
                    <a:pt x="251" y="120"/>
                  </a:lnTo>
                  <a:lnTo>
                    <a:pt x="250" y="122"/>
                  </a:lnTo>
                  <a:lnTo>
                    <a:pt x="250" y="124"/>
                  </a:lnTo>
                  <a:lnTo>
                    <a:pt x="250" y="127"/>
                  </a:lnTo>
                  <a:lnTo>
                    <a:pt x="251" y="129"/>
                  </a:lnTo>
                  <a:lnTo>
                    <a:pt x="251" y="131"/>
                  </a:lnTo>
                  <a:lnTo>
                    <a:pt x="251" y="132"/>
                  </a:lnTo>
                  <a:lnTo>
                    <a:pt x="251" y="134"/>
                  </a:lnTo>
                  <a:lnTo>
                    <a:pt x="251" y="134"/>
                  </a:lnTo>
                  <a:lnTo>
                    <a:pt x="251" y="136"/>
                  </a:lnTo>
                  <a:lnTo>
                    <a:pt x="251" y="137"/>
                  </a:lnTo>
                  <a:lnTo>
                    <a:pt x="251" y="139"/>
                  </a:lnTo>
                  <a:lnTo>
                    <a:pt x="251" y="141"/>
                  </a:lnTo>
                  <a:lnTo>
                    <a:pt x="250" y="143"/>
                  </a:lnTo>
                  <a:lnTo>
                    <a:pt x="250" y="146"/>
                  </a:lnTo>
                  <a:lnTo>
                    <a:pt x="250" y="148"/>
                  </a:lnTo>
                  <a:lnTo>
                    <a:pt x="250" y="149"/>
                  </a:lnTo>
                  <a:lnTo>
                    <a:pt x="250" y="149"/>
                  </a:lnTo>
                  <a:lnTo>
                    <a:pt x="250" y="151"/>
                  </a:lnTo>
                  <a:lnTo>
                    <a:pt x="250" y="155"/>
                  </a:lnTo>
                  <a:lnTo>
                    <a:pt x="248" y="156"/>
                  </a:lnTo>
                  <a:lnTo>
                    <a:pt x="248" y="158"/>
                  </a:lnTo>
                  <a:lnTo>
                    <a:pt x="248" y="162"/>
                  </a:lnTo>
                  <a:lnTo>
                    <a:pt x="248" y="163"/>
                  </a:lnTo>
                  <a:lnTo>
                    <a:pt x="248" y="165"/>
                  </a:lnTo>
                  <a:lnTo>
                    <a:pt x="250" y="165"/>
                  </a:lnTo>
                  <a:lnTo>
                    <a:pt x="250" y="167"/>
                  </a:lnTo>
                  <a:lnTo>
                    <a:pt x="248" y="168"/>
                  </a:lnTo>
                  <a:lnTo>
                    <a:pt x="248" y="170"/>
                  </a:lnTo>
                  <a:lnTo>
                    <a:pt x="246" y="170"/>
                  </a:lnTo>
                  <a:lnTo>
                    <a:pt x="246" y="172"/>
                  </a:lnTo>
                  <a:lnTo>
                    <a:pt x="246" y="174"/>
                  </a:lnTo>
                  <a:lnTo>
                    <a:pt x="246" y="175"/>
                  </a:lnTo>
                  <a:lnTo>
                    <a:pt x="246" y="177"/>
                  </a:lnTo>
                  <a:lnTo>
                    <a:pt x="245" y="179"/>
                  </a:lnTo>
                  <a:lnTo>
                    <a:pt x="245" y="180"/>
                  </a:lnTo>
                  <a:lnTo>
                    <a:pt x="245" y="180"/>
                  </a:lnTo>
                  <a:lnTo>
                    <a:pt x="245" y="182"/>
                  </a:lnTo>
                  <a:lnTo>
                    <a:pt x="245" y="184"/>
                  </a:lnTo>
                  <a:lnTo>
                    <a:pt x="246" y="184"/>
                  </a:lnTo>
                  <a:lnTo>
                    <a:pt x="250" y="184"/>
                  </a:lnTo>
                  <a:lnTo>
                    <a:pt x="251" y="184"/>
                  </a:lnTo>
                  <a:lnTo>
                    <a:pt x="251" y="191"/>
                  </a:lnTo>
                  <a:lnTo>
                    <a:pt x="251" y="194"/>
                  </a:lnTo>
                  <a:lnTo>
                    <a:pt x="251" y="194"/>
                  </a:lnTo>
                  <a:lnTo>
                    <a:pt x="251" y="198"/>
                  </a:lnTo>
                  <a:lnTo>
                    <a:pt x="251" y="201"/>
                  </a:lnTo>
                  <a:lnTo>
                    <a:pt x="251" y="205"/>
                  </a:lnTo>
                  <a:lnTo>
                    <a:pt x="251" y="208"/>
                  </a:lnTo>
                  <a:lnTo>
                    <a:pt x="251" y="211"/>
                  </a:lnTo>
                  <a:lnTo>
                    <a:pt x="251" y="215"/>
                  </a:lnTo>
                  <a:lnTo>
                    <a:pt x="251" y="218"/>
                  </a:lnTo>
                  <a:lnTo>
                    <a:pt x="251" y="220"/>
                  </a:lnTo>
                  <a:lnTo>
                    <a:pt x="251" y="223"/>
                  </a:lnTo>
                  <a:lnTo>
                    <a:pt x="251" y="236"/>
                  </a:lnTo>
                  <a:lnTo>
                    <a:pt x="251" y="241"/>
                  </a:lnTo>
                  <a:lnTo>
                    <a:pt x="251" y="246"/>
                  </a:lnTo>
                  <a:lnTo>
                    <a:pt x="251" y="256"/>
                  </a:lnTo>
                  <a:lnTo>
                    <a:pt x="251" y="258"/>
                  </a:lnTo>
                  <a:lnTo>
                    <a:pt x="253" y="270"/>
                  </a:lnTo>
                  <a:lnTo>
                    <a:pt x="253" y="277"/>
                  </a:lnTo>
                  <a:lnTo>
                    <a:pt x="253" y="279"/>
                  </a:lnTo>
                  <a:lnTo>
                    <a:pt x="253" y="280"/>
                  </a:lnTo>
                  <a:lnTo>
                    <a:pt x="253" y="282"/>
                  </a:lnTo>
                  <a:lnTo>
                    <a:pt x="253" y="284"/>
                  </a:lnTo>
                  <a:lnTo>
                    <a:pt x="253" y="285"/>
                  </a:lnTo>
                  <a:lnTo>
                    <a:pt x="253" y="285"/>
                  </a:lnTo>
                  <a:lnTo>
                    <a:pt x="253" y="287"/>
                  </a:lnTo>
                  <a:lnTo>
                    <a:pt x="253" y="291"/>
                  </a:lnTo>
                  <a:lnTo>
                    <a:pt x="253" y="294"/>
                  </a:lnTo>
                  <a:lnTo>
                    <a:pt x="253" y="297"/>
                  </a:lnTo>
                  <a:lnTo>
                    <a:pt x="253" y="299"/>
                  </a:lnTo>
                  <a:lnTo>
                    <a:pt x="253" y="301"/>
                  </a:lnTo>
                  <a:lnTo>
                    <a:pt x="255" y="304"/>
                  </a:lnTo>
                  <a:lnTo>
                    <a:pt x="255" y="308"/>
                  </a:lnTo>
                  <a:lnTo>
                    <a:pt x="255" y="315"/>
                  </a:lnTo>
                  <a:lnTo>
                    <a:pt x="255" y="325"/>
                  </a:lnTo>
                  <a:lnTo>
                    <a:pt x="255" y="328"/>
                  </a:lnTo>
                  <a:lnTo>
                    <a:pt x="255" y="330"/>
                  </a:lnTo>
                  <a:lnTo>
                    <a:pt x="257" y="334"/>
                  </a:lnTo>
                  <a:lnTo>
                    <a:pt x="257" y="335"/>
                  </a:lnTo>
                  <a:lnTo>
                    <a:pt x="257" y="337"/>
                  </a:lnTo>
                  <a:lnTo>
                    <a:pt x="257" y="342"/>
                  </a:lnTo>
                  <a:lnTo>
                    <a:pt x="257" y="344"/>
                  </a:lnTo>
                  <a:lnTo>
                    <a:pt x="257" y="347"/>
                  </a:lnTo>
                  <a:lnTo>
                    <a:pt x="257" y="349"/>
                  </a:lnTo>
                  <a:lnTo>
                    <a:pt x="257" y="351"/>
                  </a:lnTo>
                  <a:lnTo>
                    <a:pt x="257" y="354"/>
                  </a:lnTo>
                  <a:lnTo>
                    <a:pt x="257" y="356"/>
                  </a:lnTo>
                  <a:lnTo>
                    <a:pt x="257" y="359"/>
                  </a:lnTo>
                  <a:lnTo>
                    <a:pt x="257" y="361"/>
                  </a:lnTo>
                  <a:lnTo>
                    <a:pt x="257" y="361"/>
                  </a:lnTo>
                  <a:lnTo>
                    <a:pt x="257" y="363"/>
                  </a:lnTo>
                  <a:lnTo>
                    <a:pt x="258" y="363"/>
                  </a:lnTo>
                  <a:lnTo>
                    <a:pt x="258" y="365"/>
                  </a:lnTo>
                  <a:lnTo>
                    <a:pt x="257" y="365"/>
                  </a:lnTo>
                  <a:lnTo>
                    <a:pt x="258" y="366"/>
                  </a:lnTo>
                  <a:lnTo>
                    <a:pt x="258" y="370"/>
                  </a:lnTo>
                  <a:lnTo>
                    <a:pt x="257" y="370"/>
                  </a:lnTo>
                  <a:lnTo>
                    <a:pt x="257" y="371"/>
                  </a:lnTo>
                  <a:lnTo>
                    <a:pt x="258" y="373"/>
                  </a:lnTo>
                  <a:lnTo>
                    <a:pt x="258" y="380"/>
                  </a:lnTo>
                  <a:lnTo>
                    <a:pt x="258" y="382"/>
                  </a:lnTo>
                  <a:lnTo>
                    <a:pt x="258" y="387"/>
                  </a:lnTo>
                  <a:lnTo>
                    <a:pt x="258" y="389"/>
                  </a:lnTo>
                  <a:lnTo>
                    <a:pt x="258" y="390"/>
                  </a:lnTo>
                  <a:lnTo>
                    <a:pt x="258" y="390"/>
                  </a:lnTo>
                  <a:lnTo>
                    <a:pt x="258" y="392"/>
                  </a:lnTo>
                  <a:lnTo>
                    <a:pt x="258" y="396"/>
                  </a:lnTo>
                  <a:lnTo>
                    <a:pt x="258" y="404"/>
                  </a:lnTo>
                  <a:lnTo>
                    <a:pt x="260" y="414"/>
                  </a:lnTo>
                  <a:lnTo>
                    <a:pt x="260" y="418"/>
                  </a:lnTo>
                  <a:lnTo>
                    <a:pt x="260" y="426"/>
                  </a:lnTo>
                  <a:lnTo>
                    <a:pt x="260" y="437"/>
                  </a:lnTo>
                  <a:lnTo>
                    <a:pt x="260" y="442"/>
                  </a:lnTo>
                  <a:lnTo>
                    <a:pt x="260" y="445"/>
                  </a:lnTo>
                  <a:lnTo>
                    <a:pt x="260" y="449"/>
                  </a:lnTo>
                  <a:lnTo>
                    <a:pt x="260" y="451"/>
                  </a:lnTo>
                  <a:lnTo>
                    <a:pt x="260" y="454"/>
                  </a:lnTo>
                  <a:lnTo>
                    <a:pt x="260" y="456"/>
                  </a:lnTo>
                  <a:lnTo>
                    <a:pt x="260" y="459"/>
                  </a:lnTo>
                  <a:lnTo>
                    <a:pt x="262" y="468"/>
                  </a:lnTo>
                  <a:lnTo>
                    <a:pt x="262" y="469"/>
                  </a:lnTo>
                  <a:lnTo>
                    <a:pt x="262" y="471"/>
                  </a:lnTo>
                  <a:lnTo>
                    <a:pt x="262" y="476"/>
                  </a:lnTo>
                  <a:lnTo>
                    <a:pt x="262" y="482"/>
                  </a:lnTo>
                  <a:lnTo>
                    <a:pt x="262" y="483"/>
                  </a:lnTo>
                  <a:lnTo>
                    <a:pt x="260" y="483"/>
                  </a:lnTo>
                  <a:lnTo>
                    <a:pt x="258" y="483"/>
                  </a:lnTo>
                  <a:lnTo>
                    <a:pt x="257" y="483"/>
                  </a:lnTo>
                  <a:lnTo>
                    <a:pt x="255" y="483"/>
                  </a:lnTo>
                  <a:lnTo>
                    <a:pt x="253" y="483"/>
                  </a:lnTo>
                  <a:lnTo>
                    <a:pt x="238" y="483"/>
                  </a:lnTo>
                  <a:lnTo>
                    <a:pt x="236" y="483"/>
                  </a:lnTo>
                  <a:lnTo>
                    <a:pt x="231" y="485"/>
                  </a:lnTo>
                  <a:lnTo>
                    <a:pt x="215" y="485"/>
                  </a:lnTo>
                  <a:lnTo>
                    <a:pt x="203" y="485"/>
                  </a:lnTo>
                  <a:lnTo>
                    <a:pt x="198" y="487"/>
                  </a:lnTo>
                  <a:lnTo>
                    <a:pt x="193" y="487"/>
                  </a:lnTo>
                  <a:lnTo>
                    <a:pt x="186" y="487"/>
                  </a:lnTo>
                  <a:lnTo>
                    <a:pt x="179" y="487"/>
                  </a:lnTo>
                  <a:lnTo>
                    <a:pt x="171" y="487"/>
                  </a:lnTo>
                  <a:lnTo>
                    <a:pt x="164" y="487"/>
                  </a:lnTo>
                  <a:lnTo>
                    <a:pt x="162" y="487"/>
                  </a:lnTo>
                  <a:lnTo>
                    <a:pt x="162" y="488"/>
                  </a:lnTo>
                  <a:lnTo>
                    <a:pt x="159" y="488"/>
                  </a:lnTo>
                  <a:lnTo>
                    <a:pt x="157" y="488"/>
                  </a:lnTo>
                  <a:lnTo>
                    <a:pt x="153" y="488"/>
                  </a:lnTo>
                  <a:lnTo>
                    <a:pt x="148" y="488"/>
                  </a:lnTo>
                  <a:lnTo>
                    <a:pt x="143" y="488"/>
                  </a:lnTo>
                  <a:lnTo>
                    <a:pt x="141" y="488"/>
                  </a:lnTo>
                  <a:lnTo>
                    <a:pt x="140" y="488"/>
                  </a:lnTo>
                  <a:lnTo>
                    <a:pt x="136" y="488"/>
                  </a:lnTo>
                  <a:lnTo>
                    <a:pt x="131" y="488"/>
                  </a:lnTo>
                  <a:lnTo>
                    <a:pt x="126" y="488"/>
                  </a:lnTo>
                  <a:lnTo>
                    <a:pt x="121" y="490"/>
                  </a:lnTo>
                  <a:lnTo>
                    <a:pt x="119" y="490"/>
                  </a:lnTo>
                  <a:lnTo>
                    <a:pt x="117" y="490"/>
                  </a:lnTo>
                  <a:lnTo>
                    <a:pt x="117" y="490"/>
                  </a:lnTo>
                  <a:lnTo>
                    <a:pt x="116" y="490"/>
                  </a:lnTo>
                  <a:lnTo>
                    <a:pt x="112" y="490"/>
                  </a:lnTo>
                  <a:lnTo>
                    <a:pt x="109" y="490"/>
                  </a:lnTo>
                  <a:lnTo>
                    <a:pt x="103" y="490"/>
                  </a:lnTo>
                  <a:lnTo>
                    <a:pt x="102" y="490"/>
                  </a:lnTo>
                  <a:lnTo>
                    <a:pt x="98" y="490"/>
                  </a:lnTo>
                  <a:lnTo>
                    <a:pt x="91" y="490"/>
                  </a:lnTo>
                  <a:lnTo>
                    <a:pt x="90" y="490"/>
                  </a:lnTo>
                  <a:lnTo>
                    <a:pt x="86" y="490"/>
                  </a:lnTo>
                  <a:lnTo>
                    <a:pt x="81" y="492"/>
                  </a:lnTo>
                  <a:lnTo>
                    <a:pt x="79" y="492"/>
                  </a:lnTo>
                  <a:lnTo>
                    <a:pt x="71" y="492"/>
                  </a:lnTo>
                  <a:lnTo>
                    <a:pt x="64" y="492"/>
                  </a:lnTo>
                  <a:lnTo>
                    <a:pt x="55" y="492"/>
                  </a:lnTo>
                  <a:lnTo>
                    <a:pt x="54" y="492"/>
                  </a:lnTo>
                  <a:lnTo>
                    <a:pt x="52" y="492"/>
                  </a:lnTo>
                  <a:lnTo>
                    <a:pt x="50" y="492"/>
                  </a:lnTo>
                  <a:lnTo>
                    <a:pt x="45" y="492"/>
                  </a:lnTo>
                  <a:lnTo>
                    <a:pt x="42" y="494"/>
                  </a:lnTo>
                  <a:lnTo>
                    <a:pt x="38" y="494"/>
                  </a:lnTo>
                  <a:lnTo>
                    <a:pt x="33" y="494"/>
                  </a:lnTo>
                  <a:lnTo>
                    <a:pt x="26" y="494"/>
                  </a:lnTo>
                  <a:lnTo>
                    <a:pt x="24" y="494"/>
                  </a:lnTo>
                  <a:lnTo>
                    <a:pt x="23" y="494"/>
                  </a:lnTo>
                  <a:lnTo>
                    <a:pt x="14" y="494"/>
                  </a:lnTo>
                  <a:lnTo>
                    <a:pt x="11" y="494"/>
                  </a:lnTo>
                  <a:lnTo>
                    <a:pt x="9" y="494"/>
                  </a:lnTo>
                  <a:lnTo>
                    <a:pt x="5" y="494"/>
                  </a:lnTo>
                  <a:lnTo>
                    <a:pt x="4" y="494"/>
                  </a:lnTo>
                  <a:lnTo>
                    <a:pt x="2" y="494"/>
                  </a:lnTo>
                  <a:lnTo>
                    <a:pt x="2" y="495"/>
                  </a:lnTo>
                  <a:lnTo>
                    <a:pt x="0" y="495"/>
                  </a:lnTo>
                  <a:lnTo>
                    <a:pt x="0" y="494"/>
                  </a:lnTo>
                  <a:lnTo>
                    <a:pt x="0" y="492"/>
                  </a:lnTo>
                  <a:lnTo>
                    <a:pt x="2" y="492"/>
                  </a:lnTo>
                  <a:lnTo>
                    <a:pt x="2" y="490"/>
                  </a:lnTo>
                  <a:lnTo>
                    <a:pt x="4" y="490"/>
                  </a:lnTo>
                  <a:lnTo>
                    <a:pt x="4" y="488"/>
                  </a:lnTo>
                  <a:lnTo>
                    <a:pt x="4" y="487"/>
                  </a:lnTo>
                  <a:lnTo>
                    <a:pt x="5" y="485"/>
                  </a:lnTo>
                  <a:lnTo>
                    <a:pt x="5" y="483"/>
                  </a:lnTo>
                  <a:lnTo>
                    <a:pt x="7" y="482"/>
                  </a:lnTo>
                  <a:lnTo>
                    <a:pt x="9" y="482"/>
                  </a:lnTo>
                  <a:lnTo>
                    <a:pt x="9" y="480"/>
                  </a:lnTo>
                  <a:lnTo>
                    <a:pt x="11" y="480"/>
                  </a:lnTo>
                  <a:lnTo>
                    <a:pt x="11" y="478"/>
                  </a:lnTo>
                  <a:lnTo>
                    <a:pt x="11" y="478"/>
                  </a:lnTo>
                  <a:lnTo>
                    <a:pt x="11" y="476"/>
                  </a:lnTo>
                  <a:lnTo>
                    <a:pt x="12" y="476"/>
                  </a:lnTo>
                  <a:lnTo>
                    <a:pt x="12" y="475"/>
                  </a:lnTo>
                  <a:lnTo>
                    <a:pt x="14" y="473"/>
                  </a:lnTo>
                  <a:lnTo>
                    <a:pt x="14" y="471"/>
                  </a:lnTo>
                  <a:lnTo>
                    <a:pt x="16" y="471"/>
                  </a:lnTo>
                  <a:lnTo>
                    <a:pt x="16" y="469"/>
                  </a:lnTo>
                  <a:lnTo>
                    <a:pt x="16" y="468"/>
                  </a:lnTo>
                  <a:lnTo>
                    <a:pt x="14" y="468"/>
                  </a:lnTo>
                  <a:lnTo>
                    <a:pt x="14" y="466"/>
                  </a:lnTo>
                  <a:lnTo>
                    <a:pt x="16" y="466"/>
                  </a:lnTo>
                  <a:lnTo>
                    <a:pt x="16" y="466"/>
                  </a:lnTo>
                  <a:lnTo>
                    <a:pt x="17" y="464"/>
                  </a:lnTo>
                  <a:lnTo>
                    <a:pt x="17" y="463"/>
                  </a:lnTo>
                  <a:lnTo>
                    <a:pt x="17" y="461"/>
                  </a:lnTo>
                  <a:lnTo>
                    <a:pt x="17" y="459"/>
                  </a:lnTo>
                  <a:lnTo>
                    <a:pt x="17" y="457"/>
                  </a:lnTo>
                  <a:lnTo>
                    <a:pt x="19" y="457"/>
                  </a:lnTo>
                  <a:lnTo>
                    <a:pt x="21" y="457"/>
                  </a:lnTo>
                  <a:lnTo>
                    <a:pt x="21" y="456"/>
                  </a:lnTo>
                  <a:lnTo>
                    <a:pt x="24" y="454"/>
                  </a:lnTo>
                  <a:lnTo>
                    <a:pt x="24" y="452"/>
                  </a:lnTo>
                  <a:lnTo>
                    <a:pt x="24" y="451"/>
                  </a:lnTo>
                  <a:lnTo>
                    <a:pt x="24" y="451"/>
                  </a:lnTo>
                  <a:lnTo>
                    <a:pt x="24" y="449"/>
                  </a:lnTo>
                  <a:lnTo>
                    <a:pt x="26" y="449"/>
                  </a:lnTo>
                  <a:lnTo>
                    <a:pt x="26" y="447"/>
                  </a:lnTo>
                  <a:lnTo>
                    <a:pt x="26" y="447"/>
                  </a:lnTo>
                  <a:lnTo>
                    <a:pt x="26" y="445"/>
                  </a:lnTo>
                  <a:lnTo>
                    <a:pt x="26" y="445"/>
                  </a:lnTo>
                  <a:lnTo>
                    <a:pt x="26" y="444"/>
                  </a:lnTo>
                  <a:lnTo>
                    <a:pt x="26" y="442"/>
                  </a:lnTo>
                  <a:lnTo>
                    <a:pt x="26" y="440"/>
                  </a:lnTo>
                  <a:lnTo>
                    <a:pt x="26" y="437"/>
                  </a:lnTo>
                  <a:lnTo>
                    <a:pt x="28" y="437"/>
                  </a:lnTo>
                  <a:lnTo>
                    <a:pt x="30" y="437"/>
                  </a:lnTo>
                  <a:lnTo>
                    <a:pt x="30" y="437"/>
                  </a:lnTo>
                  <a:lnTo>
                    <a:pt x="31" y="437"/>
                  </a:lnTo>
                  <a:lnTo>
                    <a:pt x="31" y="435"/>
                  </a:lnTo>
                  <a:lnTo>
                    <a:pt x="33" y="435"/>
                  </a:lnTo>
                  <a:lnTo>
                    <a:pt x="35" y="435"/>
                  </a:lnTo>
                  <a:lnTo>
                    <a:pt x="35" y="433"/>
                  </a:lnTo>
                  <a:lnTo>
                    <a:pt x="36" y="432"/>
                  </a:lnTo>
                  <a:lnTo>
                    <a:pt x="36" y="430"/>
                  </a:lnTo>
                  <a:lnTo>
                    <a:pt x="35" y="428"/>
                  </a:lnTo>
                  <a:lnTo>
                    <a:pt x="35" y="426"/>
                  </a:lnTo>
                  <a:lnTo>
                    <a:pt x="35" y="425"/>
                  </a:lnTo>
                  <a:lnTo>
                    <a:pt x="35" y="423"/>
                  </a:lnTo>
                  <a:lnTo>
                    <a:pt x="35" y="421"/>
                  </a:lnTo>
                  <a:lnTo>
                    <a:pt x="35" y="421"/>
                  </a:lnTo>
                  <a:lnTo>
                    <a:pt x="36" y="421"/>
                  </a:lnTo>
                  <a:lnTo>
                    <a:pt x="36" y="420"/>
                  </a:lnTo>
                  <a:lnTo>
                    <a:pt x="38" y="420"/>
                  </a:lnTo>
                  <a:lnTo>
                    <a:pt x="40" y="418"/>
                  </a:lnTo>
                  <a:lnTo>
                    <a:pt x="42" y="418"/>
                  </a:lnTo>
                  <a:lnTo>
                    <a:pt x="42" y="418"/>
                  </a:lnTo>
                  <a:lnTo>
                    <a:pt x="42" y="416"/>
                  </a:lnTo>
                  <a:lnTo>
                    <a:pt x="43" y="416"/>
                  </a:lnTo>
                  <a:lnTo>
                    <a:pt x="45" y="416"/>
                  </a:lnTo>
                  <a:lnTo>
                    <a:pt x="45" y="414"/>
                  </a:lnTo>
                  <a:lnTo>
                    <a:pt x="47" y="414"/>
                  </a:lnTo>
                  <a:lnTo>
                    <a:pt x="47" y="413"/>
                  </a:lnTo>
                  <a:lnTo>
                    <a:pt x="47" y="411"/>
                  </a:lnTo>
                  <a:lnTo>
                    <a:pt x="48" y="409"/>
                  </a:lnTo>
                  <a:lnTo>
                    <a:pt x="48" y="408"/>
                  </a:lnTo>
                  <a:lnTo>
                    <a:pt x="47" y="408"/>
                  </a:lnTo>
                  <a:lnTo>
                    <a:pt x="47" y="406"/>
                  </a:lnTo>
                  <a:lnTo>
                    <a:pt x="48" y="406"/>
                  </a:lnTo>
                  <a:lnTo>
                    <a:pt x="48" y="406"/>
                  </a:lnTo>
                  <a:lnTo>
                    <a:pt x="50" y="406"/>
                  </a:lnTo>
                  <a:lnTo>
                    <a:pt x="50" y="404"/>
                  </a:lnTo>
                  <a:lnTo>
                    <a:pt x="50" y="402"/>
                  </a:lnTo>
                  <a:lnTo>
                    <a:pt x="52" y="401"/>
                  </a:lnTo>
                  <a:lnTo>
                    <a:pt x="54" y="401"/>
                  </a:lnTo>
                  <a:lnTo>
                    <a:pt x="55" y="401"/>
                  </a:lnTo>
                  <a:lnTo>
                    <a:pt x="55" y="401"/>
                  </a:lnTo>
                  <a:lnTo>
                    <a:pt x="57" y="399"/>
                  </a:lnTo>
                  <a:lnTo>
                    <a:pt x="59" y="399"/>
                  </a:lnTo>
                  <a:lnTo>
                    <a:pt x="60" y="399"/>
                  </a:lnTo>
                  <a:lnTo>
                    <a:pt x="62" y="399"/>
                  </a:lnTo>
                  <a:lnTo>
                    <a:pt x="64" y="399"/>
                  </a:lnTo>
                  <a:lnTo>
                    <a:pt x="64" y="397"/>
                  </a:lnTo>
                  <a:lnTo>
                    <a:pt x="66" y="397"/>
                  </a:lnTo>
                  <a:lnTo>
                    <a:pt x="67" y="397"/>
                  </a:lnTo>
                  <a:lnTo>
                    <a:pt x="67" y="396"/>
                  </a:lnTo>
                  <a:lnTo>
                    <a:pt x="69" y="394"/>
                  </a:lnTo>
                  <a:lnTo>
                    <a:pt x="71" y="392"/>
                  </a:lnTo>
                  <a:lnTo>
                    <a:pt x="71" y="390"/>
                  </a:lnTo>
                  <a:lnTo>
                    <a:pt x="71" y="390"/>
                  </a:lnTo>
                  <a:lnTo>
                    <a:pt x="73" y="390"/>
                  </a:lnTo>
                  <a:lnTo>
                    <a:pt x="74" y="390"/>
                  </a:lnTo>
                  <a:lnTo>
                    <a:pt x="74" y="390"/>
                  </a:lnTo>
                  <a:lnTo>
                    <a:pt x="76" y="390"/>
                  </a:lnTo>
                  <a:lnTo>
                    <a:pt x="78" y="390"/>
                  </a:lnTo>
                  <a:lnTo>
                    <a:pt x="78" y="389"/>
                  </a:lnTo>
                  <a:lnTo>
                    <a:pt x="78" y="387"/>
                  </a:lnTo>
                  <a:lnTo>
                    <a:pt x="79" y="387"/>
                  </a:lnTo>
                  <a:lnTo>
                    <a:pt x="79" y="385"/>
                  </a:lnTo>
                  <a:lnTo>
                    <a:pt x="79" y="383"/>
                  </a:lnTo>
                  <a:lnTo>
                    <a:pt x="81" y="383"/>
                  </a:lnTo>
                  <a:lnTo>
                    <a:pt x="83" y="383"/>
                  </a:lnTo>
                  <a:lnTo>
                    <a:pt x="83" y="382"/>
                  </a:lnTo>
                  <a:lnTo>
                    <a:pt x="85" y="382"/>
                  </a:lnTo>
                  <a:lnTo>
                    <a:pt x="86" y="382"/>
                  </a:lnTo>
                  <a:lnTo>
                    <a:pt x="86" y="380"/>
                  </a:lnTo>
                  <a:lnTo>
                    <a:pt x="86" y="378"/>
                  </a:lnTo>
                  <a:lnTo>
                    <a:pt x="86" y="377"/>
                  </a:lnTo>
                  <a:lnTo>
                    <a:pt x="86" y="377"/>
                  </a:lnTo>
                  <a:lnTo>
                    <a:pt x="88" y="377"/>
                  </a:lnTo>
                  <a:lnTo>
                    <a:pt x="88" y="375"/>
                  </a:lnTo>
                  <a:lnTo>
                    <a:pt x="88" y="373"/>
                  </a:lnTo>
                  <a:lnTo>
                    <a:pt x="88" y="371"/>
                  </a:lnTo>
                  <a:lnTo>
                    <a:pt x="88" y="370"/>
                  </a:lnTo>
                  <a:lnTo>
                    <a:pt x="86" y="370"/>
                  </a:lnTo>
                  <a:lnTo>
                    <a:pt x="86" y="368"/>
                  </a:lnTo>
                  <a:lnTo>
                    <a:pt x="86" y="366"/>
                  </a:lnTo>
                  <a:lnTo>
                    <a:pt x="86" y="365"/>
                  </a:lnTo>
                  <a:lnTo>
                    <a:pt x="86" y="365"/>
                  </a:lnTo>
                  <a:lnTo>
                    <a:pt x="86" y="363"/>
                  </a:lnTo>
                  <a:lnTo>
                    <a:pt x="88" y="361"/>
                  </a:lnTo>
                  <a:lnTo>
                    <a:pt x="86" y="361"/>
                  </a:lnTo>
                  <a:lnTo>
                    <a:pt x="88" y="361"/>
                  </a:lnTo>
                  <a:lnTo>
                    <a:pt x="88" y="359"/>
                  </a:lnTo>
                  <a:lnTo>
                    <a:pt x="88" y="358"/>
                  </a:lnTo>
                  <a:lnTo>
                    <a:pt x="88" y="356"/>
                  </a:lnTo>
                  <a:lnTo>
                    <a:pt x="88" y="354"/>
                  </a:lnTo>
                  <a:lnTo>
                    <a:pt x="90" y="354"/>
                  </a:lnTo>
                  <a:lnTo>
                    <a:pt x="90" y="352"/>
                  </a:lnTo>
                  <a:lnTo>
                    <a:pt x="91" y="352"/>
                  </a:lnTo>
                  <a:lnTo>
                    <a:pt x="91" y="351"/>
                  </a:lnTo>
                  <a:lnTo>
                    <a:pt x="91" y="349"/>
                  </a:lnTo>
                  <a:lnTo>
                    <a:pt x="93" y="347"/>
                  </a:lnTo>
                  <a:lnTo>
                    <a:pt x="95" y="346"/>
                  </a:lnTo>
                  <a:lnTo>
                    <a:pt x="97" y="346"/>
                  </a:lnTo>
                  <a:lnTo>
                    <a:pt x="98" y="346"/>
                  </a:lnTo>
                  <a:lnTo>
                    <a:pt x="100" y="346"/>
                  </a:lnTo>
                  <a:lnTo>
                    <a:pt x="102" y="346"/>
                  </a:lnTo>
                  <a:lnTo>
                    <a:pt x="102" y="346"/>
                  </a:lnTo>
                  <a:lnTo>
                    <a:pt x="102" y="346"/>
                  </a:lnTo>
                  <a:lnTo>
                    <a:pt x="103" y="344"/>
                  </a:lnTo>
                  <a:lnTo>
                    <a:pt x="103" y="342"/>
                  </a:lnTo>
                  <a:lnTo>
                    <a:pt x="105" y="340"/>
                  </a:lnTo>
                  <a:lnTo>
                    <a:pt x="107" y="340"/>
                  </a:lnTo>
                  <a:lnTo>
                    <a:pt x="105" y="339"/>
                  </a:lnTo>
                  <a:lnTo>
                    <a:pt x="105" y="337"/>
                  </a:lnTo>
                  <a:lnTo>
                    <a:pt x="107" y="335"/>
                  </a:lnTo>
                  <a:lnTo>
                    <a:pt x="107" y="337"/>
                  </a:lnTo>
                  <a:lnTo>
                    <a:pt x="109" y="337"/>
                  </a:lnTo>
                  <a:lnTo>
                    <a:pt x="109" y="334"/>
                  </a:lnTo>
                  <a:lnTo>
                    <a:pt x="110" y="334"/>
                  </a:lnTo>
                  <a:lnTo>
                    <a:pt x="110" y="332"/>
                  </a:lnTo>
                  <a:lnTo>
                    <a:pt x="110" y="334"/>
                  </a:lnTo>
                  <a:lnTo>
                    <a:pt x="112" y="334"/>
                  </a:lnTo>
                  <a:lnTo>
                    <a:pt x="112" y="332"/>
                  </a:lnTo>
                  <a:lnTo>
                    <a:pt x="114" y="332"/>
                  </a:lnTo>
                  <a:lnTo>
                    <a:pt x="114" y="330"/>
                  </a:lnTo>
                  <a:lnTo>
                    <a:pt x="114" y="330"/>
                  </a:lnTo>
                  <a:lnTo>
                    <a:pt x="116" y="330"/>
                  </a:lnTo>
                  <a:lnTo>
                    <a:pt x="117" y="330"/>
                  </a:lnTo>
                  <a:lnTo>
                    <a:pt x="117" y="330"/>
                  </a:lnTo>
                  <a:lnTo>
                    <a:pt x="117" y="328"/>
                  </a:lnTo>
                  <a:lnTo>
                    <a:pt x="117" y="327"/>
                  </a:lnTo>
                  <a:lnTo>
                    <a:pt x="119" y="327"/>
                  </a:lnTo>
                  <a:lnTo>
                    <a:pt x="119" y="328"/>
                  </a:lnTo>
                  <a:lnTo>
                    <a:pt x="121" y="328"/>
                  </a:lnTo>
                  <a:lnTo>
                    <a:pt x="121" y="327"/>
                  </a:lnTo>
                  <a:lnTo>
                    <a:pt x="121" y="325"/>
                  </a:lnTo>
                  <a:lnTo>
                    <a:pt x="122" y="325"/>
                  </a:lnTo>
                  <a:lnTo>
                    <a:pt x="122" y="327"/>
                  </a:lnTo>
                  <a:lnTo>
                    <a:pt x="122" y="325"/>
                  </a:lnTo>
                  <a:lnTo>
                    <a:pt x="124" y="325"/>
                  </a:lnTo>
                  <a:lnTo>
                    <a:pt x="124" y="323"/>
                  </a:lnTo>
                  <a:lnTo>
                    <a:pt x="126" y="323"/>
                  </a:lnTo>
                  <a:lnTo>
                    <a:pt x="126" y="322"/>
                  </a:lnTo>
                  <a:lnTo>
                    <a:pt x="126" y="323"/>
                  </a:lnTo>
                  <a:lnTo>
                    <a:pt x="128" y="323"/>
                  </a:lnTo>
                  <a:lnTo>
                    <a:pt x="128" y="322"/>
                  </a:lnTo>
                  <a:lnTo>
                    <a:pt x="129" y="322"/>
                  </a:lnTo>
                  <a:lnTo>
                    <a:pt x="131" y="322"/>
                  </a:lnTo>
                  <a:lnTo>
                    <a:pt x="131" y="322"/>
                  </a:lnTo>
                  <a:lnTo>
                    <a:pt x="133" y="323"/>
                  </a:lnTo>
                  <a:lnTo>
                    <a:pt x="133" y="322"/>
                  </a:lnTo>
                  <a:lnTo>
                    <a:pt x="134" y="322"/>
                  </a:lnTo>
                  <a:lnTo>
                    <a:pt x="136" y="322"/>
                  </a:lnTo>
                  <a:lnTo>
                    <a:pt x="136" y="320"/>
                  </a:lnTo>
                  <a:lnTo>
                    <a:pt x="136" y="318"/>
                  </a:lnTo>
                  <a:lnTo>
                    <a:pt x="138" y="316"/>
                  </a:lnTo>
                  <a:lnTo>
                    <a:pt x="138" y="316"/>
                  </a:lnTo>
                  <a:lnTo>
                    <a:pt x="140" y="316"/>
                  </a:lnTo>
                  <a:lnTo>
                    <a:pt x="140" y="316"/>
                  </a:lnTo>
                  <a:lnTo>
                    <a:pt x="141" y="316"/>
                  </a:lnTo>
                  <a:lnTo>
                    <a:pt x="141" y="315"/>
                  </a:lnTo>
                  <a:lnTo>
                    <a:pt x="141" y="313"/>
                  </a:lnTo>
                  <a:lnTo>
                    <a:pt x="143" y="313"/>
                  </a:lnTo>
                  <a:lnTo>
                    <a:pt x="145" y="313"/>
                  </a:lnTo>
                  <a:lnTo>
                    <a:pt x="146" y="313"/>
                  </a:lnTo>
                  <a:lnTo>
                    <a:pt x="146" y="313"/>
                  </a:lnTo>
                  <a:lnTo>
                    <a:pt x="148" y="313"/>
                  </a:lnTo>
                  <a:lnTo>
                    <a:pt x="148" y="311"/>
                  </a:lnTo>
                  <a:lnTo>
                    <a:pt x="150" y="311"/>
                  </a:lnTo>
                  <a:lnTo>
                    <a:pt x="150" y="309"/>
                  </a:lnTo>
                  <a:lnTo>
                    <a:pt x="152" y="309"/>
                  </a:lnTo>
                  <a:lnTo>
                    <a:pt x="152" y="308"/>
                  </a:lnTo>
                  <a:lnTo>
                    <a:pt x="152" y="306"/>
                  </a:lnTo>
                  <a:lnTo>
                    <a:pt x="153" y="306"/>
                  </a:lnTo>
                  <a:lnTo>
                    <a:pt x="153" y="304"/>
                  </a:lnTo>
                  <a:lnTo>
                    <a:pt x="152" y="304"/>
                  </a:lnTo>
                  <a:lnTo>
                    <a:pt x="150" y="304"/>
                  </a:lnTo>
                  <a:lnTo>
                    <a:pt x="150" y="303"/>
                  </a:lnTo>
                  <a:lnTo>
                    <a:pt x="150" y="301"/>
                  </a:lnTo>
                  <a:lnTo>
                    <a:pt x="148" y="301"/>
                  </a:lnTo>
                  <a:lnTo>
                    <a:pt x="148" y="301"/>
                  </a:lnTo>
                  <a:lnTo>
                    <a:pt x="150" y="301"/>
                  </a:lnTo>
                  <a:lnTo>
                    <a:pt x="152" y="299"/>
                  </a:lnTo>
                  <a:lnTo>
                    <a:pt x="152" y="301"/>
                  </a:lnTo>
                  <a:lnTo>
                    <a:pt x="153" y="301"/>
                  </a:lnTo>
                  <a:lnTo>
                    <a:pt x="153" y="299"/>
                  </a:lnTo>
                  <a:lnTo>
                    <a:pt x="152" y="299"/>
                  </a:lnTo>
                  <a:lnTo>
                    <a:pt x="153" y="299"/>
                  </a:lnTo>
                  <a:lnTo>
                    <a:pt x="153" y="297"/>
                  </a:lnTo>
                  <a:lnTo>
                    <a:pt x="155" y="297"/>
                  </a:lnTo>
                  <a:lnTo>
                    <a:pt x="155" y="296"/>
                  </a:lnTo>
                  <a:lnTo>
                    <a:pt x="153" y="296"/>
                  </a:lnTo>
                  <a:lnTo>
                    <a:pt x="153" y="294"/>
                  </a:lnTo>
                  <a:lnTo>
                    <a:pt x="155" y="294"/>
                  </a:lnTo>
                  <a:lnTo>
                    <a:pt x="155" y="292"/>
                  </a:lnTo>
                  <a:lnTo>
                    <a:pt x="157" y="292"/>
                  </a:lnTo>
                  <a:lnTo>
                    <a:pt x="157" y="291"/>
                  </a:lnTo>
                  <a:lnTo>
                    <a:pt x="155" y="291"/>
                  </a:lnTo>
                  <a:lnTo>
                    <a:pt x="155" y="289"/>
                  </a:lnTo>
                  <a:lnTo>
                    <a:pt x="157" y="289"/>
                  </a:lnTo>
                  <a:lnTo>
                    <a:pt x="157" y="287"/>
                  </a:lnTo>
                  <a:lnTo>
                    <a:pt x="157" y="285"/>
                  </a:lnTo>
                  <a:lnTo>
                    <a:pt x="159" y="285"/>
                  </a:lnTo>
                  <a:lnTo>
                    <a:pt x="157" y="285"/>
                  </a:lnTo>
                  <a:lnTo>
                    <a:pt x="157" y="284"/>
                  </a:lnTo>
                  <a:lnTo>
                    <a:pt x="159" y="284"/>
                  </a:lnTo>
                  <a:lnTo>
                    <a:pt x="159" y="282"/>
                  </a:lnTo>
                  <a:lnTo>
                    <a:pt x="160" y="282"/>
                  </a:lnTo>
                  <a:lnTo>
                    <a:pt x="162" y="282"/>
                  </a:lnTo>
                  <a:lnTo>
                    <a:pt x="162" y="282"/>
                  </a:lnTo>
                  <a:lnTo>
                    <a:pt x="164" y="282"/>
                  </a:lnTo>
                  <a:lnTo>
                    <a:pt x="164" y="280"/>
                  </a:lnTo>
                  <a:lnTo>
                    <a:pt x="165" y="280"/>
                  </a:lnTo>
                  <a:lnTo>
                    <a:pt x="165" y="279"/>
                  </a:lnTo>
                  <a:lnTo>
                    <a:pt x="167" y="279"/>
                  </a:lnTo>
                  <a:lnTo>
                    <a:pt x="169" y="279"/>
                  </a:lnTo>
                  <a:lnTo>
                    <a:pt x="169" y="277"/>
                  </a:lnTo>
                  <a:lnTo>
                    <a:pt x="171" y="277"/>
                  </a:lnTo>
                  <a:lnTo>
                    <a:pt x="172" y="277"/>
                  </a:lnTo>
                  <a:lnTo>
                    <a:pt x="174" y="277"/>
                  </a:lnTo>
                  <a:lnTo>
                    <a:pt x="176" y="277"/>
                  </a:lnTo>
                  <a:lnTo>
                    <a:pt x="177" y="277"/>
                  </a:lnTo>
                  <a:lnTo>
                    <a:pt x="177" y="277"/>
                  </a:lnTo>
                  <a:lnTo>
                    <a:pt x="177" y="275"/>
                  </a:lnTo>
                  <a:lnTo>
                    <a:pt x="177" y="273"/>
                  </a:lnTo>
                  <a:lnTo>
                    <a:pt x="179" y="273"/>
                  </a:lnTo>
                  <a:lnTo>
                    <a:pt x="179" y="272"/>
                  </a:lnTo>
                  <a:lnTo>
                    <a:pt x="179" y="270"/>
                  </a:lnTo>
                  <a:lnTo>
                    <a:pt x="181" y="270"/>
                  </a:lnTo>
                  <a:lnTo>
                    <a:pt x="181" y="270"/>
                  </a:lnTo>
                  <a:lnTo>
                    <a:pt x="183" y="270"/>
                  </a:lnTo>
                  <a:lnTo>
                    <a:pt x="181" y="270"/>
                  </a:lnTo>
                  <a:lnTo>
                    <a:pt x="181" y="268"/>
                  </a:lnTo>
                  <a:lnTo>
                    <a:pt x="181" y="266"/>
                  </a:lnTo>
                  <a:lnTo>
                    <a:pt x="181" y="265"/>
                  </a:lnTo>
                  <a:lnTo>
                    <a:pt x="181" y="263"/>
                  </a:lnTo>
                  <a:lnTo>
                    <a:pt x="179" y="263"/>
                  </a:lnTo>
                  <a:lnTo>
                    <a:pt x="181" y="261"/>
                  </a:lnTo>
                  <a:lnTo>
                    <a:pt x="183" y="261"/>
                  </a:lnTo>
                  <a:lnTo>
                    <a:pt x="184" y="260"/>
                  </a:lnTo>
                  <a:lnTo>
                    <a:pt x="186" y="258"/>
                  </a:lnTo>
                  <a:lnTo>
                    <a:pt x="186" y="256"/>
                  </a:lnTo>
                  <a:lnTo>
                    <a:pt x="186" y="254"/>
                  </a:lnTo>
                  <a:lnTo>
                    <a:pt x="188" y="254"/>
                  </a:lnTo>
                  <a:lnTo>
                    <a:pt x="188" y="254"/>
                  </a:lnTo>
                  <a:lnTo>
                    <a:pt x="189" y="254"/>
                  </a:lnTo>
                  <a:lnTo>
                    <a:pt x="189" y="253"/>
                  </a:lnTo>
                  <a:lnTo>
                    <a:pt x="189" y="251"/>
                  </a:lnTo>
                  <a:lnTo>
                    <a:pt x="188" y="251"/>
                  </a:lnTo>
                  <a:lnTo>
                    <a:pt x="188" y="249"/>
                  </a:lnTo>
                  <a:lnTo>
                    <a:pt x="186" y="248"/>
                  </a:lnTo>
                  <a:lnTo>
                    <a:pt x="186" y="246"/>
                  </a:lnTo>
                  <a:lnTo>
                    <a:pt x="186" y="244"/>
                  </a:lnTo>
                  <a:lnTo>
                    <a:pt x="184" y="244"/>
                  </a:lnTo>
                  <a:lnTo>
                    <a:pt x="184" y="242"/>
                  </a:lnTo>
                  <a:lnTo>
                    <a:pt x="183" y="242"/>
                  </a:lnTo>
                  <a:lnTo>
                    <a:pt x="183" y="241"/>
                  </a:lnTo>
                  <a:lnTo>
                    <a:pt x="181" y="241"/>
                  </a:lnTo>
                  <a:lnTo>
                    <a:pt x="181" y="241"/>
                  </a:lnTo>
                  <a:lnTo>
                    <a:pt x="179" y="241"/>
                  </a:lnTo>
                  <a:lnTo>
                    <a:pt x="179" y="241"/>
                  </a:lnTo>
                  <a:lnTo>
                    <a:pt x="177" y="241"/>
                  </a:lnTo>
                  <a:lnTo>
                    <a:pt x="177" y="241"/>
                  </a:lnTo>
                  <a:lnTo>
                    <a:pt x="177" y="239"/>
                  </a:lnTo>
                  <a:lnTo>
                    <a:pt x="177" y="239"/>
                  </a:lnTo>
                  <a:lnTo>
                    <a:pt x="177" y="239"/>
                  </a:lnTo>
                  <a:lnTo>
                    <a:pt x="177" y="237"/>
                  </a:lnTo>
                  <a:lnTo>
                    <a:pt x="177" y="236"/>
                  </a:lnTo>
                  <a:lnTo>
                    <a:pt x="177" y="234"/>
                  </a:lnTo>
                  <a:lnTo>
                    <a:pt x="179" y="234"/>
                  </a:lnTo>
                  <a:lnTo>
                    <a:pt x="179" y="232"/>
                  </a:lnTo>
                  <a:lnTo>
                    <a:pt x="179" y="230"/>
                  </a:lnTo>
                  <a:lnTo>
                    <a:pt x="181" y="230"/>
                  </a:lnTo>
                  <a:lnTo>
                    <a:pt x="181" y="229"/>
                  </a:lnTo>
                  <a:lnTo>
                    <a:pt x="181" y="227"/>
                  </a:lnTo>
                  <a:lnTo>
                    <a:pt x="179" y="227"/>
                  </a:lnTo>
                  <a:lnTo>
                    <a:pt x="179" y="225"/>
                  </a:lnTo>
                  <a:lnTo>
                    <a:pt x="179" y="225"/>
                  </a:lnTo>
                  <a:lnTo>
                    <a:pt x="179" y="223"/>
                  </a:lnTo>
                  <a:lnTo>
                    <a:pt x="181" y="223"/>
                  </a:lnTo>
                  <a:lnTo>
                    <a:pt x="181" y="222"/>
                  </a:lnTo>
                  <a:lnTo>
                    <a:pt x="181" y="220"/>
                  </a:lnTo>
                  <a:lnTo>
                    <a:pt x="179" y="218"/>
                  </a:lnTo>
                  <a:lnTo>
                    <a:pt x="179" y="217"/>
                  </a:lnTo>
                  <a:lnTo>
                    <a:pt x="181" y="217"/>
                  </a:lnTo>
                  <a:lnTo>
                    <a:pt x="181" y="215"/>
                  </a:lnTo>
                  <a:lnTo>
                    <a:pt x="181" y="213"/>
                  </a:lnTo>
                  <a:lnTo>
                    <a:pt x="183" y="213"/>
                  </a:lnTo>
                  <a:lnTo>
                    <a:pt x="183" y="211"/>
                  </a:lnTo>
                  <a:lnTo>
                    <a:pt x="184" y="211"/>
                  </a:lnTo>
                  <a:lnTo>
                    <a:pt x="184" y="210"/>
                  </a:lnTo>
                  <a:lnTo>
                    <a:pt x="186" y="210"/>
                  </a:lnTo>
                  <a:lnTo>
                    <a:pt x="184" y="210"/>
                  </a:lnTo>
                  <a:lnTo>
                    <a:pt x="186" y="210"/>
                  </a:lnTo>
                  <a:lnTo>
                    <a:pt x="186" y="210"/>
                  </a:lnTo>
                  <a:lnTo>
                    <a:pt x="186" y="208"/>
                  </a:lnTo>
                  <a:lnTo>
                    <a:pt x="186" y="206"/>
                  </a:lnTo>
                  <a:lnTo>
                    <a:pt x="186" y="205"/>
                  </a:lnTo>
                  <a:lnTo>
                    <a:pt x="188" y="205"/>
                  </a:lnTo>
                  <a:lnTo>
                    <a:pt x="188" y="203"/>
                  </a:lnTo>
                  <a:lnTo>
                    <a:pt x="188" y="201"/>
                  </a:lnTo>
                  <a:lnTo>
                    <a:pt x="188" y="199"/>
                  </a:lnTo>
                  <a:lnTo>
                    <a:pt x="188" y="198"/>
                  </a:lnTo>
                  <a:lnTo>
                    <a:pt x="188" y="196"/>
                  </a:lnTo>
                  <a:lnTo>
                    <a:pt x="188" y="194"/>
                  </a:lnTo>
                  <a:lnTo>
                    <a:pt x="186" y="194"/>
                  </a:lnTo>
                  <a:lnTo>
                    <a:pt x="186" y="194"/>
                  </a:lnTo>
                  <a:lnTo>
                    <a:pt x="186" y="193"/>
                  </a:lnTo>
                  <a:lnTo>
                    <a:pt x="188" y="193"/>
                  </a:lnTo>
                  <a:lnTo>
                    <a:pt x="188" y="191"/>
                  </a:lnTo>
                  <a:lnTo>
                    <a:pt x="188" y="189"/>
                  </a:lnTo>
                  <a:lnTo>
                    <a:pt x="186" y="189"/>
                  </a:lnTo>
                  <a:lnTo>
                    <a:pt x="184" y="189"/>
                  </a:lnTo>
                  <a:lnTo>
                    <a:pt x="186" y="187"/>
                  </a:lnTo>
                  <a:lnTo>
                    <a:pt x="184" y="187"/>
                  </a:lnTo>
                  <a:lnTo>
                    <a:pt x="184" y="186"/>
                  </a:lnTo>
                  <a:lnTo>
                    <a:pt x="183" y="184"/>
                  </a:lnTo>
                  <a:lnTo>
                    <a:pt x="183" y="182"/>
                  </a:lnTo>
                  <a:lnTo>
                    <a:pt x="181" y="182"/>
                  </a:lnTo>
                  <a:lnTo>
                    <a:pt x="179" y="180"/>
                  </a:lnTo>
                  <a:lnTo>
                    <a:pt x="177" y="180"/>
                  </a:lnTo>
                  <a:lnTo>
                    <a:pt x="177" y="180"/>
                  </a:lnTo>
                  <a:lnTo>
                    <a:pt x="177" y="179"/>
                  </a:lnTo>
                  <a:lnTo>
                    <a:pt x="177" y="179"/>
                  </a:lnTo>
                  <a:lnTo>
                    <a:pt x="176" y="177"/>
                  </a:lnTo>
                  <a:lnTo>
                    <a:pt x="176" y="179"/>
                  </a:lnTo>
                  <a:lnTo>
                    <a:pt x="174" y="179"/>
                  </a:lnTo>
                  <a:lnTo>
                    <a:pt x="174" y="177"/>
                  </a:lnTo>
                  <a:lnTo>
                    <a:pt x="172" y="177"/>
                  </a:lnTo>
                  <a:lnTo>
                    <a:pt x="171" y="177"/>
                  </a:lnTo>
                  <a:lnTo>
                    <a:pt x="169" y="175"/>
                  </a:lnTo>
                  <a:lnTo>
                    <a:pt x="167" y="175"/>
                  </a:lnTo>
                  <a:lnTo>
                    <a:pt x="165" y="175"/>
                  </a:lnTo>
                  <a:lnTo>
                    <a:pt x="164" y="177"/>
                  </a:lnTo>
                  <a:lnTo>
                    <a:pt x="162" y="177"/>
                  </a:lnTo>
                  <a:lnTo>
                    <a:pt x="162" y="175"/>
                  </a:lnTo>
                  <a:lnTo>
                    <a:pt x="162" y="175"/>
                  </a:lnTo>
                  <a:lnTo>
                    <a:pt x="162" y="174"/>
                  </a:lnTo>
                  <a:lnTo>
                    <a:pt x="162" y="175"/>
                  </a:lnTo>
                  <a:lnTo>
                    <a:pt x="160" y="175"/>
                  </a:lnTo>
                  <a:lnTo>
                    <a:pt x="159" y="175"/>
                  </a:lnTo>
                  <a:lnTo>
                    <a:pt x="159" y="174"/>
                  </a:lnTo>
                  <a:lnTo>
                    <a:pt x="159" y="172"/>
                  </a:lnTo>
                  <a:lnTo>
                    <a:pt x="157" y="172"/>
                  </a:lnTo>
                  <a:lnTo>
                    <a:pt x="157" y="174"/>
                  </a:lnTo>
                  <a:lnTo>
                    <a:pt x="155" y="174"/>
                  </a:lnTo>
                  <a:lnTo>
                    <a:pt x="157" y="172"/>
                  </a:lnTo>
                  <a:lnTo>
                    <a:pt x="155" y="172"/>
                  </a:lnTo>
                  <a:lnTo>
                    <a:pt x="155" y="170"/>
                  </a:lnTo>
                  <a:lnTo>
                    <a:pt x="155" y="172"/>
                  </a:lnTo>
                  <a:lnTo>
                    <a:pt x="153" y="172"/>
                  </a:lnTo>
                  <a:lnTo>
                    <a:pt x="152" y="172"/>
                  </a:lnTo>
                  <a:lnTo>
                    <a:pt x="152" y="170"/>
                  </a:lnTo>
                  <a:lnTo>
                    <a:pt x="152" y="168"/>
                  </a:lnTo>
                  <a:lnTo>
                    <a:pt x="152" y="170"/>
                  </a:lnTo>
                  <a:lnTo>
                    <a:pt x="150" y="170"/>
                  </a:lnTo>
                  <a:lnTo>
                    <a:pt x="148" y="170"/>
                  </a:lnTo>
                  <a:lnTo>
                    <a:pt x="146" y="170"/>
                  </a:lnTo>
                  <a:lnTo>
                    <a:pt x="146" y="170"/>
                  </a:lnTo>
                  <a:lnTo>
                    <a:pt x="146" y="168"/>
                  </a:lnTo>
                  <a:lnTo>
                    <a:pt x="146" y="167"/>
                  </a:lnTo>
                  <a:lnTo>
                    <a:pt x="146" y="165"/>
                  </a:lnTo>
                  <a:lnTo>
                    <a:pt x="146" y="165"/>
                  </a:lnTo>
                  <a:lnTo>
                    <a:pt x="146" y="167"/>
                  </a:lnTo>
                  <a:lnTo>
                    <a:pt x="145" y="167"/>
                  </a:lnTo>
                  <a:lnTo>
                    <a:pt x="143" y="168"/>
                  </a:lnTo>
                  <a:lnTo>
                    <a:pt x="141" y="168"/>
                  </a:lnTo>
                  <a:lnTo>
                    <a:pt x="140" y="168"/>
                  </a:lnTo>
                  <a:lnTo>
                    <a:pt x="140" y="167"/>
                  </a:lnTo>
                  <a:lnTo>
                    <a:pt x="141" y="167"/>
                  </a:lnTo>
                  <a:lnTo>
                    <a:pt x="143" y="167"/>
                  </a:lnTo>
                  <a:lnTo>
                    <a:pt x="143" y="165"/>
                  </a:lnTo>
                  <a:lnTo>
                    <a:pt x="143" y="165"/>
                  </a:lnTo>
                  <a:lnTo>
                    <a:pt x="143" y="163"/>
                  </a:lnTo>
                  <a:lnTo>
                    <a:pt x="143" y="162"/>
                  </a:lnTo>
                  <a:lnTo>
                    <a:pt x="141" y="162"/>
                  </a:lnTo>
                  <a:lnTo>
                    <a:pt x="141" y="163"/>
                  </a:lnTo>
                  <a:lnTo>
                    <a:pt x="140" y="163"/>
                  </a:lnTo>
                  <a:lnTo>
                    <a:pt x="138" y="162"/>
                  </a:lnTo>
                  <a:lnTo>
                    <a:pt x="136" y="162"/>
                  </a:lnTo>
                  <a:lnTo>
                    <a:pt x="136" y="160"/>
                  </a:lnTo>
                  <a:lnTo>
                    <a:pt x="136" y="158"/>
                  </a:lnTo>
                  <a:lnTo>
                    <a:pt x="136" y="155"/>
                  </a:lnTo>
                  <a:lnTo>
                    <a:pt x="138" y="155"/>
                  </a:lnTo>
                  <a:lnTo>
                    <a:pt x="140" y="155"/>
                  </a:lnTo>
                  <a:lnTo>
                    <a:pt x="141" y="155"/>
                  </a:lnTo>
                  <a:lnTo>
                    <a:pt x="141" y="153"/>
                  </a:lnTo>
                  <a:lnTo>
                    <a:pt x="140" y="153"/>
                  </a:lnTo>
                  <a:lnTo>
                    <a:pt x="140" y="151"/>
                  </a:lnTo>
                  <a:lnTo>
                    <a:pt x="141" y="151"/>
                  </a:lnTo>
                  <a:lnTo>
                    <a:pt x="143" y="151"/>
                  </a:lnTo>
                  <a:lnTo>
                    <a:pt x="143" y="149"/>
                  </a:lnTo>
                  <a:lnTo>
                    <a:pt x="143" y="149"/>
                  </a:lnTo>
                  <a:lnTo>
                    <a:pt x="141" y="148"/>
                  </a:lnTo>
                  <a:lnTo>
                    <a:pt x="141" y="146"/>
                  </a:lnTo>
                  <a:lnTo>
                    <a:pt x="141" y="144"/>
                  </a:lnTo>
                  <a:lnTo>
                    <a:pt x="141" y="143"/>
                  </a:lnTo>
                  <a:lnTo>
                    <a:pt x="141" y="141"/>
                  </a:lnTo>
                  <a:lnTo>
                    <a:pt x="140" y="141"/>
                  </a:lnTo>
                  <a:lnTo>
                    <a:pt x="140" y="139"/>
                  </a:lnTo>
                  <a:lnTo>
                    <a:pt x="141" y="139"/>
                  </a:lnTo>
                  <a:lnTo>
                    <a:pt x="141" y="137"/>
                  </a:lnTo>
                  <a:lnTo>
                    <a:pt x="143" y="137"/>
                  </a:lnTo>
                  <a:lnTo>
                    <a:pt x="141" y="136"/>
                  </a:lnTo>
                  <a:lnTo>
                    <a:pt x="140" y="136"/>
                  </a:lnTo>
                  <a:lnTo>
                    <a:pt x="140" y="134"/>
                  </a:lnTo>
                  <a:lnTo>
                    <a:pt x="138" y="134"/>
                  </a:lnTo>
                  <a:lnTo>
                    <a:pt x="138" y="134"/>
                  </a:lnTo>
                  <a:lnTo>
                    <a:pt x="136" y="132"/>
                  </a:lnTo>
                  <a:lnTo>
                    <a:pt x="138" y="132"/>
                  </a:lnTo>
                  <a:lnTo>
                    <a:pt x="138" y="131"/>
                  </a:lnTo>
                  <a:lnTo>
                    <a:pt x="138" y="129"/>
                  </a:lnTo>
                  <a:lnTo>
                    <a:pt x="136" y="127"/>
                  </a:lnTo>
                  <a:lnTo>
                    <a:pt x="134" y="127"/>
                  </a:lnTo>
                  <a:lnTo>
                    <a:pt x="134" y="129"/>
                  </a:lnTo>
                  <a:lnTo>
                    <a:pt x="134" y="131"/>
                  </a:lnTo>
                  <a:lnTo>
                    <a:pt x="134" y="132"/>
                  </a:lnTo>
                  <a:lnTo>
                    <a:pt x="133" y="131"/>
                  </a:lnTo>
                  <a:lnTo>
                    <a:pt x="131" y="131"/>
                  </a:lnTo>
                  <a:lnTo>
                    <a:pt x="131" y="129"/>
                  </a:lnTo>
                  <a:lnTo>
                    <a:pt x="131" y="129"/>
                  </a:lnTo>
                  <a:lnTo>
                    <a:pt x="131" y="131"/>
                  </a:lnTo>
                  <a:lnTo>
                    <a:pt x="129" y="131"/>
                  </a:lnTo>
                  <a:lnTo>
                    <a:pt x="129" y="129"/>
                  </a:lnTo>
                  <a:lnTo>
                    <a:pt x="129" y="127"/>
                  </a:lnTo>
                  <a:lnTo>
                    <a:pt x="131" y="127"/>
                  </a:lnTo>
                  <a:lnTo>
                    <a:pt x="131" y="125"/>
                  </a:lnTo>
                  <a:lnTo>
                    <a:pt x="131" y="125"/>
                  </a:lnTo>
                  <a:lnTo>
                    <a:pt x="133" y="125"/>
                  </a:lnTo>
                  <a:lnTo>
                    <a:pt x="134" y="125"/>
                  </a:lnTo>
                  <a:lnTo>
                    <a:pt x="136" y="125"/>
                  </a:lnTo>
                  <a:lnTo>
                    <a:pt x="136" y="124"/>
                  </a:lnTo>
                  <a:lnTo>
                    <a:pt x="136" y="122"/>
                  </a:lnTo>
                  <a:lnTo>
                    <a:pt x="136" y="120"/>
                  </a:lnTo>
                  <a:lnTo>
                    <a:pt x="134" y="120"/>
                  </a:lnTo>
                  <a:lnTo>
                    <a:pt x="133" y="120"/>
                  </a:lnTo>
                  <a:lnTo>
                    <a:pt x="131" y="120"/>
                  </a:lnTo>
                  <a:lnTo>
                    <a:pt x="129" y="120"/>
                  </a:lnTo>
                  <a:lnTo>
                    <a:pt x="128" y="120"/>
                  </a:lnTo>
                  <a:lnTo>
                    <a:pt x="128" y="119"/>
                  </a:lnTo>
                  <a:lnTo>
                    <a:pt x="126" y="119"/>
                  </a:lnTo>
                  <a:lnTo>
                    <a:pt x="126" y="117"/>
                  </a:lnTo>
                  <a:lnTo>
                    <a:pt x="128" y="115"/>
                  </a:lnTo>
                  <a:lnTo>
                    <a:pt x="126" y="115"/>
                  </a:lnTo>
                  <a:lnTo>
                    <a:pt x="126" y="113"/>
                  </a:lnTo>
                  <a:lnTo>
                    <a:pt x="126" y="112"/>
                  </a:lnTo>
                  <a:lnTo>
                    <a:pt x="128" y="112"/>
                  </a:lnTo>
                  <a:lnTo>
                    <a:pt x="128" y="110"/>
                  </a:lnTo>
                  <a:lnTo>
                    <a:pt x="126" y="108"/>
                  </a:lnTo>
                  <a:lnTo>
                    <a:pt x="126" y="106"/>
                  </a:lnTo>
                  <a:lnTo>
                    <a:pt x="128" y="106"/>
                  </a:lnTo>
                  <a:lnTo>
                    <a:pt x="129" y="108"/>
                  </a:lnTo>
                  <a:lnTo>
                    <a:pt x="129" y="106"/>
                  </a:lnTo>
                  <a:lnTo>
                    <a:pt x="129" y="105"/>
                  </a:lnTo>
                  <a:lnTo>
                    <a:pt x="129" y="105"/>
                  </a:lnTo>
                  <a:lnTo>
                    <a:pt x="131" y="105"/>
                  </a:lnTo>
                  <a:lnTo>
                    <a:pt x="129" y="105"/>
                  </a:lnTo>
                  <a:lnTo>
                    <a:pt x="128" y="105"/>
                  </a:lnTo>
                  <a:lnTo>
                    <a:pt x="122" y="105"/>
                  </a:lnTo>
                  <a:lnTo>
                    <a:pt x="117" y="105"/>
                  </a:lnTo>
                  <a:lnTo>
                    <a:pt x="110" y="105"/>
                  </a:lnTo>
                  <a:lnTo>
                    <a:pt x="103" y="105"/>
                  </a:lnTo>
                  <a:lnTo>
                    <a:pt x="97" y="105"/>
                  </a:lnTo>
                  <a:lnTo>
                    <a:pt x="93" y="105"/>
                  </a:lnTo>
                  <a:lnTo>
                    <a:pt x="88" y="105"/>
                  </a:lnTo>
                  <a:lnTo>
                    <a:pt x="86" y="105"/>
                  </a:lnTo>
                  <a:lnTo>
                    <a:pt x="88" y="105"/>
                  </a:lnTo>
                  <a:lnTo>
                    <a:pt x="88" y="105"/>
                  </a:lnTo>
                  <a:lnTo>
                    <a:pt x="88" y="103"/>
                  </a:lnTo>
                  <a:lnTo>
                    <a:pt x="90" y="103"/>
                  </a:lnTo>
                  <a:lnTo>
                    <a:pt x="88" y="103"/>
                  </a:lnTo>
                  <a:lnTo>
                    <a:pt x="88" y="101"/>
                  </a:lnTo>
                  <a:lnTo>
                    <a:pt x="88" y="100"/>
                  </a:lnTo>
                  <a:lnTo>
                    <a:pt x="90" y="100"/>
                  </a:lnTo>
                  <a:lnTo>
                    <a:pt x="90" y="98"/>
                  </a:lnTo>
                  <a:lnTo>
                    <a:pt x="88" y="98"/>
                  </a:lnTo>
                  <a:lnTo>
                    <a:pt x="86" y="98"/>
                  </a:lnTo>
                  <a:lnTo>
                    <a:pt x="86" y="96"/>
                  </a:lnTo>
                  <a:lnTo>
                    <a:pt x="88" y="94"/>
                  </a:lnTo>
                  <a:lnTo>
                    <a:pt x="88" y="93"/>
                  </a:lnTo>
                  <a:lnTo>
                    <a:pt x="88" y="91"/>
                  </a:lnTo>
                  <a:lnTo>
                    <a:pt x="88" y="89"/>
                  </a:lnTo>
                  <a:lnTo>
                    <a:pt x="86" y="89"/>
                  </a:lnTo>
                  <a:lnTo>
                    <a:pt x="86" y="88"/>
                  </a:lnTo>
                  <a:lnTo>
                    <a:pt x="88" y="88"/>
                  </a:lnTo>
                  <a:lnTo>
                    <a:pt x="90" y="88"/>
                  </a:lnTo>
                  <a:lnTo>
                    <a:pt x="90" y="86"/>
                  </a:lnTo>
                  <a:lnTo>
                    <a:pt x="91" y="86"/>
                  </a:lnTo>
                  <a:lnTo>
                    <a:pt x="90" y="86"/>
                  </a:lnTo>
                  <a:lnTo>
                    <a:pt x="90" y="84"/>
                  </a:lnTo>
                  <a:lnTo>
                    <a:pt x="88" y="84"/>
                  </a:lnTo>
                  <a:lnTo>
                    <a:pt x="88" y="82"/>
                  </a:lnTo>
                  <a:lnTo>
                    <a:pt x="90" y="81"/>
                  </a:lnTo>
                  <a:lnTo>
                    <a:pt x="91" y="81"/>
                  </a:lnTo>
                  <a:lnTo>
                    <a:pt x="93" y="81"/>
                  </a:lnTo>
                  <a:lnTo>
                    <a:pt x="95" y="81"/>
                  </a:lnTo>
                  <a:lnTo>
                    <a:pt x="97" y="81"/>
                  </a:lnTo>
                  <a:lnTo>
                    <a:pt x="97" y="79"/>
                  </a:lnTo>
                  <a:lnTo>
                    <a:pt x="95" y="79"/>
                  </a:lnTo>
                  <a:lnTo>
                    <a:pt x="93" y="79"/>
                  </a:lnTo>
                  <a:lnTo>
                    <a:pt x="93" y="77"/>
                  </a:lnTo>
                  <a:lnTo>
                    <a:pt x="91" y="77"/>
                  </a:lnTo>
                  <a:lnTo>
                    <a:pt x="91" y="76"/>
                  </a:lnTo>
                  <a:lnTo>
                    <a:pt x="91" y="74"/>
                  </a:lnTo>
                  <a:lnTo>
                    <a:pt x="93" y="74"/>
                  </a:lnTo>
                  <a:lnTo>
                    <a:pt x="93" y="74"/>
                  </a:lnTo>
                  <a:lnTo>
                    <a:pt x="93" y="72"/>
                  </a:lnTo>
                  <a:lnTo>
                    <a:pt x="93" y="70"/>
                  </a:lnTo>
                  <a:lnTo>
                    <a:pt x="95" y="70"/>
                  </a:lnTo>
                  <a:lnTo>
                    <a:pt x="95" y="69"/>
                  </a:lnTo>
                  <a:lnTo>
                    <a:pt x="97" y="69"/>
                  </a:lnTo>
                  <a:lnTo>
                    <a:pt x="97" y="70"/>
                  </a:lnTo>
                  <a:lnTo>
                    <a:pt x="97" y="72"/>
                  </a:lnTo>
                  <a:lnTo>
                    <a:pt x="98" y="72"/>
                  </a:lnTo>
                  <a:lnTo>
                    <a:pt x="100" y="72"/>
                  </a:lnTo>
                  <a:lnTo>
                    <a:pt x="100" y="70"/>
                  </a:lnTo>
                  <a:lnTo>
                    <a:pt x="100" y="69"/>
                  </a:lnTo>
                  <a:lnTo>
                    <a:pt x="100" y="67"/>
                  </a:lnTo>
                  <a:lnTo>
                    <a:pt x="100" y="65"/>
                  </a:lnTo>
                  <a:lnTo>
                    <a:pt x="102" y="65"/>
                  </a:lnTo>
                  <a:lnTo>
                    <a:pt x="102" y="67"/>
                  </a:lnTo>
                  <a:lnTo>
                    <a:pt x="102" y="67"/>
                  </a:lnTo>
                  <a:lnTo>
                    <a:pt x="103" y="65"/>
                  </a:lnTo>
                  <a:lnTo>
                    <a:pt x="105" y="65"/>
                  </a:lnTo>
                  <a:lnTo>
                    <a:pt x="105" y="67"/>
                  </a:lnTo>
                  <a:lnTo>
                    <a:pt x="103" y="67"/>
                  </a:lnTo>
                  <a:lnTo>
                    <a:pt x="102" y="67"/>
                  </a:lnTo>
                  <a:lnTo>
                    <a:pt x="102" y="69"/>
                  </a:lnTo>
                  <a:lnTo>
                    <a:pt x="103" y="70"/>
                  </a:lnTo>
                  <a:lnTo>
                    <a:pt x="105" y="70"/>
                  </a:lnTo>
                  <a:lnTo>
                    <a:pt x="105" y="69"/>
                  </a:lnTo>
                  <a:lnTo>
                    <a:pt x="107" y="69"/>
                  </a:lnTo>
                  <a:lnTo>
                    <a:pt x="107" y="67"/>
                  </a:lnTo>
                  <a:lnTo>
                    <a:pt x="109" y="65"/>
                  </a:lnTo>
                  <a:lnTo>
                    <a:pt x="107" y="65"/>
                  </a:lnTo>
                  <a:lnTo>
                    <a:pt x="107" y="63"/>
                  </a:lnTo>
                  <a:lnTo>
                    <a:pt x="107" y="62"/>
                  </a:lnTo>
                  <a:lnTo>
                    <a:pt x="105" y="62"/>
                  </a:lnTo>
                  <a:lnTo>
                    <a:pt x="105" y="60"/>
                  </a:lnTo>
                  <a:lnTo>
                    <a:pt x="105" y="60"/>
                  </a:lnTo>
                  <a:lnTo>
                    <a:pt x="107" y="60"/>
                  </a:lnTo>
                  <a:lnTo>
                    <a:pt x="107" y="58"/>
                  </a:lnTo>
                  <a:lnTo>
                    <a:pt x="109" y="58"/>
                  </a:lnTo>
                  <a:lnTo>
                    <a:pt x="109" y="57"/>
                  </a:lnTo>
                  <a:lnTo>
                    <a:pt x="109" y="55"/>
                  </a:lnTo>
                  <a:lnTo>
                    <a:pt x="109" y="53"/>
                  </a:lnTo>
                  <a:lnTo>
                    <a:pt x="109" y="51"/>
                  </a:lnTo>
                  <a:lnTo>
                    <a:pt x="110" y="51"/>
                  </a:lnTo>
                  <a:lnTo>
                    <a:pt x="110" y="50"/>
                  </a:lnTo>
                  <a:lnTo>
                    <a:pt x="109" y="48"/>
                  </a:lnTo>
                  <a:lnTo>
                    <a:pt x="107" y="48"/>
                  </a:lnTo>
                  <a:lnTo>
                    <a:pt x="107" y="46"/>
                  </a:lnTo>
                  <a:lnTo>
                    <a:pt x="107" y="45"/>
                  </a:lnTo>
                  <a:lnTo>
                    <a:pt x="109" y="45"/>
                  </a:lnTo>
                  <a:lnTo>
                    <a:pt x="109" y="45"/>
                  </a:lnTo>
                  <a:lnTo>
                    <a:pt x="107" y="45"/>
                  </a:lnTo>
                  <a:lnTo>
                    <a:pt x="105" y="45"/>
                  </a:lnTo>
                  <a:lnTo>
                    <a:pt x="105" y="43"/>
                  </a:lnTo>
                  <a:lnTo>
                    <a:pt x="107" y="43"/>
                  </a:lnTo>
                  <a:lnTo>
                    <a:pt x="107" y="41"/>
                  </a:lnTo>
                  <a:lnTo>
                    <a:pt x="109" y="41"/>
                  </a:lnTo>
                  <a:lnTo>
                    <a:pt x="110" y="41"/>
                  </a:lnTo>
                  <a:lnTo>
                    <a:pt x="110" y="39"/>
                  </a:lnTo>
                  <a:lnTo>
                    <a:pt x="109" y="39"/>
                  </a:lnTo>
                  <a:lnTo>
                    <a:pt x="109" y="41"/>
                  </a:lnTo>
                  <a:lnTo>
                    <a:pt x="107" y="41"/>
                  </a:lnTo>
                  <a:lnTo>
                    <a:pt x="107" y="39"/>
                  </a:lnTo>
                  <a:lnTo>
                    <a:pt x="107" y="38"/>
                  </a:lnTo>
                  <a:lnTo>
                    <a:pt x="105" y="36"/>
                  </a:lnTo>
                  <a:lnTo>
                    <a:pt x="107" y="34"/>
                  </a:lnTo>
                  <a:lnTo>
                    <a:pt x="107" y="36"/>
                  </a:lnTo>
                  <a:lnTo>
                    <a:pt x="109" y="36"/>
                  </a:lnTo>
                  <a:lnTo>
                    <a:pt x="110" y="36"/>
                  </a:lnTo>
                  <a:lnTo>
                    <a:pt x="110" y="34"/>
                  </a:lnTo>
                  <a:lnTo>
                    <a:pt x="109" y="34"/>
                  </a:lnTo>
                  <a:lnTo>
                    <a:pt x="107" y="33"/>
                  </a:lnTo>
                  <a:lnTo>
                    <a:pt x="109" y="33"/>
                  </a:lnTo>
                  <a:lnTo>
                    <a:pt x="109" y="31"/>
                  </a:lnTo>
                  <a:lnTo>
                    <a:pt x="109" y="29"/>
                  </a:lnTo>
                  <a:lnTo>
                    <a:pt x="109" y="29"/>
                  </a:lnTo>
                  <a:lnTo>
                    <a:pt x="110" y="29"/>
                  </a:lnTo>
                  <a:lnTo>
                    <a:pt x="110" y="29"/>
                  </a:lnTo>
                  <a:lnTo>
                    <a:pt x="110" y="31"/>
                  </a:lnTo>
                  <a:lnTo>
                    <a:pt x="112" y="31"/>
                  </a:lnTo>
                  <a:lnTo>
                    <a:pt x="114" y="31"/>
                  </a:lnTo>
                  <a:lnTo>
                    <a:pt x="116" y="31"/>
                  </a:lnTo>
                  <a:lnTo>
                    <a:pt x="114" y="31"/>
                  </a:lnTo>
                  <a:lnTo>
                    <a:pt x="114" y="29"/>
                  </a:lnTo>
                  <a:lnTo>
                    <a:pt x="112" y="29"/>
                  </a:lnTo>
                  <a:lnTo>
                    <a:pt x="114" y="29"/>
                  </a:lnTo>
                  <a:lnTo>
                    <a:pt x="114" y="27"/>
                  </a:lnTo>
                  <a:lnTo>
                    <a:pt x="112" y="27"/>
                  </a:lnTo>
                  <a:lnTo>
                    <a:pt x="112" y="26"/>
                  </a:lnTo>
                  <a:lnTo>
                    <a:pt x="112" y="24"/>
                  </a:lnTo>
                  <a:lnTo>
                    <a:pt x="112" y="22"/>
                  </a:lnTo>
                  <a:lnTo>
                    <a:pt x="114" y="22"/>
                  </a:lnTo>
                  <a:lnTo>
                    <a:pt x="114" y="20"/>
                  </a:lnTo>
                  <a:lnTo>
                    <a:pt x="114" y="22"/>
                  </a:lnTo>
                  <a:lnTo>
                    <a:pt x="116" y="22"/>
                  </a:lnTo>
                  <a:lnTo>
                    <a:pt x="114" y="22"/>
                  </a:lnTo>
                  <a:lnTo>
                    <a:pt x="114" y="24"/>
                  </a:lnTo>
                  <a:lnTo>
                    <a:pt x="114" y="26"/>
                  </a:lnTo>
                  <a:lnTo>
                    <a:pt x="112" y="26"/>
                  </a:lnTo>
                  <a:lnTo>
                    <a:pt x="114" y="26"/>
                  </a:lnTo>
                  <a:lnTo>
                    <a:pt x="116" y="26"/>
                  </a:lnTo>
                  <a:lnTo>
                    <a:pt x="117" y="26"/>
                  </a:lnTo>
                  <a:lnTo>
                    <a:pt x="117" y="24"/>
                  </a:lnTo>
                  <a:lnTo>
                    <a:pt x="117" y="22"/>
                  </a:lnTo>
                  <a:lnTo>
                    <a:pt x="117" y="22"/>
                  </a:lnTo>
                  <a:lnTo>
                    <a:pt x="119" y="22"/>
                  </a:lnTo>
                  <a:lnTo>
                    <a:pt x="121" y="22"/>
                  </a:lnTo>
                  <a:lnTo>
                    <a:pt x="121" y="20"/>
                  </a:lnTo>
                  <a:lnTo>
                    <a:pt x="121" y="19"/>
                  </a:lnTo>
                  <a:lnTo>
                    <a:pt x="119" y="19"/>
                  </a:lnTo>
                  <a:lnTo>
                    <a:pt x="117" y="19"/>
                  </a:lnTo>
                  <a:lnTo>
                    <a:pt x="117" y="17"/>
                  </a:lnTo>
                  <a:lnTo>
                    <a:pt x="117" y="15"/>
                  </a:lnTo>
                  <a:lnTo>
                    <a:pt x="117" y="14"/>
                  </a:lnTo>
                  <a:lnTo>
                    <a:pt x="117" y="14"/>
                  </a:lnTo>
                  <a:lnTo>
                    <a:pt x="117" y="14"/>
                  </a:lnTo>
                  <a:lnTo>
                    <a:pt x="117" y="14"/>
                  </a:lnTo>
                  <a:lnTo>
                    <a:pt x="119" y="14"/>
                  </a:lnTo>
                  <a:lnTo>
                    <a:pt x="119" y="12"/>
                  </a:lnTo>
                  <a:lnTo>
                    <a:pt x="121" y="12"/>
                  </a:lnTo>
                  <a:lnTo>
                    <a:pt x="121" y="14"/>
                  </a:lnTo>
                  <a:lnTo>
                    <a:pt x="121" y="14"/>
                  </a:lnTo>
                  <a:lnTo>
                    <a:pt x="121" y="15"/>
                  </a:lnTo>
                  <a:lnTo>
                    <a:pt x="122" y="15"/>
                  </a:lnTo>
                  <a:lnTo>
                    <a:pt x="122" y="14"/>
                  </a:lnTo>
                  <a:lnTo>
                    <a:pt x="124" y="14"/>
                  </a:lnTo>
                  <a:lnTo>
                    <a:pt x="124" y="14"/>
                  </a:lnTo>
                  <a:lnTo>
                    <a:pt x="124" y="12"/>
                  </a:lnTo>
                  <a:lnTo>
                    <a:pt x="122" y="12"/>
                  </a:lnTo>
                  <a:lnTo>
                    <a:pt x="121" y="10"/>
                  </a:lnTo>
                  <a:lnTo>
                    <a:pt x="121" y="8"/>
                  </a:lnTo>
                  <a:lnTo>
                    <a:pt x="122" y="8"/>
                  </a:lnTo>
                  <a:lnTo>
                    <a:pt x="122" y="10"/>
                  </a:lnTo>
                  <a:lnTo>
                    <a:pt x="124" y="10"/>
                  </a:lnTo>
                  <a:lnTo>
                    <a:pt x="124" y="12"/>
                  </a:lnTo>
                  <a:lnTo>
                    <a:pt x="126" y="12"/>
                  </a:lnTo>
                  <a:lnTo>
                    <a:pt x="126" y="10"/>
                  </a:lnTo>
                  <a:lnTo>
                    <a:pt x="124" y="10"/>
                  </a:lnTo>
                  <a:lnTo>
                    <a:pt x="124" y="8"/>
                  </a:lnTo>
                  <a:lnTo>
                    <a:pt x="124" y="7"/>
                  </a:lnTo>
                  <a:lnTo>
                    <a:pt x="124" y="5"/>
                  </a:lnTo>
                  <a:lnTo>
                    <a:pt x="124" y="7"/>
                  </a:lnTo>
                  <a:lnTo>
                    <a:pt x="126" y="7"/>
                  </a:lnTo>
                  <a:lnTo>
                    <a:pt x="126" y="8"/>
                  </a:lnTo>
                  <a:lnTo>
                    <a:pt x="128" y="8"/>
                  </a:lnTo>
                  <a:lnTo>
                    <a:pt x="129" y="8"/>
                  </a:lnTo>
                  <a:lnTo>
                    <a:pt x="131" y="8"/>
                  </a:lnTo>
                  <a:lnTo>
                    <a:pt x="131" y="7"/>
                  </a:lnTo>
                  <a:lnTo>
                    <a:pt x="129" y="5"/>
                  </a:lnTo>
                  <a:lnTo>
                    <a:pt x="129" y="3"/>
                  </a:lnTo>
                  <a:lnTo>
                    <a:pt x="129" y="5"/>
                  </a:lnTo>
                  <a:lnTo>
                    <a:pt x="128" y="5"/>
                  </a:lnTo>
                  <a:lnTo>
                    <a:pt x="126" y="5"/>
                  </a:lnTo>
                  <a:lnTo>
                    <a:pt x="126" y="3"/>
                  </a:lnTo>
                  <a:lnTo>
                    <a:pt x="124" y="3"/>
                  </a:lnTo>
                  <a:lnTo>
                    <a:pt x="124" y="2"/>
                  </a:lnTo>
                  <a:lnTo>
                    <a:pt x="126" y="2"/>
                  </a:lnTo>
                  <a:lnTo>
                    <a:pt x="126" y="3"/>
                  </a:lnTo>
                  <a:lnTo>
                    <a:pt x="128" y="3"/>
                  </a:lnTo>
                  <a:lnTo>
                    <a:pt x="128" y="2"/>
                  </a:lnTo>
                  <a:lnTo>
                    <a:pt x="129" y="2"/>
                  </a:lnTo>
                  <a:lnTo>
                    <a:pt x="129" y="3"/>
                  </a:lnTo>
                  <a:lnTo>
                    <a:pt x="131" y="3"/>
                  </a:lnTo>
                  <a:lnTo>
                    <a:pt x="131" y="2"/>
                  </a:lnTo>
                  <a:lnTo>
                    <a:pt x="129" y="2"/>
                  </a:lnTo>
                  <a:lnTo>
                    <a:pt x="134" y="2"/>
                  </a:lnTo>
                  <a:lnTo>
                    <a:pt x="141" y="2"/>
                  </a:lnTo>
                  <a:lnTo>
                    <a:pt x="145" y="2"/>
                  </a:lnTo>
                  <a:lnTo>
                    <a:pt x="146" y="2"/>
                  </a:lnTo>
                  <a:lnTo>
                    <a:pt x="148" y="2"/>
                  </a:lnTo>
                  <a:lnTo>
                    <a:pt x="150" y="0"/>
                  </a:lnTo>
                  <a:lnTo>
                    <a:pt x="152" y="0"/>
                  </a:lnTo>
                  <a:lnTo>
                    <a:pt x="159" y="0"/>
                  </a:lnTo>
                  <a:lnTo>
                    <a:pt x="162" y="0"/>
                  </a:lnTo>
                  <a:lnTo>
                    <a:pt x="169" y="0"/>
                  </a:lnTo>
                  <a:lnTo>
                    <a:pt x="176" y="0"/>
                  </a:lnTo>
                  <a:lnTo>
                    <a:pt x="184" y="0"/>
                  </a:lnTo>
                  <a:lnTo>
                    <a:pt x="189" y="0"/>
                  </a:lnTo>
                  <a:lnTo>
                    <a:pt x="191" y="0"/>
                  </a:lnTo>
                  <a:lnTo>
                    <a:pt x="195" y="0"/>
                  </a:lnTo>
                  <a:lnTo>
                    <a:pt x="198" y="0"/>
                  </a:lnTo>
                  <a:lnTo>
                    <a:pt x="200" y="0"/>
                  </a:lnTo>
                  <a:lnTo>
                    <a:pt x="203" y="0"/>
                  </a:lnTo>
                  <a:lnTo>
                    <a:pt x="207" y="0"/>
                  </a:lnTo>
                  <a:lnTo>
                    <a:pt x="208" y="0"/>
                  </a:lnTo>
                  <a:lnTo>
                    <a:pt x="215" y="0"/>
                  </a:lnTo>
                  <a:lnTo>
                    <a:pt x="220" y="0"/>
                  </a:lnTo>
                  <a:lnTo>
                    <a:pt x="222" y="0"/>
                  </a:lnTo>
                  <a:lnTo>
                    <a:pt x="226" y="0"/>
                  </a:lnTo>
                  <a:lnTo>
                    <a:pt x="231" y="0"/>
                  </a:lnTo>
                  <a:lnTo>
                    <a:pt x="239" y="0"/>
                  </a:lnTo>
                  <a:lnTo>
                    <a:pt x="241" y="0"/>
                  </a:lnTo>
                  <a:lnTo>
                    <a:pt x="243" y="0"/>
                  </a:lnTo>
                  <a:lnTo>
                    <a:pt x="246" y="0"/>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1" name="Freeform 249"/>
            <p:cNvSpPr>
              <a:spLocks/>
            </p:cNvSpPr>
            <p:nvPr/>
          </p:nvSpPr>
          <p:spPr bwMode="auto">
            <a:xfrm>
              <a:off x="8127296" y="5933869"/>
              <a:ext cx="427038" cy="512763"/>
            </a:xfrm>
            <a:custGeom>
              <a:avLst/>
              <a:gdLst/>
              <a:ahLst/>
              <a:cxnLst>
                <a:cxn ang="0">
                  <a:pos x="222" y="62"/>
                </a:cxn>
                <a:cxn ang="0">
                  <a:pos x="227" y="93"/>
                </a:cxn>
                <a:cxn ang="0">
                  <a:pos x="260" y="109"/>
                </a:cxn>
                <a:cxn ang="0">
                  <a:pos x="269" y="130"/>
                </a:cxn>
                <a:cxn ang="0">
                  <a:pos x="260" y="136"/>
                </a:cxn>
                <a:cxn ang="0">
                  <a:pos x="248" y="135"/>
                </a:cxn>
                <a:cxn ang="0">
                  <a:pos x="239" y="142"/>
                </a:cxn>
                <a:cxn ang="0">
                  <a:pos x="227" y="143"/>
                </a:cxn>
                <a:cxn ang="0">
                  <a:pos x="214" y="140"/>
                </a:cxn>
                <a:cxn ang="0">
                  <a:pos x="196" y="136"/>
                </a:cxn>
                <a:cxn ang="0">
                  <a:pos x="178" y="136"/>
                </a:cxn>
                <a:cxn ang="0">
                  <a:pos x="167" y="135"/>
                </a:cxn>
                <a:cxn ang="0">
                  <a:pos x="164" y="143"/>
                </a:cxn>
                <a:cxn ang="0">
                  <a:pos x="167" y="152"/>
                </a:cxn>
                <a:cxn ang="0">
                  <a:pos x="196" y="173"/>
                </a:cxn>
                <a:cxn ang="0">
                  <a:pos x="217" y="188"/>
                </a:cxn>
                <a:cxn ang="0">
                  <a:pos x="227" y="197"/>
                </a:cxn>
                <a:cxn ang="0">
                  <a:pos x="234" y="209"/>
                </a:cxn>
                <a:cxn ang="0">
                  <a:pos x="236" y="221"/>
                </a:cxn>
                <a:cxn ang="0">
                  <a:pos x="234" y="231"/>
                </a:cxn>
                <a:cxn ang="0">
                  <a:pos x="227" y="238"/>
                </a:cxn>
                <a:cxn ang="0">
                  <a:pos x="217" y="243"/>
                </a:cxn>
                <a:cxn ang="0">
                  <a:pos x="186" y="257"/>
                </a:cxn>
                <a:cxn ang="0">
                  <a:pos x="181" y="296"/>
                </a:cxn>
                <a:cxn ang="0">
                  <a:pos x="167" y="326"/>
                </a:cxn>
                <a:cxn ang="0">
                  <a:pos x="141" y="329"/>
                </a:cxn>
                <a:cxn ang="0">
                  <a:pos x="107" y="331"/>
                </a:cxn>
                <a:cxn ang="0">
                  <a:pos x="69" y="333"/>
                </a:cxn>
                <a:cxn ang="0">
                  <a:pos x="43" y="333"/>
                </a:cxn>
                <a:cxn ang="0">
                  <a:pos x="11" y="334"/>
                </a:cxn>
                <a:cxn ang="0">
                  <a:pos x="9" y="305"/>
                </a:cxn>
                <a:cxn ang="0">
                  <a:pos x="9" y="265"/>
                </a:cxn>
                <a:cxn ang="0">
                  <a:pos x="7" y="233"/>
                </a:cxn>
                <a:cxn ang="0">
                  <a:pos x="7" y="216"/>
                </a:cxn>
                <a:cxn ang="0">
                  <a:pos x="6" y="202"/>
                </a:cxn>
                <a:cxn ang="0">
                  <a:pos x="4" y="181"/>
                </a:cxn>
                <a:cxn ang="0">
                  <a:pos x="2" y="148"/>
                </a:cxn>
                <a:cxn ang="0">
                  <a:pos x="2" y="131"/>
                </a:cxn>
                <a:cxn ang="0">
                  <a:pos x="0" y="87"/>
                </a:cxn>
                <a:cxn ang="0">
                  <a:pos x="0" y="52"/>
                </a:cxn>
                <a:cxn ang="0">
                  <a:pos x="9" y="35"/>
                </a:cxn>
                <a:cxn ang="0">
                  <a:pos x="40" y="35"/>
                </a:cxn>
                <a:cxn ang="0">
                  <a:pos x="61" y="35"/>
                </a:cxn>
                <a:cxn ang="0">
                  <a:pos x="93" y="35"/>
                </a:cxn>
                <a:cxn ang="0">
                  <a:pos x="121" y="33"/>
                </a:cxn>
                <a:cxn ang="0">
                  <a:pos x="128" y="33"/>
                </a:cxn>
                <a:cxn ang="0">
                  <a:pos x="131" y="23"/>
                </a:cxn>
                <a:cxn ang="0">
                  <a:pos x="135" y="18"/>
                </a:cxn>
                <a:cxn ang="0">
                  <a:pos x="135" y="6"/>
                </a:cxn>
                <a:cxn ang="0">
                  <a:pos x="145" y="0"/>
                </a:cxn>
                <a:cxn ang="0">
                  <a:pos x="155" y="6"/>
                </a:cxn>
                <a:cxn ang="0">
                  <a:pos x="166" y="11"/>
                </a:cxn>
                <a:cxn ang="0">
                  <a:pos x="174" y="19"/>
                </a:cxn>
                <a:cxn ang="0">
                  <a:pos x="188" y="21"/>
                </a:cxn>
                <a:cxn ang="0">
                  <a:pos x="205" y="16"/>
                </a:cxn>
                <a:cxn ang="0">
                  <a:pos x="217" y="11"/>
                </a:cxn>
                <a:cxn ang="0">
                  <a:pos x="233" y="28"/>
                </a:cxn>
                <a:cxn ang="0">
                  <a:pos x="243" y="40"/>
                </a:cxn>
              </a:cxnLst>
              <a:rect l="0" t="0" r="r" b="b"/>
              <a:pathLst>
                <a:path w="269" h="334">
                  <a:moveTo>
                    <a:pt x="258" y="66"/>
                  </a:moveTo>
                  <a:lnTo>
                    <a:pt x="250" y="66"/>
                  </a:lnTo>
                  <a:lnTo>
                    <a:pt x="246" y="66"/>
                  </a:lnTo>
                  <a:lnTo>
                    <a:pt x="238" y="62"/>
                  </a:lnTo>
                  <a:lnTo>
                    <a:pt x="234" y="62"/>
                  </a:lnTo>
                  <a:lnTo>
                    <a:pt x="231" y="62"/>
                  </a:lnTo>
                  <a:lnTo>
                    <a:pt x="226" y="62"/>
                  </a:lnTo>
                  <a:lnTo>
                    <a:pt x="222" y="62"/>
                  </a:lnTo>
                  <a:lnTo>
                    <a:pt x="219" y="64"/>
                  </a:lnTo>
                  <a:lnTo>
                    <a:pt x="215" y="69"/>
                  </a:lnTo>
                  <a:lnTo>
                    <a:pt x="212" y="74"/>
                  </a:lnTo>
                  <a:lnTo>
                    <a:pt x="212" y="78"/>
                  </a:lnTo>
                  <a:lnTo>
                    <a:pt x="214" y="80"/>
                  </a:lnTo>
                  <a:lnTo>
                    <a:pt x="219" y="88"/>
                  </a:lnTo>
                  <a:lnTo>
                    <a:pt x="219" y="90"/>
                  </a:lnTo>
                  <a:lnTo>
                    <a:pt x="227" y="93"/>
                  </a:lnTo>
                  <a:lnTo>
                    <a:pt x="233" y="99"/>
                  </a:lnTo>
                  <a:lnTo>
                    <a:pt x="236" y="100"/>
                  </a:lnTo>
                  <a:lnTo>
                    <a:pt x="241" y="105"/>
                  </a:lnTo>
                  <a:lnTo>
                    <a:pt x="255" y="112"/>
                  </a:lnTo>
                  <a:lnTo>
                    <a:pt x="257" y="112"/>
                  </a:lnTo>
                  <a:lnTo>
                    <a:pt x="257" y="112"/>
                  </a:lnTo>
                  <a:lnTo>
                    <a:pt x="258" y="111"/>
                  </a:lnTo>
                  <a:lnTo>
                    <a:pt x="260" y="109"/>
                  </a:lnTo>
                  <a:lnTo>
                    <a:pt x="262" y="109"/>
                  </a:lnTo>
                  <a:lnTo>
                    <a:pt x="265" y="112"/>
                  </a:lnTo>
                  <a:lnTo>
                    <a:pt x="267" y="114"/>
                  </a:lnTo>
                  <a:lnTo>
                    <a:pt x="267" y="116"/>
                  </a:lnTo>
                  <a:lnTo>
                    <a:pt x="267" y="117"/>
                  </a:lnTo>
                  <a:lnTo>
                    <a:pt x="269" y="121"/>
                  </a:lnTo>
                  <a:lnTo>
                    <a:pt x="269" y="123"/>
                  </a:lnTo>
                  <a:lnTo>
                    <a:pt x="269" y="130"/>
                  </a:lnTo>
                  <a:lnTo>
                    <a:pt x="269" y="131"/>
                  </a:lnTo>
                  <a:lnTo>
                    <a:pt x="267" y="133"/>
                  </a:lnTo>
                  <a:lnTo>
                    <a:pt x="267" y="135"/>
                  </a:lnTo>
                  <a:lnTo>
                    <a:pt x="265" y="135"/>
                  </a:lnTo>
                  <a:lnTo>
                    <a:pt x="264" y="135"/>
                  </a:lnTo>
                  <a:lnTo>
                    <a:pt x="264" y="136"/>
                  </a:lnTo>
                  <a:lnTo>
                    <a:pt x="262" y="136"/>
                  </a:lnTo>
                  <a:lnTo>
                    <a:pt x="260" y="136"/>
                  </a:lnTo>
                  <a:lnTo>
                    <a:pt x="258" y="135"/>
                  </a:lnTo>
                  <a:lnTo>
                    <a:pt x="257" y="135"/>
                  </a:lnTo>
                  <a:lnTo>
                    <a:pt x="257" y="133"/>
                  </a:lnTo>
                  <a:lnTo>
                    <a:pt x="255" y="133"/>
                  </a:lnTo>
                  <a:lnTo>
                    <a:pt x="253" y="133"/>
                  </a:lnTo>
                  <a:lnTo>
                    <a:pt x="252" y="133"/>
                  </a:lnTo>
                  <a:lnTo>
                    <a:pt x="250" y="135"/>
                  </a:lnTo>
                  <a:lnTo>
                    <a:pt x="248" y="135"/>
                  </a:lnTo>
                  <a:lnTo>
                    <a:pt x="248" y="136"/>
                  </a:lnTo>
                  <a:lnTo>
                    <a:pt x="246" y="136"/>
                  </a:lnTo>
                  <a:lnTo>
                    <a:pt x="246" y="136"/>
                  </a:lnTo>
                  <a:lnTo>
                    <a:pt x="245" y="136"/>
                  </a:lnTo>
                  <a:lnTo>
                    <a:pt x="243" y="138"/>
                  </a:lnTo>
                  <a:lnTo>
                    <a:pt x="243" y="140"/>
                  </a:lnTo>
                  <a:lnTo>
                    <a:pt x="241" y="140"/>
                  </a:lnTo>
                  <a:lnTo>
                    <a:pt x="239" y="142"/>
                  </a:lnTo>
                  <a:lnTo>
                    <a:pt x="238" y="142"/>
                  </a:lnTo>
                  <a:lnTo>
                    <a:pt x="236" y="142"/>
                  </a:lnTo>
                  <a:lnTo>
                    <a:pt x="234" y="143"/>
                  </a:lnTo>
                  <a:lnTo>
                    <a:pt x="233" y="143"/>
                  </a:lnTo>
                  <a:lnTo>
                    <a:pt x="231" y="143"/>
                  </a:lnTo>
                  <a:lnTo>
                    <a:pt x="229" y="143"/>
                  </a:lnTo>
                  <a:lnTo>
                    <a:pt x="227" y="143"/>
                  </a:lnTo>
                  <a:lnTo>
                    <a:pt x="227" y="143"/>
                  </a:lnTo>
                  <a:lnTo>
                    <a:pt x="226" y="143"/>
                  </a:lnTo>
                  <a:lnTo>
                    <a:pt x="224" y="143"/>
                  </a:lnTo>
                  <a:lnTo>
                    <a:pt x="222" y="143"/>
                  </a:lnTo>
                  <a:lnTo>
                    <a:pt x="221" y="142"/>
                  </a:lnTo>
                  <a:lnTo>
                    <a:pt x="219" y="142"/>
                  </a:lnTo>
                  <a:lnTo>
                    <a:pt x="217" y="142"/>
                  </a:lnTo>
                  <a:lnTo>
                    <a:pt x="215" y="142"/>
                  </a:lnTo>
                  <a:lnTo>
                    <a:pt x="214" y="140"/>
                  </a:lnTo>
                  <a:lnTo>
                    <a:pt x="212" y="140"/>
                  </a:lnTo>
                  <a:lnTo>
                    <a:pt x="212" y="140"/>
                  </a:lnTo>
                  <a:lnTo>
                    <a:pt x="210" y="138"/>
                  </a:lnTo>
                  <a:lnTo>
                    <a:pt x="209" y="138"/>
                  </a:lnTo>
                  <a:lnTo>
                    <a:pt x="205" y="136"/>
                  </a:lnTo>
                  <a:lnTo>
                    <a:pt x="202" y="136"/>
                  </a:lnTo>
                  <a:lnTo>
                    <a:pt x="198" y="136"/>
                  </a:lnTo>
                  <a:lnTo>
                    <a:pt x="196" y="136"/>
                  </a:lnTo>
                  <a:lnTo>
                    <a:pt x="193" y="136"/>
                  </a:lnTo>
                  <a:lnTo>
                    <a:pt x="191" y="136"/>
                  </a:lnTo>
                  <a:lnTo>
                    <a:pt x="188" y="136"/>
                  </a:lnTo>
                  <a:lnTo>
                    <a:pt x="186" y="136"/>
                  </a:lnTo>
                  <a:lnTo>
                    <a:pt x="184" y="136"/>
                  </a:lnTo>
                  <a:lnTo>
                    <a:pt x="183" y="136"/>
                  </a:lnTo>
                  <a:lnTo>
                    <a:pt x="179" y="136"/>
                  </a:lnTo>
                  <a:lnTo>
                    <a:pt x="178" y="136"/>
                  </a:lnTo>
                  <a:lnTo>
                    <a:pt x="176" y="136"/>
                  </a:lnTo>
                  <a:lnTo>
                    <a:pt x="174" y="136"/>
                  </a:lnTo>
                  <a:lnTo>
                    <a:pt x="174" y="136"/>
                  </a:lnTo>
                  <a:lnTo>
                    <a:pt x="172" y="136"/>
                  </a:lnTo>
                  <a:lnTo>
                    <a:pt x="171" y="136"/>
                  </a:lnTo>
                  <a:lnTo>
                    <a:pt x="171" y="135"/>
                  </a:lnTo>
                  <a:lnTo>
                    <a:pt x="169" y="135"/>
                  </a:lnTo>
                  <a:lnTo>
                    <a:pt x="167" y="135"/>
                  </a:lnTo>
                  <a:lnTo>
                    <a:pt x="167" y="136"/>
                  </a:lnTo>
                  <a:lnTo>
                    <a:pt x="167" y="136"/>
                  </a:lnTo>
                  <a:lnTo>
                    <a:pt x="167" y="136"/>
                  </a:lnTo>
                  <a:lnTo>
                    <a:pt x="166" y="138"/>
                  </a:lnTo>
                  <a:lnTo>
                    <a:pt x="166" y="140"/>
                  </a:lnTo>
                  <a:lnTo>
                    <a:pt x="164" y="140"/>
                  </a:lnTo>
                  <a:lnTo>
                    <a:pt x="164" y="142"/>
                  </a:lnTo>
                  <a:lnTo>
                    <a:pt x="164" y="143"/>
                  </a:lnTo>
                  <a:lnTo>
                    <a:pt x="164" y="145"/>
                  </a:lnTo>
                  <a:lnTo>
                    <a:pt x="162" y="145"/>
                  </a:lnTo>
                  <a:lnTo>
                    <a:pt x="164" y="147"/>
                  </a:lnTo>
                  <a:lnTo>
                    <a:pt x="164" y="148"/>
                  </a:lnTo>
                  <a:lnTo>
                    <a:pt x="166" y="150"/>
                  </a:lnTo>
                  <a:lnTo>
                    <a:pt x="167" y="150"/>
                  </a:lnTo>
                  <a:lnTo>
                    <a:pt x="167" y="152"/>
                  </a:lnTo>
                  <a:lnTo>
                    <a:pt x="167" y="152"/>
                  </a:lnTo>
                  <a:lnTo>
                    <a:pt x="169" y="154"/>
                  </a:lnTo>
                  <a:lnTo>
                    <a:pt x="171" y="155"/>
                  </a:lnTo>
                  <a:lnTo>
                    <a:pt x="176" y="160"/>
                  </a:lnTo>
                  <a:lnTo>
                    <a:pt x="179" y="162"/>
                  </a:lnTo>
                  <a:lnTo>
                    <a:pt x="183" y="166"/>
                  </a:lnTo>
                  <a:lnTo>
                    <a:pt x="190" y="169"/>
                  </a:lnTo>
                  <a:lnTo>
                    <a:pt x="193" y="171"/>
                  </a:lnTo>
                  <a:lnTo>
                    <a:pt x="196" y="173"/>
                  </a:lnTo>
                  <a:lnTo>
                    <a:pt x="198" y="176"/>
                  </a:lnTo>
                  <a:lnTo>
                    <a:pt x="202" y="179"/>
                  </a:lnTo>
                  <a:lnTo>
                    <a:pt x="207" y="181"/>
                  </a:lnTo>
                  <a:lnTo>
                    <a:pt x="210" y="183"/>
                  </a:lnTo>
                  <a:lnTo>
                    <a:pt x="212" y="185"/>
                  </a:lnTo>
                  <a:lnTo>
                    <a:pt x="214" y="186"/>
                  </a:lnTo>
                  <a:lnTo>
                    <a:pt x="215" y="186"/>
                  </a:lnTo>
                  <a:lnTo>
                    <a:pt x="217" y="188"/>
                  </a:lnTo>
                  <a:lnTo>
                    <a:pt x="219" y="188"/>
                  </a:lnTo>
                  <a:lnTo>
                    <a:pt x="219" y="190"/>
                  </a:lnTo>
                  <a:lnTo>
                    <a:pt x="221" y="191"/>
                  </a:lnTo>
                  <a:lnTo>
                    <a:pt x="222" y="191"/>
                  </a:lnTo>
                  <a:lnTo>
                    <a:pt x="224" y="193"/>
                  </a:lnTo>
                  <a:lnTo>
                    <a:pt x="224" y="195"/>
                  </a:lnTo>
                  <a:lnTo>
                    <a:pt x="226" y="197"/>
                  </a:lnTo>
                  <a:lnTo>
                    <a:pt x="227" y="197"/>
                  </a:lnTo>
                  <a:lnTo>
                    <a:pt x="227" y="197"/>
                  </a:lnTo>
                  <a:lnTo>
                    <a:pt x="227" y="198"/>
                  </a:lnTo>
                  <a:lnTo>
                    <a:pt x="229" y="200"/>
                  </a:lnTo>
                  <a:lnTo>
                    <a:pt x="231" y="202"/>
                  </a:lnTo>
                  <a:lnTo>
                    <a:pt x="231" y="203"/>
                  </a:lnTo>
                  <a:lnTo>
                    <a:pt x="233" y="205"/>
                  </a:lnTo>
                  <a:lnTo>
                    <a:pt x="234" y="207"/>
                  </a:lnTo>
                  <a:lnTo>
                    <a:pt x="234" y="209"/>
                  </a:lnTo>
                  <a:lnTo>
                    <a:pt x="234" y="210"/>
                  </a:lnTo>
                  <a:lnTo>
                    <a:pt x="236" y="212"/>
                  </a:lnTo>
                  <a:lnTo>
                    <a:pt x="236" y="212"/>
                  </a:lnTo>
                  <a:lnTo>
                    <a:pt x="236" y="214"/>
                  </a:lnTo>
                  <a:lnTo>
                    <a:pt x="236" y="216"/>
                  </a:lnTo>
                  <a:lnTo>
                    <a:pt x="236" y="217"/>
                  </a:lnTo>
                  <a:lnTo>
                    <a:pt x="236" y="219"/>
                  </a:lnTo>
                  <a:lnTo>
                    <a:pt x="236" y="221"/>
                  </a:lnTo>
                  <a:lnTo>
                    <a:pt x="236" y="222"/>
                  </a:lnTo>
                  <a:lnTo>
                    <a:pt x="236" y="224"/>
                  </a:lnTo>
                  <a:lnTo>
                    <a:pt x="236" y="226"/>
                  </a:lnTo>
                  <a:lnTo>
                    <a:pt x="236" y="228"/>
                  </a:lnTo>
                  <a:lnTo>
                    <a:pt x="236" y="228"/>
                  </a:lnTo>
                  <a:lnTo>
                    <a:pt x="234" y="228"/>
                  </a:lnTo>
                  <a:lnTo>
                    <a:pt x="234" y="229"/>
                  </a:lnTo>
                  <a:lnTo>
                    <a:pt x="234" y="231"/>
                  </a:lnTo>
                  <a:lnTo>
                    <a:pt x="233" y="231"/>
                  </a:lnTo>
                  <a:lnTo>
                    <a:pt x="233" y="233"/>
                  </a:lnTo>
                  <a:lnTo>
                    <a:pt x="231" y="233"/>
                  </a:lnTo>
                  <a:lnTo>
                    <a:pt x="231" y="234"/>
                  </a:lnTo>
                  <a:lnTo>
                    <a:pt x="229" y="234"/>
                  </a:lnTo>
                  <a:lnTo>
                    <a:pt x="229" y="236"/>
                  </a:lnTo>
                  <a:lnTo>
                    <a:pt x="227" y="236"/>
                  </a:lnTo>
                  <a:lnTo>
                    <a:pt x="227" y="238"/>
                  </a:lnTo>
                  <a:lnTo>
                    <a:pt x="226" y="238"/>
                  </a:lnTo>
                  <a:lnTo>
                    <a:pt x="224" y="240"/>
                  </a:lnTo>
                  <a:lnTo>
                    <a:pt x="222" y="240"/>
                  </a:lnTo>
                  <a:lnTo>
                    <a:pt x="222" y="241"/>
                  </a:lnTo>
                  <a:lnTo>
                    <a:pt x="221" y="241"/>
                  </a:lnTo>
                  <a:lnTo>
                    <a:pt x="219" y="241"/>
                  </a:lnTo>
                  <a:lnTo>
                    <a:pt x="217" y="241"/>
                  </a:lnTo>
                  <a:lnTo>
                    <a:pt x="217" y="243"/>
                  </a:lnTo>
                  <a:lnTo>
                    <a:pt x="215" y="243"/>
                  </a:lnTo>
                  <a:lnTo>
                    <a:pt x="214" y="245"/>
                  </a:lnTo>
                  <a:lnTo>
                    <a:pt x="210" y="247"/>
                  </a:lnTo>
                  <a:lnTo>
                    <a:pt x="205" y="248"/>
                  </a:lnTo>
                  <a:lnTo>
                    <a:pt x="200" y="250"/>
                  </a:lnTo>
                  <a:lnTo>
                    <a:pt x="196" y="252"/>
                  </a:lnTo>
                  <a:lnTo>
                    <a:pt x="191" y="255"/>
                  </a:lnTo>
                  <a:lnTo>
                    <a:pt x="186" y="257"/>
                  </a:lnTo>
                  <a:lnTo>
                    <a:pt x="184" y="260"/>
                  </a:lnTo>
                  <a:lnTo>
                    <a:pt x="183" y="264"/>
                  </a:lnTo>
                  <a:lnTo>
                    <a:pt x="183" y="265"/>
                  </a:lnTo>
                  <a:lnTo>
                    <a:pt x="183" y="272"/>
                  </a:lnTo>
                  <a:lnTo>
                    <a:pt x="183" y="283"/>
                  </a:lnTo>
                  <a:lnTo>
                    <a:pt x="181" y="288"/>
                  </a:lnTo>
                  <a:lnTo>
                    <a:pt x="181" y="293"/>
                  </a:lnTo>
                  <a:lnTo>
                    <a:pt x="181" y="296"/>
                  </a:lnTo>
                  <a:lnTo>
                    <a:pt x="179" y="302"/>
                  </a:lnTo>
                  <a:lnTo>
                    <a:pt x="179" y="305"/>
                  </a:lnTo>
                  <a:lnTo>
                    <a:pt x="178" y="310"/>
                  </a:lnTo>
                  <a:lnTo>
                    <a:pt x="176" y="314"/>
                  </a:lnTo>
                  <a:lnTo>
                    <a:pt x="174" y="315"/>
                  </a:lnTo>
                  <a:lnTo>
                    <a:pt x="171" y="319"/>
                  </a:lnTo>
                  <a:lnTo>
                    <a:pt x="169" y="322"/>
                  </a:lnTo>
                  <a:lnTo>
                    <a:pt x="167" y="326"/>
                  </a:lnTo>
                  <a:lnTo>
                    <a:pt x="167" y="327"/>
                  </a:lnTo>
                  <a:lnTo>
                    <a:pt x="167" y="329"/>
                  </a:lnTo>
                  <a:lnTo>
                    <a:pt x="159" y="329"/>
                  </a:lnTo>
                  <a:lnTo>
                    <a:pt x="152" y="329"/>
                  </a:lnTo>
                  <a:lnTo>
                    <a:pt x="152" y="329"/>
                  </a:lnTo>
                  <a:lnTo>
                    <a:pt x="150" y="329"/>
                  </a:lnTo>
                  <a:lnTo>
                    <a:pt x="145" y="329"/>
                  </a:lnTo>
                  <a:lnTo>
                    <a:pt x="141" y="329"/>
                  </a:lnTo>
                  <a:lnTo>
                    <a:pt x="140" y="331"/>
                  </a:lnTo>
                  <a:lnTo>
                    <a:pt x="136" y="331"/>
                  </a:lnTo>
                  <a:lnTo>
                    <a:pt x="128" y="331"/>
                  </a:lnTo>
                  <a:lnTo>
                    <a:pt x="123" y="331"/>
                  </a:lnTo>
                  <a:lnTo>
                    <a:pt x="117" y="331"/>
                  </a:lnTo>
                  <a:lnTo>
                    <a:pt x="116" y="331"/>
                  </a:lnTo>
                  <a:lnTo>
                    <a:pt x="109" y="331"/>
                  </a:lnTo>
                  <a:lnTo>
                    <a:pt x="107" y="331"/>
                  </a:lnTo>
                  <a:lnTo>
                    <a:pt x="100" y="331"/>
                  </a:lnTo>
                  <a:lnTo>
                    <a:pt x="95" y="333"/>
                  </a:lnTo>
                  <a:lnTo>
                    <a:pt x="90" y="333"/>
                  </a:lnTo>
                  <a:lnTo>
                    <a:pt x="83" y="333"/>
                  </a:lnTo>
                  <a:lnTo>
                    <a:pt x="81" y="333"/>
                  </a:lnTo>
                  <a:lnTo>
                    <a:pt x="76" y="333"/>
                  </a:lnTo>
                  <a:lnTo>
                    <a:pt x="73" y="333"/>
                  </a:lnTo>
                  <a:lnTo>
                    <a:pt x="69" y="333"/>
                  </a:lnTo>
                  <a:lnTo>
                    <a:pt x="66" y="333"/>
                  </a:lnTo>
                  <a:lnTo>
                    <a:pt x="62" y="333"/>
                  </a:lnTo>
                  <a:lnTo>
                    <a:pt x="55" y="333"/>
                  </a:lnTo>
                  <a:lnTo>
                    <a:pt x="52" y="333"/>
                  </a:lnTo>
                  <a:lnTo>
                    <a:pt x="49" y="333"/>
                  </a:lnTo>
                  <a:lnTo>
                    <a:pt x="47" y="333"/>
                  </a:lnTo>
                  <a:lnTo>
                    <a:pt x="47" y="333"/>
                  </a:lnTo>
                  <a:lnTo>
                    <a:pt x="43" y="333"/>
                  </a:lnTo>
                  <a:lnTo>
                    <a:pt x="42" y="333"/>
                  </a:lnTo>
                  <a:lnTo>
                    <a:pt x="38" y="333"/>
                  </a:lnTo>
                  <a:lnTo>
                    <a:pt x="33" y="333"/>
                  </a:lnTo>
                  <a:lnTo>
                    <a:pt x="31" y="333"/>
                  </a:lnTo>
                  <a:lnTo>
                    <a:pt x="24" y="334"/>
                  </a:lnTo>
                  <a:lnTo>
                    <a:pt x="23" y="334"/>
                  </a:lnTo>
                  <a:lnTo>
                    <a:pt x="18" y="334"/>
                  </a:lnTo>
                  <a:lnTo>
                    <a:pt x="11" y="334"/>
                  </a:lnTo>
                  <a:lnTo>
                    <a:pt x="11" y="333"/>
                  </a:lnTo>
                  <a:lnTo>
                    <a:pt x="11" y="327"/>
                  </a:lnTo>
                  <a:lnTo>
                    <a:pt x="11" y="322"/>
                  </a:lnTo>
                  <a:lnTo>
                    <a:pt x="11" y="320"/>
                  </a:lnTo>
                  <a:lnTo>
                    <a:pt x="11" y="319"/>
                  </a:lnTo>
                  <a:lnTo>
                    <a:pt x="9" y="310"/>
                  </a:lnTo>
                  <a:lnTo>
                    <a:pt x="9" y="307"/>
                  </a:lnTo>
                  <a:lnTo>
                    <a:pt x="9" y="305"/>
                  </a:lnTo>
                  <a:lnTo>
                    <a:pt x="9" y="302"/>
                  </a:lnTo>
                  <a:lnTo>
                    <a:pt x="9" y="300"/>
                  </a:lnTo>
                  <a:lnTo>
                    <a:pt x="9" y="296"/>
                  </a:lnTo>
                  <a:lnTo>
                    <a:pt x="9" y="293"/>
                  </a:lnTo>
                  <a:lnTo>
                    <a:pt x="9" y="288"/>
                  </a:lnTo>
                  <a:lnTo>
                    <a:pt x="9" y="277"/>
                  </a:lnTo>
                  <a:lnTo>
                    <a:pt x="9" y="269"/>
                  </a:lnTo>
                  <a:lnTo>
                    <a:pt x="9" y="265"/>
                  </a:lnTo>
                  <a:lnTo>
                    <a:pt x="7" y="255"/>
                  </a:lnTo>
                  <a:lnTo>
                    <a:pt x="7" y="247"/>
                  </a:lnTo>
                  <a:lnTo>
                    <a:pt x="7" y="243"/>
                  </a:lnTo>
                  <a:lnTo>
                    <a:pt x="7" y="241"/>
                  </a:lnTo>
                  <a:lnTo>
                    <a:pt x="7" y="241"/>
                  </a:lnTo>
                  <a:lnTo>
                    <a:pt x="7" y="240"/>
                  </a:lnTo>
                  <a:lnTo>
                    <a:pt x="7" y="238"/>
                  </a:lnTo>
                  <a:lnTo>
                    <a:pt x="7" y="233"/>
                  </a:lnTo>
                  <a:lnTo>
                    <a:pt x="7" y="231"/>
                  </a:lnTo>
                  <a:lnTo>
                    <a:pt x="7" y="224"/>
                  </a:lnTo>
                  <a:lnTo>
                    <a:pt x="6" y="222"/>
                  </a:lnTo>
                  <a:lnTo>
                    <a:pt x="6" y="221"/>
                  </a:lnTo>
                  <a:lnTo>
                    <a:pt x="7" y="221"/>
                  </a:lnTo>
                  <a:lnTo>
                    <a:pt x="7" y="217"/>
                  </a:lnTo>
                  <a:lnTo>
                    <a:pt x="6" y="216"/>
                  </a:lnTo>
                  <a:lnTo>
                    <a:pt x="7" y="216"/>
                  </a:lnTo>
                  <a:lnTo>
                    <a:pt x="7" y="214"/>
                  </a:lnTo>
                  <a:lnTo>
                    <a:pt x="6" y="214"/>
                  </a:lnTo>
                  <a:lnTo>
                    <a:pt x="6" y="212"/>
                  </a:lnTo>
                  <a:lnTo>
                    <a:pt x="6" y="212"/>
                  </a:lnTo>
                  <a:lnTo>
                    <a:pt x="6" y="210"/>
                  </a:lnTo>
                  <a:lnTo>
                    <a:pt x="6" y="207"/>
                  </a:lnTo>
                  <a:lnTo>
                    <a:pt x="6" y="205"/>
                  </a:lnTo>
                  <a:lnTo>
                    <a:pt x="6" y="202"/>
                  </a:lnTo>
                  <a:lnTo>
                    <a:pt x="6" y="200"/>
                  </a:lnTo>
                  <a:lnTo>
                    <a:pt x="6" y="198"/>
                  </a:lnTo>
                  <a:lnTo>
                    <a:pt x="6" y="195"/>
                  </a:lnTo>
                  <a:lnTo>
                    <a:pt x="6" y="193"/>
                  </a:lnTo>
                  <a:lnTo>
                    <a:pt x="6" y="188"/>
                  </a:lnTo>
                  <a:lnTo>
                    <a:pt x="6" y="186"/>
                  </a:lnTo>
                  <a:lnTo>
                    <a:pt x="6" y="185"/>
                  </a:lnTo>
                  <a:lnTo>
                    <a:pt x="4" y="181"/>
                  </a:lnTo>
                  <a:lnTo>
                    <a:pt x="4" y="179"/>
                  </a:lnTo>
                  <a:lnTo>
                    <a:pt x="4" y="176"/>
                  </a:lnTo>
                  <a:lnTo>
                    <a:pt x="4" y="166"/>
                  </a:lnTo>
                  <a:lnTo>
                    <a:pt x="4" y="159"/>
                  </a:lnTo>
                  <a:lnTo>
                    <a:pt x="4" y="155"/>
                  </a:lnTo>
                  <a:lnTo>
                    <a:pt x="2" y="152"/>
                  </a:lnTo>
                  <a:lnTo>
                    <a:pt x="2" y="150"/>
                  </a:lnTo>
                  <a:lnTo>
                    <a:pt x="2" y="148"/>
                  </a:lnTo>
                  <a:lnTo>
                    <a:pt x="2" y="145"/>
                  </a:lnTo>
                  <a:lnTo>
                    <a:pt x="2" y="142"/>
                  </a:lnTo>
                  <a:lnTo>
                    <a:pt x="2" y="138"/>
                  </a:lnTo>
                  <a:lnTo>
                    <a:pt x="2" y="136"/>
                  </a:lnTo>
                  <a:lnTo>
                    <a:pt x="2" y="136"/>
                  </a:lnTo>
                  <a:lnTo>
                    <a:pt x="2" y="135"/>
                  </a:lnTo>
                  <a:lnTo>
                    <a:pt x="2" y="133"/>
                  </a:lnTo>
                  <a:lnTo>
                    <a:pt x="2" y="131"/>
                  </a:lnTo>
                  <a:lnTo>
                    <a:pt x="2" y="130"/>
                  </a:lnTo>
                  <a:lnTo>
                    <a:pt x="2" y="128"/>
                  </a:lnTo>
                  <a:lnTo>
                    <a:pt x="2" y="121"/>
                  </a:lnTo>
                  <a:lnTo>
                    <a:pt x="0" y="109"/>
                  </a:lnTo>
                  <a:lnTo>
                    <a:pt x="0" y="107"/>
                  </a:lnTo>
                  <a:lnTo>
                    <a:pt x="0" y="97"/>
                  </a:lnTo>
                  <a:lnTo>
                    <a:pt x="0" y="92"/>
                  </a:lnTo>
                  <a:lnTo>
                    <a:pt x="0" y="87"/>
                  </a:lnTo>
                  <a:lnTo>
                    <a:pt x="0" y="74"/>
                  </a:lnTo>
                  <a:lnTo>
                    <a:pt x="0" y="71"/>
                  </a:lnTo>
                  <a:lnTo>
                    <a:pt x="0" y="69"/>
                  </a:lnTo>
                  <a:lnTo>
                    <a:pt x="0" y="66"/>
                  </a:lnTo>
                  <a:lnTo>
                    <a:pt x="0" y="62"/>
                  </a:lnTo>
                  <a:lnTo>
                    <a:pt x="0" y="59"/>
                  </a:lnTo>
                  <a:lnTo>
                    <a:pt x="0" y="56"/>
                  </a:lnTo>
                  <a:lnTo>
                    <a:pt x="0" y="52"/>
                  </a:lnTo>
                  <a:lnTo>
                    <a:pt x="0" y="49"/>
                  </a:lnTo>
                  <a:lnTo>
                    <a:pt x="0" y="45"/>
                  </a:lnTo>
                  <a:lnTo>
                    <a:pt x="0" y="45"/>
                  </a:lnTo>
                  <a:lnTo>
                    <a:pt x="0" y="42"/>
                  </a:lnTo>
                  <a:lnTo>
                    <a:pt x="0" y="35"/>
                  </a:lnTo>
                  <a:lnTo>
                    <a:pt x="4" y="35"/>
                  </a:lnTo>
                  <a:lnTo>
                    <a:pt x="6" y="35"/>
                  </a:lnTo>
                  <a:lnTo>
                    <a:pt x="9" y="35"/>
                  </a:lnTo>
                  <a:lnTo>
                    <a:pt x="11" y="35"/>
                  </a:lnTo>
                  <a:lnTo>
                    <a:pt x="14" y="35"/>
                  </a:lnTo>
                  <a:lnTo>
                    <a:pt x="16" y="35"/>
                  </a:lnTo>
                  <a:lnTo>
                    <a:pt x="23" y="37"/>
                  </a:lnTo>
                  <a:lnTo>
                    <a:pt x="24" y="37"/>
                  </a:lnTo>
                  <a:lnTo>
                    <a:pt x="30" y="37"/>
                  </a:lnTo>
                  <a:lnTo>
                    <a:pt x="31" y="37"/>
                  </a:lnTo>
                  <a:lnTo>
                    <a:pt x="40" y="35"/>
                  </a:lnTo>
                  <a:lnTo>
                    <a:pt x="42" y="35"/>
                  </a:lnTo>
                  <a:lnTo>
                    <a:pt x="45" y="35"/>
                  </a:lnTo>
                  <a:lnTo>
                    <a:pt x="49" y="35"/>
                  </a:lnTo>
                  <a:lnTo>
                    <a:pt x="50" y="35"/>
                  </a:lnTo>
                  <a:lnTo>
                    <a:pt x="52" y="35"/>
                  </a:lnTo>
                  <a:lnTo>
                    <a:pt x="54" y="35"/>
                  </a:lnTo>
                  <a:lnTo>
                    <a:pt x="59" y="35"/>
                  </a:lnTo>
                  <a:lnTo>
                    <a:pt x="61" y="35"/>
                  </a:lnTo>
                  <a:lnTo>
                    <a:pt x="66" y="35"/>
                  </a:lnTo>
                  <a:lnTo>
                    <a:pt x="69" y="35"/>
                  </a:lnTo>
                  <a:lnTo>
                    <a:pt x="73" y="35"/>
                  </a:lnTo>
                  <a:lnTo>
                    <a:pt x="78" y="35"/>
                  </a:lnTo>
                  <a:lnTo>
                    <a:pt x="86" y="33"/>
                  </a:lnTo>
                  <a:lnTo>
                    <a:pt x="90" y="33"/>
                  </a:lnTo>
                  <a:lnTo>
                    <a:pt x="93" y="33"/>
                  </a:lnTo>
                  <a:lnTo>
                    <a:pt x="93" y="35"/>
                  </a:lnTo>
                  <a:lnTo>
                    <a:pt x="95" y="35"/>
                  </a:lnTo>
                  <a:lnTo>
                    <a:pt x="97" y="33"/>
                  </a:lnTo>
                  <a:lnTo>
                    <a:pt x="100" y="33"/>
                  </a:lnTo>
                  <a:lnTo>
                    <a:pt x="105" y="33"/>
                  </a:lnTo>
                  <a:lnTo>
                    <a:pt x="107" y="33"/>
                  </a:lnTo>
                  <a:lnTo>
                    <a:pt x="109" y="33"/>
                  </a:lnTo>
                  <a:lnTo>
                    <a:pt x="117" y="33"/>
                  </a:lnTo>
                  <a:lnTo>
                    <a:pt x="121" y="33"/>
                  </a:lnTo>
                  <a:lnTo>
                    <a:pt x="121" y="31"/>
                  </a:lnTo>
                  <a:lnTo>
                    <a:pt x="123" y="31"/>
                  </a:lnTo>
                  <a:lnTo>
                    <a:pt x="123" y="31"/>
                  </a:lnTo>
                  <a:lnTo>
                    <a:pt x="124" y="31"/>
                  </a:lnTo>
                  <a:lnTo>
                    <a:pt x="124" y="33"/>
                  </a:lnTo>
                  <a:lnTo>
                    <a:pt x="126" y="33"/>
                  </a:lnTo>
                  <a:lnTo>
                    <a:pt x="126" y="35"/>
                  </a:lnTo>
                  <a:lnTo>
                    <a:pt x="128" y="33"/>
                  </a:lnTo>
                  <a:lnTo>
                    <a:pt x="129" y="33"/>
                  </a:lnTo>
                  <a:lnTo>
                    <a:pt x="129" y="31"/>
                  </a:lnTo>
                  <a:lnTo>
                    <a:pt x="131" y="31"/>
                  </a:lnTo>
                  <a:lnTo>
                    <a:pt x="131" y="30"/>
                  </a:lnTo>
                  <a:lnTo>
                    <a:pt x="131" y="28"/>
                  </a:lnTo>
                  <a:lnTo>
                    <a:pt x="131" y="26"/>
                  </a:lnTo>
                  <a:lnTo>
                    <a:pt x="131" y="25"/>
                  </a:lnTo>
                  <a:lnTo>
                    <a:pt x="131" y="23"/>
                  </a:lnTo>
                  <a:lnTo>
                    <a:pt x="129" y="23"/>
                  </a:lnTo>
                  <a:lnTo>
                    <a:pt x="128" y="23"/>
                  </a:lnTo>
                  <a:lnTo>
                    <a:pt x="128" y="21"/>
                  </a:lnTo>
                  <a:lnTo>
                    <a:pt x="129" y="21"/>
                  </a:lnTo>
                  <a:lnTo>
                    <a:pt x="129" y="19"/>
                  </a:lnTo>
                  <a:lnTo>
                    <a:pt x="131" y="19"/>
                  </a:lnTo>
                  <a:lnTo>
                    <a:pt x="133" y="19"/>
                  </a:lnTo>
                  <a:lnTo>
                    <a:pt x="135" y="18"/>
                  </a:lnTo>
                  <a:lnTo>
                    <a:pt x="133" y="16"/>
                  </a:lnTo>
                  <a:lnTo>
                    <a:pt x="133" y="16"/>
                  </a:lnTo>
                  <a:lnTo>
                    <a:pt x="133" y="14"/>
                  </a:lnTo>
                  <a:lnTo>
                    <a:pt x="135" y="13"/>
                  </a:lnTo>
                  <a:lnTo>
                    <a:pt x="135" y="11"/>
                  </a:lnTo>
                  <a:lnTo>
                    <a:pt x="135" y="9"/>
                  </a:lnTo>
                  <a:lnTo>
                    <a:pt x="135" y="7"/>
                  </a:lnTo>
                  <a:lnTo>
                    <a:pt x="135" y="6"/>
                  </a:lnTo>
                  <a:lnTo>
                    <a:pt x="135" y="4"/>
                  </a:lnTo>
                  <a:lnTo>
                    <a:pt x="136" y="4"/>
                  </a:lnTo>
                  <a:lnTo>
                    <a:pt x="136" y="2"/>
                  </a:lnTo>
                  <a:lnTo>
                    <a:pt x="136" y="0"/>
                  </a:lnTo>
                  <a:lnTo>
                    <a:pt x="138" y="0"/>
                  </a:lnTo>
                  <a:lnTo>
                    <a:pt x="140" y="0"/>
                  </a:lnTo>
                  <a:lnTo>
                    <a:pt x="141" y="0"/>
                  </a:lnTo>
                  <a:lnTo>
                    <a:pt x="145" y="0"/>
                  </a:lnTo>
                  <a:lnTo>
                    <a:pt x="147" y="0"/>
                  </a:lnTo>
                  <a:lnTo>
                    <a:pt x="148" y="0"/>
                  </a:lnTo>
                  <a:lnTo>
                    <a:pt x="150" y="2"/>
                  </a:lnTo>
                  <a:lnTo>
                    <a:pt x="152" y="2"/>
                  </a:lnTo>
                  <a:lnTo>
                    <a:pt x="152" y="4"/>
                  </a:lnTo>
                  <a:lnTo>
                    <a:pt x="152" y="4"/>
                  </a:lnTo>
                  <a:lnTo>
                    <a:pt x="153" y="4"/>
                  </a:lnTo>
                  <a:lnTo>
                    <a:pt x="155" y="6"/>
                  </a:lnTo>
                  <a:lnTo>
                    <a:pt x="157" y="6"/>
                  </a:lnTo>
                  <a:lnTo>
                    <a:pt x="159" y="6"/>
                  </a:lnTo>
                  <a:lnTo>
                    <a:pt x="159" y="7"/>
                  </a:lnTo>
                  <a:lnTo>
                    <a:pt x="160" y="7"/>
                  </a:lnTo>
                  <a:lnTo>
                    <a:pt x="162" y="7"/>
                  </a:lnTo>
                  <a:lnTo>
                    <a:pt x="164" y="9"/>
                  </a:lnTo>
                  <a:lnTo>
                    <a:pt x="166" y="9"/>
                  </a:lnTo>
                  <a:lnTo>
                    <a:pt x="166" y="11"/>
                  </a:lnTo>
                  <a:lnTo>
                    <a:pt x="167" y="14"/>
                  </a:lnTo>
                  <a:lnTo>
                    <a:pt x="167" y="14"/>
                  </a:lnTo>
                  <a:lnTo>
                    <a:pt x="167" y="16"/>
                  </a:lnTo>
                  <a:lnTo>
                    <a:pt x="169" y="16"/>
                  </a:lnTo>
                  <a:lnTo>
                    <a:pt x="169" y="16"/>
                  </a:lnTo>
                  <a:lnTo>
                    <a:pt x="171" y="18"/>
                  </a:lnTo>
                  <a:lnTo>
                    <a:pt x="174" y="18"/>
                  </a:lnTo>
                  <a:lnTo>
                    <a:pt x="174" y="19"/>
                  </a:lnTo>
                  <a:lnTo>
                    <a:pt x="176" y="19"/>
                  </a:lnTo>
                  <a:lnTo>
                    <a:pt x="178" y="19"/>
                  </a:lnTo>
                  <a:lnTo>
                    <a:pt x="179" y="21"/>
                  </a:lnTo>
                  <a:lnTo>
                    <a:pt x="181" y="21"/>
                  </a:lnTo>
                  <a:lnTo>
                    <a:pt x="183" y="21"/>
                  </a:lnTo>
                  <a:lnTo>
                    <a:pt x="184" y="21"/>
                  </a:lnTo>
                  <a:lnTo>
                    <a:pt x="186" y="21"/>
                  </a:lnTo>
                  <a:lnTo>
                    <a:pt x="188" y="21"/>
                  </a:lnTo>
                  <a:lnTo>
                    <a:pt x="190" y="21"/>
                  </a:lnTo>
                  <a:lnTo>
                    <a:pt x="193" y="21"/>
                  </a:lnTo>
                  <a:lnTo>
                    <a:pt x="193" y="19"/>
                  </a:lnTo>
                  <a:lnTo>
                    <a:pt x="195" y="19"/>
                  </a:lnTo>
                  <a:lnTo>
                    <a:pt x="196" y="19"/>
                  </a:lnTo>
                  <a:lnTo>
                    <a:pt x="198" y="19"/>
                  </a:lnTo>
                  <a:lnTo>
                    <a:pt x="202" y="18"/>
                  </a:lnTo>
                  <a:lnTo>
                    <a:pt x="205" y="16"/>
                  </a:lnTo>
                  <a:lnTo>
                    <a:pt x="207" y="16"/>
                  </a:lnTo>
                  <a:lnTo>
                    <a:pt x="209" y="16"/>
                  </a:lnTo>
                  <a:lnTo>
                    <a:pt x="210" y="14"/>
                  </a:lnTo>
                  <a:lnTo>
                    <a:pt x="212" y="13"/>
                  </a:lnTo>
                  <a:lnTo>
                    <a:pt x="214" y="13"/>
                  </a:lnTo>
                  <a:lnTo>
                    <a:pt x="215" y="13"/>
                  </a:lnTo>
                  <a:lnTo>
                    <a:pt x="215" y="11"/>
                  </a:lnTo>
                  <a:lnTo>
                    <a:pt x="217" y="11"/>
                  </a:lnTo>
                  <a:lnTo>
                    <a:pt x="219" y="13"/>
                  </a:lnTo>
                  <a:lnTo>
                    <a:pt x="227" y="16"/>
                  </a:lnTo>
                  <a:lnTo>
                    <a:pt x="227" y="16"/>
                  </a:lnTo>
                  <a:lnTo>
                    <a:pt x="229" y="16"/>
                  </a:lnTo>
                  <a:lnTo>
                    <a:pt x="231" y="23"/>
                  </a:lnTo>
                  <a:lnTo>
                    <a:pt x="231" y="25"/>
                  </a:lnTo>
                  <a:lnTo>
                    <a:pt x="233" y="26"/>
                  </a:lnTo>
                  <a:lnTo>
                    <a:pt x="233" y="28"/>
                  </a:lnTo>
                  <a:lnTo>
                    <a:pt x="233" y="30"/>
                  </a:lnTo>
                  <a:lnTo>
                    <a:pt x="234" y="31"/>
                  </a:lnTo>
                  <a:lnTo>
                    <a:pt x="234" y="31"/>
                  </a:lnTo>
                  <a:lnTo>
                    <a:pt x="236" y="33"/>
                  </a:lnTo>
                  <a:lnTo>
                    <a:pt x="241" y="37"/>
                  </a:lnTo>
                  <a:lnTo>
                    <a:pt x="241" y="38"/>
                  </a:lnTo>
                  <a:lnTo>
                    <a:pt x="243" y="38"/>
                  </a:lnTo>
                  <a:lnTo>
                    <a:pt x="243" y="40"/>
                  </a:lnTo>
                  <a:lnTo>
                    <a:pt x="243" y="40"/>
                  </a:lnTo>
                  <a:lnTo>
                    <a:pt x="245" y="44"/>
                  </a:lnTo>
                  <a:lnTo>
                    <a:pt x="246" y="45"/>
                  </a:lnTo>
                  <a:lnTo>
                    <a:pt x="248" y="47"/>
                  </a:lnTo>
                  <a:lnTo>
                    <a:pt x="255" y="57"/>
                  </a:lnTo>
                  <a:lnTo>
                    <a:pt x="257" y="61"/>
                  </a:lnTo>
                  <a:lnTo>
                    <a:pt x="258" y="66"/>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2" name="Freeform 222"/>
            <p:cNvSpPr>
              <a:spLocks/>
            </p:cNvSpPr>
            <p:nvPr/>
          </p:nvSpPr>
          <p:spPr bwMode="auto">
            <a:xfrm>
              <a:off x="5855583" y="4549569"/>
              <a:ext cx="595313" cy="671513"/>
            </a:xfrm>
            <a:custGeom>
              <a:avLst/>
              <a:gdLst/>
              <a:ahLst/>
              <a:cxnLst>
                <a:cxn ang="0">
                  <a:pos x="167" y="2"/>
                </a:cxn>
                <a:cxn ang="0">
                  <a:pos x="195" y="2"/>
                </a:cxn>
                <a:cxn ang="0">
                  <a:pos x="226" y="2"/>
                </a:cxn>
                <a:cxn ang="0">
                  <a:pos x="257" y="2"/>
                </a:cxn>
                <a:cxn ang="0">
                  <a:pos x="296" y="2"/>
                </a:cxn>
                <a:cxn ang="0">
                  <a:pos x="305" y="19"/>
                </a:cxn>
                <a:cxn ang="0">
                  <a:pos x="305" y="60"/>
                </a:cxn>
                <a:cxn ang="0">
                  <a:pos x="305" y="86"/>
                </a:cxn>
                <a:cxn ang="0">
                  <a:pos x="305" y="109"/>
                </a:cxn>
                <a:cxn ang="0">
                  <a:pos x="307" y="133"/>
                </a:cxn>
                <a:cxn ang="0">
                  <a:pos x="315" y="136"/>
                </a:cxn>
                <a:cxn ang="0">
                  <a:pos x="356" y="136"/>
                </a:cxn>
                <a:cxn ang="0">
                  <a:pos x="374" y="140"/>
                </a:cxn>
                <a:cxn ang="0">
                  <a:pos x="374" y="176"/>
                </a:cxn>
                <a:cxn ang="0">
                  <a:pos x="374" y="207"/>
                </a:cxn>
                <a:cxn ang="0">
                  <a:pos x="374" y="231"/>
                </a:cxn>
                <a:cxn ang="0">
                  <a:pos x="374" y="257"/>
                </a:cxn>
                <a:cxn ang="0">
                  <a:pos x="372" y="270"/>
                </a:cxn>
                <a:cxn ang="0">
                  <a:pos x="372" y="305"/>
                </a:cxn>
                <a:cxn ang="0">
                  <a:pos x="372" y="325"/>
                </a:cxn>
                <a:cxn ang="0">
                  <a:pos x="372" y="362"/>
                </a:cxn>
                <a:cxn ang="0">
                  <a:pos x="372" y="384"/>
                </a:cxn>
                <a:cxn ang="0">
                  <a:pos x="372" y="406"/>
                </a:cxn>
                <a:cxn ang="0">
                  <a:pos x="372" y="423"/>
                </a:cxn>
                <a:cxn ang="0">
                  <a:pos x="355" y="423"/>
                </a:cxn>
                <a:cxn ang="0">
                  <a:pos x="334" y="423"/>
                </a:cxn>
                <a:cxn ang="0">
                  <a:pos x="308" y="423"/>
                </a:cxn>
                <a:cxn ang="0">
                  <a:pos x="277" y="423"/>
                </a:cxn>
                <a:cxn ang="0">
                  <a:pos x="260" y="423"/>
                </a:cxn>
                <a:cxn ang="0">
                  <a:pos x="234" y="423"/>
                </a:cxn>
                <a:cxn ang="0">
                  <a:pos x="214" y="423"/>
                </a:cxn>
                <a:cxn ang="0">
                  <a:pos x="200" y="422"/>
                </a:cxn>
                <a:cxn ang="0">
                  <a:pos x="181" y="422"/>
                </a:cxn>
                <a:cxn ang="0">
                  <a:pos x="157" y="420"/>
                </a:cxn>
                <a:cxn ang="0">
                  <a:pos x="121" y="420"/>
                </a:cxn>
                <a:cxn ang="0">
                  <a:pos x="83" y="420"/>
                </a:cxn>
                <a:cxn ang="0">
                  <a:pos x="43" y="420"/>
                </a:cxn>
                <a:cxn ang="0">
                  <a:pos x="4" y="420"/>
                </a:cxn>
                <a:cxn ang="0">
                  <a:pos x="6" y="394"/>
                </a:cxn>
                <a:cxn ang="0">
                  <a:pos x="6" y="372"/>
                </a:cxn>
                <a:cxn ang="0">
                  <a:pos x="6" y="358"/>
                </a:cxn>
                <a:cxn ang="0">
                  <a:pos x="6" y="336"/>
                </a:cxn>
                <a:cxn ang="0">
                  <a:pos x="6" y="300"/>
                </a:cxn>
                <a:cxn ang="0">
                  <a:pos x="4" y="270"/>
                </a:cxn>
                <a:cxn ang="0">
                  <a:pos x="2" y="238"/>
                </a:cxn>
                <a:cxn ang="0">
                  <a:pos x="2" y="210"/>
                </a:cxn>
                <a:cxn ang="0">
                  <a:pos x="2" y="190"/>
                </a:cxn>
                <a:cxn ang="0">
                  <a:pos x="0" y="150"/>
                </a:cxn>
                <a:cxn ang="0">
                  <a:pos x="0" y="102"/>
                </a:cxn>
                <a:cxn ang="0">
                  <a:pos x="0" y="74"/>
                </a:cxn>
                <a:cxn ang="0">
                  <a:pos x="2" y="31"/>
                </a:cxn>
                <a:cxn ang="0">
                  <a:pos x="2" y="0"/>
                </a:cxn>
                <a:cxn ang="0">
                  <a:pos x="21" y="0"/>
                </a:cxn>
                <a:cxn ang="0">
                  <a:pos x="54" y="0"/>
                </a:cxn>
                <a:cxn ang="0">
                  <a:pos x="95" y="0"/>
                </a:cxn>
                <a:cxn ang="0">
                  <a:pos x="133" y="0"/>
                </a:cxn>
              </a:cxnLst>
              <a:rect l="0" t="0" r="r" b="b"/>
              <a:pathLst>
                <a:path w="375" h="423">
                  <a:moveTo>
                    <a:pt x="136" y="0"/>
                  </a:moveTo>
                  <a:lnTo>
                    <a:pt x="148" y="2"/>
                  </a:lnTo>
                  <a:lnTo>
                    <a:pt x="150" y="2"/>
                  </a:lnTo>
                  <a:lnTo>
                    <a:pt x="155" y="2"/>
                  </a:lnTo>
                  <a:lnTo>
                    <a:pt x="157" y="0"/>
                  </a:lnTo>
                  <a:lnTo>
                    <a:pt x="160" y="0"/>
                  </a:lnTo>
                  <a:lnTo>
                    <a:pt x="164" y="2"/>
                  </a:lnTo>
                  <a:lnTo>
                    <a:pt x="167" y="2"/>
                  </a:lnTo>
                  <a:lnTo>
                    <a:pt x="169" y="2"/>
                  </a:lnTo>
                  <a:lnTo>
                    <a:pt x="176" y="2"/>
                  </a:lnTo>
                  <a:lnTo>
                    <a:pt x="178" y="2"/>
                  </a:lnTo>
                  <a:lnTo>
                    <a:pt x="181" y="2"/>
                  </a:lnTo>
                  <a:lnTo>
                    <a:pt x="183" y="2"/>
                  </a:lnTo>
                  <a:lnTo>
                    <a:pt x="191" y="2"/>
                  </a:lnTo>
                  <a:lnTo>
                    <a:pt x="193" y="2"/>
                  </a:lnTo>
                  <a:lnTo>
                    <a:pt x="195" y="2"/>
                  </a:lnTo>
                  <a:lnTo>
                    <a:pt x="196" y="2"/>
                  </a:lnTo>
                  <a:lnTo>
                    <a:pt x="207" y="2"/>
                  </a:lnTo>
                  <a:lnTo>
                    <a:pt x="210" y="2"/>
                  </a:lnTo>
                  <a:lnTo>
                    <a:pt x="212" y="2"/>
                  </a:lnTo>
                  <a:lnTo>
                    <a:pt x="214" y="2"/>
                  </a:lnTo>
                  <a:lnTo>
                    <a:pt x="221" y="2"/>
                  </a:lnTo>
                  <a:lnTo>
                    <a:pt x="222" y="2"/>
                  </a:lnTo>
                  <a:lnTo>
                    <a:pt x="226" y="2"/>
                  </a:lnTo>
                  <a:lnTo>
                    <a:pt x="227" y="2"/>
                  </a:lnTo>
                  <a:lnTo>
                    <a:pt x="231" y="2"/>
                  </a:lnTo>
                  <a:lnTo>
                    <a:pt x="234" y="2"/>
                  </a:lnTo>
                  <a:lnTo>
                    <a:pt x="236" y="2"/>
                  </a:lnTo>
                  <a:lnTo>
                    <a:pt x="239" y="4"/>
                  </a:lnTo>
                  <a:lnTo>
                    <a:pt x="243" y="4"/>
                  </a:lnTo>
                  <a:lnTo>
                    <a:pt x="251" y="2"/>
                  </a:lnTo>
                  <a:lnTo>
                    <a:pt x="257" y="2"/>
                  </a:lnTo>
                  <a:lnTo>
                    <a:pt x="262" y="2"/>
                  </a:lnTo>
                  <a:lnTo>
                    <a:pt x="267" y="2"/>
                  </a:lnTo>
                  <a:lnTo>
                    <a:pt x="270" y="2"/>
                  </a:lnTo>
                  <a:lnTo>
                    <a:pt x="276" y="2"/>
                  </a:lnTo>
                  <a:lnTo>
                    <a:pt x="284" y="2"/>
                  </a:lnTo>
                  <a:lnTo>
                    <a:pt x="288" y="2"/>
                  </a:lnTo>
                  <a:lnTo>
                    <a:pt x="293" y="2"/>
                  </a:lnTo>
                  <a:lnTo>
                    <a:pt x="296" y="2"/>
                  </a:lnTo>
                  <a:lnTo>
                    <a:pt x="303" y="2"/>
                  </a:lnTo>
                  <a:lnTo>
                    <a:pt x="305" y="2"/>
                  </a:lnTo>
                  <a:lnTo>
                    <a:pt x="305" y="4"/>
                  </a:lnTo>
                  <a:lnTo>
                    <a:pt x="305" y="5"/>
                  </a:lnTo>
                  <a:lnTo>
                    <a:pt x="305" y="7"/>
                  </a:lnTo>
                  <a:lnTo>
                    <a:pt x="305" y="12"/>
                  </a:lnTo>
                  <a:lnTo>
                    <a:pt x="305" y="14"/>
                  </a:lnTo>
                  <a:lnTo>
                    <a:pt x="305" y="19"/>
                  </a:lnTo>
                  <a:lnTo>
                    <a:pt x="305" y="24"/>
                  </a:lnTo>
                  <a:lnTo>
                    <a:pt x="305" y="26"/>
                  </a:lnTo>
                  <a:lnTo>
                    <a:pt x="305" y="28"/>
                  </a:lnTo>
                  <a:lnTo>
                    <a:pt x="305" y="30"/>
                  </a:lnTo>
                  <a:lnTo>
                    <a:pt x="305" y="30"/>
                  </a:lnTo>
                  <a:lnTo>
                    <a:pt x="305" y="47"/>
                  </a:lnTo>
                  <a:lnTo>
                    <a:pt x="305" y="55"/>
                  </a:lnTo>
                  <a:lnTo>
                    <a:pt x="305" y="60"/>
                  </a:lnTo>
                  <a:lnTo>
                    <a:pt x="305" y="62"/>
                  </a:lnTo>
                  <a:lnTo>
                    <a:pt x="305" y="64"/>
                  </a:lnTo>
                  <a:lnTo>
                    <a:pt x="305" y="67"/>
                  </a:lnTo>
                  <a:lnTo>
                    <a:pt x="305" y="71"/>
                  </a:lnTo>
                  <a:lnTo>
                    <a:pt x="305" y="74"/>
                  </a:lnTo>
                  <a:lnTo>
                    <a:pt x="305" y="78"/>
                  </a:lnTo>
                  <a:lnTo>
                    <a:pt x="305" y="79"/>
                  </a:lnTo>
                  <a:lnTo>
                    <a:pt x="305" y="86"/>
                  </a:lnTo>
                  <a:lnTo>
                    <a:pt x="305" y="90"/>
                  </a:lnTo>
                  <a:lnTo>
                    <a:pt x="305" y="93"/>
                  </a:lnTo>
                  <a:lnTo>
                    <a:pt x="305" y="95"/>
                  </a:lnTo>
                  <a:lnTo>
                    <a:pt x="305" y="97"/>
                  </a:lnTo>
                  <a:lnTo>
                    <a:pt x="305" y="102"/>
                  </a:lnTo>
                  <a:lnTo>
                    <a:pt x="305" y="104"/>
                  </a:lnTo>
                  <a:lnTo>
                    <a:pt x="305" y="105"/>
                  </a:lnTo>
                  <a:lnTo>
                    <a:pt x="305" y="109"/>
                  </a:lnTo>
                  <a:lnTo>
                    <a:pt x="305" y="110"/>
                  </a:lnTo>
                  <a:lnTo>
                    <a:pt x="307" y="114"/>
                  </a:lnTo>
                  <a:lnTo>
                    <a:pt x="307" y="116"/>
                  </a:lnTo>
                  <a:lnTo>
                    <a:pt x="307" y="117"/>
                  </a:lnTo>
                  <a:lnTo>
                    <a:pt x="307" y="121"/>
                  </a:lnTo>
                  <a:lnTo>
                    <a:pt x="307" y="122"/>
                  </a:lnTo>
                  <a:lnTo>
                    <a:pt x="307" y="126"/>
                  </a:lnTo>
                  <a:lnTo>
                    <a:pt x="307" y="133"/>
                  </a:lnTo>
                  <a:lnTo>
                    <a:pt x="307" y="134"/>
                  </a:lnTo>
                  <a:lnTo>
                    <a:pt x="307" y="134"/>
                  </a:lnTo>
                  <a:lnTo>
                    <a:pt x="307" y="136"/>
                  </a:lnTo>
                  <a:lnTo>
                    <a:pt x="308" y="136"/>
                  </a:lnTo>
                  <a:lnTo>
                    <a:pt x="310" y="136"/>
                  </a:lnTo>
                  <a:lnTo>
                    <a:pt x="312" y="136"/>
                  </a:lnTo>
                  <a:lnTo>
                    <a:pt x="313" y="136"/>
                  </a:lnTo>
                  <a:lnTo>
                    <a:pt x="315" y="136"/>
                  </a:lnTo>
                  <a:lnTo>
                    <a:pt x="325" y="136"/>
                  </a:lnTo>
                  <a:lnTo>
                    <a:pt x="331" y="136"/>
                  </a:lnTo>
                  <a:lnTo>
                    <a:pt x="332" y="136"/>
                  </a:lnTo>
                  <a:lnTo>
                    <a:pt x="336" y="136"/>
                  </a:lnTo>
                  <a:lnTo>
                    <a:pt x="346" y="136"/>
                  </a:lnTo>
                  <a:lnTo>
                    <a:pt x="348" y="136"/>
                  </a:lnTo>
                  <a:lnTo>
                    <a:pt x="351" y="136"/>
                  </a:lnTo>
                  <a:lnTo>
                    <a:pt x="356" y="136"/>
                  </a:lnTo>
                  <a:lnTo>
                    <a:pt x="363" y="136"/>
                  </a:lnTo>
                  <a:lnTo>
                    <a:pt x="365" y="136"/>
                  </a:lnTo>
                  <a:lnTo>
                    <a:pt x="367" y="136"/>
                  </a:lnTo>
                  <a:lnTo>
                    <a:pt x="368" y="136"/>
                  </a:lnTo>
                  <a:lnTo>
                    <a:pt x="372" y="136"/>
                  </a:lnTo>
                  <a:lnTo>
                    <a:pt x="374" y="136"/>
                  </a:lnTo>
                  <a:lnTo>
                    <a:pt x="374" y="138"/>
                  </a:lnTo>
                  <a:lnTo>
                    <a:pt x="374" y="140"/>
                  </a:lnTo>
                  <a:lnTo>
                    <a:pt x="374" y="148"/>
                  </a:lnTo>
                  <a:lnTo>
                    <a:pt x="374" y="157"/>
                  </a:lnTo>
                  <a:lnTo>
                    <a:pt x="374" y="160"/>
                  </a:lnTo>
                  <a:lnTo>
                    <a:pt x="374" y="164"/>
                  </a:lnTo>
                  <a:lnTo>
                    <a:pt x="374" y="164"/>
                  </a:lnTo>
                  <a:lnTo>
                    <a:pt x="374" y="171"/>
                  </a:lnTo>
                  <a:lnTo>
                    <a:pt x="374" y="174"/>
                  </a:lnTo>
                  <a:lnTo>
                    <a:pt x="374" y="176"/>
                  </a:lnTo>
                  <a:lnTo>
                    <a:pt x="374" y="183"/>
                  </a:lnTo>
                  <a:lnTo>
                    <a:pt x="374" y="190"/>
                  </a:lnTo>
                  <a:lnTo>
                    <a:pt x="374" y="196"/>
                  </a:lnTo>
                  <a:lnTo>
                    <a:pt x="374" y="198"/>
                  </a:lnTo>
                  <a:lnTo>
                    <a:pt x="374" y="202"/>
                  </a:lnTo>
                  <a:lnTo>
                    <a:pt x="374" y="203"/>
                  </a:lnTo>
                  <a:lnTo>
                    <a:pt x="374" y="205"/>
                  </a:lnTo>
                  <a:lnTo>
                    <a:pt x="374" y="207"/>
                  </a:lnTo>
                  <a:lnTo>
                    <a:pt x="374" y="210"/>
                  </a:lnTo>
                  <a:lnTo>
                    <a:pt x="374" y="212"/>
                  </a:lnTo>
                  <a:lnTo>
                    <a:pt x="374" y="217"/>
                  </a:lnTo>
                  <a:lnTo>
                    <a:pt x="374" y="220"/>
                  </a:lnTo>
                  <a:lnTo>
                    <a:pt x="374" y="226"/>
                  </a:lnTo>
                  <a:lnTo>
                    <a:pt x="374" y="227"/>
                  </a:lnTo>
                  <a:lnTo>
                    <a:pt x="374" y="229"/>
                  </a:lnTo>
                  <a:lnTo>
                    <a:pt x="374" y="231"/>
                  </a:lnTo>
                  <a:lnTo>
                    <a:pt x="374" y="238"/>
                  </a:lnTo>
                  <a:lnTo>
                    <a:pt x="374" y="239"/>
                  </a:lnTo>
                  <a:lnTo>
                    <a:pt x="374" y="243"/>
                  </a:lnTo>
                  <a:lnTo>
                    <a:pt x="374" y="245"/>
                  </a:lnTo>
                  <a:lnTo>
                    <a:pt x="374" y="246"/>
                  </a:lnTo>
                  <a:lnTo>
                    <a:pt x="374" y="251"/>
                  </a:lnTo>
                  <a:lnTo>
                    <a:pt x="374" y="253"/>
                  </a:lnTo>
                  <a:lnTo>
                    <a:pt x="374" y="257"/>
                  </a:lnTo>
                  <a:lnTo>
                    <a:pt x="374" y="260"/>
                  </a:lnTo>
                  <a:lnTo>
                    <a:pt x="374" y="262"/>
                  </a:lnTo>
                  <a:lnTo>
                    <a:pt x="374" y="263"/>
                  </a:lnTo>
                  <a:lnTo>
                    <a:pt x="374" y="267"/>
                  </a:lnTo>
                  <a:lnTo>
                    <a:pt x="375" y="269"/>
                  </a:lnTo>
                  <a:lnTo>
                    <a:pt x="375" y="270"/>
                  </a:lnTo>
                  <a:lnTo>
                    <a:pt x="375" y="270"/>
                  </a:lnTo>
                  <a:lnTo>
                    <a:pt x="372" y="270"/>
                  </a:lnTo>
                  <a:lnTo>
                    <a:pt x="372" y="279"/>
                  </a:lnTo>
                  <a:lnTo>
                    <a:pt x="372" y="286"/>
                  </a:lnTo>
                  <a:lnTo>
                    <a:pt x="372" y="288"/>
                  </a:lnTo>
                  <a:lnTo>
                    <a:pt x="372" y="296"/>
                  </a:lnTo>
                  <a:lnTo>
                    <a:pt x="372" y="300"/>
                  </a:lnTo>
                  <a:lnTo>
                    <a:pt x="372" y="300"/>
                  </a:lnTo>
                  <a:lnTo>
                    <a:pt x="372" y="303"/>
                  </a:lnTo>
                  <a:lnTo>
                    <a:pt x="372" y="305"/>
                  </a:lnTo>
                  <a:lnTo>
                    <a:pt x="372" y="308"/>
                  </a:lnTo>
                  <a:lnTo>
                    <a:pt x="372" y="313"/>
                  </a:lnTo>
                  <a:lnTo>
                    <a:pt x="372" y="315"/>
                  </a:lnTo>
                  <a:lnTo>
                    <a:pt x="372" y="317"/>
                  </a:lnTo>
                  <a:lnTo>
                    <a:pt x="372" y="319"/>
                  </a:lnTo>
                  <a:lnTo>
                    <a:pt x="372" y="320"/>
                  </a:lnTo>
                  <a:lnTo>
                    <a:pt x="372" y="324"/>
                  </a:lnTo>
                  <a:lnTo>
                    <a:pt x="372" y="325"/>
                  </a:lnTo>
                  <a:lnTo>
                    <a:pt x="372" y="331"/>
                  </a:lnTo>
                  <a:lnTo>
                    <a:pt x="372" y="331"/>
                  </a:lnTo>
                  <a:lnTo>
                    <a:pt x="372" y="332"/>
                  </a:lnTo>
                  <a:lnTo>
                    <a:pt x="372" y="334"/>
                  </a:lnTo>
                  <a:lnTo>
                    <a:pt x="372" y="336"/>
                  </a:lnTo>
                  <a:lnTo>
                    <a:pt x="372" y="343"/>
                  </a:lnTo>
                  <a:lnTo>
                    <a:pt x="372" y="356"/>
                  </a:lnTo>
                  <a:lnTo>
                    <a:pt x="372" y="362"/>
                  </a:lnTo>
                  <a:lnTo>
                    <a:pt x="372" y="365"/>
                  </a:lnTo>
                  <a:lnTo>
                    <a:pt x="372" y="370"/>
                  </a:lnTo>
                  <a:lnTo>
                    <a:pt x="372" y="374"/>
                  </a:lnTo>
                  <a:lnTo>
                    <a:pt x="372" y="375"/>
                  </a:lnTo>
                  <a:lnTo>
                    <a:pt x="372" y="377"/>
                  </a:lnTo>
                  <a:lnTo>
                    <a:pt x="372" y="379"/>
                  </a:lnTo>
                  <a:lnTo>
                    <a:pt x="372" y="380"/>
                  </a:lnTo>
                  <a:lnTo>
                    <a:pt x="372" y="384"/>
                  </a:lnTo>
                  <a:lnTo>
                    <a:pt x="372" y="386"/>
                  </a:lnTo>
                  <a:lnTo>
                    <a:pt x="372" y="391"/>
                  </a:lnTo>
                  <a:lnTo>
                    <a:pt x="372" y="394"/>
                  </a:lnTo>
                  <a:lnTo>
                    <a:pt x="372" y="396"/>
                  </a:lnTo>
                  <a:lnTo>
                    <a:pt x="372" y="399"/>
                  </a:lnTo>
                  <a:lnTo>
                    <a:pt x="372" y="401"/>
                  </a:lnTo>
                  <a:lnTo>
                    <a:pt x="372" y="406"/>
                  </a:lnTo>
                  <a:lnTo>
                    <a:pt x="372" y="406"/>
                  </a:lnTo>
                  <a:lnTo>
                    <a:pt x="372" y="410"/>
                  </a:lnTo>
                  <a:lnTo>
                    <a:pt x="372" y="411"/>
                  </a:lnTo>
                  <a:lnTo>
                    <a:pt x="372" y="415"/>
                  </a:lnTo>
                  <a:lnTo>
                    <a:pt x="372" y="417"/>
                  </a:lnTo>
                  <a:lnTo>
                    <a:pt x="372" y="418"/>
                  </a:lnTo>
                  <a:lnTo>
                    <a:pt x="372" y="420"/>
                  </a:lnTo>
                  <a:lnTo>
                    <a:pt x="372" y="422"/>
                  </a:lnTo>
                  <a:lnTo>
                    <a:pt x="372" y="423"/>
                  </a:lnTo>
                  <a:lnTo>
                    <a:pt x="370" y="423"/>
                  </a:lnTo>
                  <a:lnTo>
                    <a:pt x="367" y="423"/>
                  </a:lnTo>
                  <a:lnTo>
                    <a:pt x="365" y="423"/>
                  </a:lnTo>
                  <a:lnTo>
                    <a:pt x="363" y="423"/>
                  </a:lnTo>
                  <a:lnTo>
                    <a:pt x="362" y="423"/>
                  </a:lnTo>
                  <a:lnTo>
                    <a:pt x="360" y="423"/>
                  </a:lnTo>
                  <a:lnTo>
                    <a:pt x="358" y="423"/>
                  </a:lnTo>
                  <a:lnTo>
                    <a:pt x="355" y="423"/>
                  </a:lnTo>
                  <a:lnTo>
                    <a:pt x="351" y="423"/>
                  </a:lnTo>
                  <a:lnTo>
                    <a:pt x="350" y="423"/>
                  </a:lnTo>
                  <a:lnTo>
                    <a:pt x="346" y="423"/>
                  </a:lnTo>
                  <a:lnTo>
                    <a:pt x="343" y="423"/>
                  </a:lnTo>
                  <a:lnTo>
                    <a:pt x="339" y="423"/>
                  </a:lnTo>
                  <a:lnTo>
                    <a:pt x="337" y="423"/>
                  </a:lnTo>
                  <a:lnTo>
                    <a:pt x="336" y="423"/>
                  </a:lnTo>
                  <a:lnTo>
                    <a:pt x="334" y="423"/>
                  </a:lnTo>
                  <a:lnTo>
                    <a:pt x="331" y="423"/>
                  </a:lnTo>
                  <a:lnTo>
                    <a:pt x="331" y="423"/>
                  </a:lnTo>
                  <a:lnTo>
                    <a:pt x="327" y="423"/>
                  </a:lnTo>
                  <a:lnTo>
                    <a:pt x="319" y="423"/>
                  </a:lnTo>
                  <a:lnTo>
                    <a:pt x="313" y="423"/>
                  </a:lnTo>
                  <a:lnTo>
                    <a:pt x="312" y="423"/>
                  </a:lnTo>
                  <a:lnTo>
                    <a:pt x="310" y="423"/>
                  </a:lnTo>
                  <a:lnTo>
                    <a:pt x="308" y="423"/>
                  </a:lnTo>
                  <a:lnTo>
                    <a:pt x="305" y="423"/>
                  </a:lnTo>
                  <a:lnTo>
                    <a:pt x="303" y="423"/>
                  </a:lnTo>
                  <a:lnTo>
                    <a:pt x="298" y="423"/>
                  </a:lnTo>
                  <a:lnTo>
                    <a:pt x="289" y="423"/>
                  </a:lnTo>
                  <a:lnTo>
                    <a:pt x="288" y="423"/>
                  </a:lnTo>
                  <a:lnTo>
                    <a:pt x="286" y="423"/>
                  </a:lnTo>
                  <a:lnTo>
                    <a:pt x="282" y="423"/>
                  </a:lnTo>
                  <a:lnTo>
                    <a:pt x="277" y="423"/>
                  </a:lnTo>
                  <a:lnTo>
                    <a:pt x="276" y="423"/>
                  </a:lnTo>
                  <a:lnTo>
                    <a:pt x="274" y="423"/>
                  </a:lnTo>
                  <a:lnTo>
                    <a:pt x="272" y="423"/>
                  </a:lnTo>
                  <a:lnTo>
                    <a:pt x="270" y="423"/>
                  </a:lnTo>
                  <a:lnTo>
                    <a:pt x="270" y="423"/>
                  </a:lnTo>
                  <a:lnTo>
                    <a:pt x="269" y="423"/>
                  </a:lnTo>
                  <a:lnTo>
                    <a:pt x="265" y="423"/>
                  </a:lnTo>
                  <a:lnTo>
                    <a:pt x="260" y="423"/>
                  </a:lnTo>
                  <a:lnTo>
                    <a:pt x="255" y="423"/>
                  </a:lnTo>
                  <a:lnTo>
                    <a:pt x="251" y="423"/>
                  </a:lnTo>
                  <a:lnTo>
                    <a:pt x="250" y="423"/>
                  </a:lnTo>
                  <a:lnTo>
                    <a:pt x="248" y="423"/>
                  </a:lnTo>
                  <a:lnTo>
                    <a:pt x="243" y="423"/>
                  </a:lnTo>
                  <a:lnTo>
                    <a:pt x="238" y="423"/>
                  </a:lnTo>
                  <a:lnTo>
                    <a:pt x="236" y="423"/>
                  </a:lnTo>
                  <a:lnTo>
                    <a:pt x="234" y="423"/>
                  </a:lnTo>
                  <a:lnTo>
                    <a:pt x="233" y="423"/>
                  </a:lnTo>
                  <a:lnTo>
                    <a:pt x="229" y="423"/>
                  </a:lnTo>
                  <a:lnTo>
                    <a:pt x="226" y="423"/>
                  </a:lnTo>
                  <a:lnTo>
                    <a:pt x="224" y="423"/>
                  </a:lnTo>
                  <a:lnTo>
                    <a:pt x="222" y="423"/>
                  </a:lnTo>
                  <a:lnTo>
                    <a:pt x="219" y="423"/>
                  </a:lnTo>
                  <a:lnTo>
                    <a:pt x="217" y="423"/>
                  </a:lnTo>
                  <a:lnTo>
                    <a:pt x="214" y="423"/>
                  </a:lnTo>
                  <a:lnTo>
                    <a:pt x="210" y="423"/>
                  </a:lnTo>
                  <a:lnTo>
                    <a:pt x="210" y="423"/>
                  </a:lnTo>
                  <a:lnTo>
                    <a:pt x="208" y="423"/>
                  </a:lnTo>
                  <a:lnTo>
                    <a:pt x="207" y="423"/>
                  </a:lnTo>
                  <a:lnTo>
                    <a:pt x="205" y="422"/>
                  </a:lnTo>
                  <a:lnTo>
                    <a:pt x="203" y="422"/>
                  </a:lnTo>
                  <a:lnTo>
                    <a:pt x="202" y="422"/>
                  </a:lnTo>
                  <a:lnTo>
                    <a:pt x="200" y="422"/>
                  </a:lnTo>
                  <a:lnTo>
                    <a:pt x="198" y="422"/>
                  </a:lnTo>
                  <a:lnTo>
                    <a:pt x="196" y="422"/>
                  </a:lnTo>
                  <a:lnTo>
                    <a:pt x="195" y="422"/>
                  </a:lnTo>
                  <a:lnTo>
                    <a:pt x="190" y="422"/>
                  </a:lnTo>
                  <a:lnTo>
                    <a:pt x="188" y="422"/>
                  </a:lnTo>
                  <a:lnTo>
                    <a:pt x="186" y="422"/>
                  </a:lnTo>
                  <a:lnTo>
                    <a:pt x="183" y="422"/>
                  </a:lnTo>
                  <a:lnTo>
                    <a:pt x="181" y="422"/>
                  </a:lnTo>
                  <a:lnTo>
                    <a:pt x="178" y="422"/>
                  </a:lnTo>
                  <a:lnTo>
                    <a:pt x="174" y="420"/>
                  </a:lnTo>
                  <a:lnTo>
                    <a:pt x="171" y="420"/>
                  </a:lnTo>
                  <a:lnTo>
                    <a:pt x="167" y="420"/>
                  </a:lnTo>
                  <a:lnTo>
                    <a:pt x="165" y="420"/>
                  </a:lnTo>
                  <a:lnTo>
                    <a:pt x="165" y="420"/>
                  </a:lnTo>
                  <a:lnTo>
                    <a:pt x="159" y="420"/>
                  </a:lnTo>
                  <a:lnTo>
                    <a:pt x="157" y="420"/>
                  </a:lnTo>
                  <a:lnTo>
                    <a:pt x="150" y="420"/>
                  </a:lnTo>
                  <a:lnTo>
                    <a:pt x="148" y="420"/>
                  </a:lnTo>
                  <a:lnTo>
                    <a:pt x="136" y="420"/>
                  </a:lnTo>
                  <a:lnTo>
                    <a:pt x="136" y="420"/>
                  </a:lnTo>
                  <a:lnTo>
                    <a:pt x="133" y="420"/>
                  </a:lnTo>
                  <a:lnTo>
                    <a:pt x="129" y="420"/>
                  </a:lnTo>
                  <a:lnTo>
                    <a:pt x="122" y="420"/>
                  </a:lnTo>
                  <a:lnTo>
                    <a:pt x="121" y="420"/>
                  </a:lnTo>
                  <a:lnTo>
                    <a:pt x="119" y="420"/>
                  </a:lnTo>
                  <a:lnTo>
                    <a:pt x="114" y="420"/>
                  </a:lnTo>
                  <a:lnTo>
                    <a:pt x="105" y="422"/>
                  </a:lnTo>
                  <a:lnTo>
                    <a:pt x="102" y="420"/>
                  </a:lnTo>
                  <a:lnTo>
                    <a:pt x="97" y="420"/>
                  </a:lnTo>
                  <a:lnTo>
                    <a:pt x="93" y="420"/>
                  </a:lnTo>
                  <a:lnTo>
                    <a:pt x="90" y="420"/>
                  </a:lnTo>
                  <a:lnTo>
                    <a:pt x="83" y="420"/>
                  </a:lnTo>
                  <a:lnTo>
                    <a:pt x="81" y="420"/>
                  </a:lnTo>
                  <a:lnTo>
                    <a:pt x="71" y="420"/>
                  </a:lnTo>
                  <a:lnTo>
                    <a:pt x="61" y="420"/>
                  </a:lnTo>
                  <a:lnTo>
                    <a:pt x="57" y="420"/>
                  </a:lnTo>
                  <a:lnTo>
                    <a:pt x="52" y="420"/>
                  </a:lnTo>
                  <a:lnTo>
                    <a:pt x="50" y="420"/>
                  </a:lnTo>
                  <a:lnTo>
                    <a:pt x="45" y="420"/>
                  </a:lnTo>
                  <a:lnTo>
                    <a:pt x="43" y="420"/>
                  </a:lnTo>
                  <a:lnTo>
                    <a:pt x="38" y="420"/>
                  </a:lnTo>
                  <a:lnTo>
                    <a:pt x="33" y="420"/>
                  </a:lnTo>
                  <a:lnTo>
                    <a:pt x="30" y="420"/>
                  </a:lnTo>
                  <a:lnTo>
                    <a:pt x="21" y="420"/>
                  </a:lnTo>
                  <a:lnTo>
                    <a:pt x="14" y="420"/>
                  </a:lnTo>
                  <a:lnTo>
                    <a:pt x="7" y="420"/>
                  </a:lnTo>
                  <a:lnTo>
                    <a:pt x="6" y="420"/>
                  </a:lnTo>
                  <a:lnTo>
                    <a:pt x="4" y="420"/>
                  </a:lnTo>
                  <a:lnTo>
                    <a:pt x="4" y="415"/>
                  </a:lnTo>
                  <a:lnTo>
                    <a:pt x="4" y="413"/>
                  </a:lnTo>
                  <a:lnTo>
                    <a:pt x="4" y="410"/>
                  </a:lnTo>
                  <a:lnTo>
                    <a:pt x="4" y="408"/>
                  </a:lnTo>
                  <a:lnTo>
                    <a:pt x="4" y="403"/>
                  </a:lnTo>
                  <a:lnTo>
                    <a:pt x="6" y="398"/>
                  </a:lnTo>
                  <a:lnTo>
                    <a:pt x="6" y="396"/>
                  </a:lnTo>
                  <a:lnTo>
                    <a:pt x="6" y="394"/>
                  </a:lnTo>
                  <a:lnTo>
                    <a:pt x="6" y="393"/>
                  </a:lnTo>
                  <a:lnTo>
                    <a:pt x="6" y="391"/>
                  </a:lnTo>
                  <a:lnTo>
                    <a:pt x="6" y="389"/>
                  </a:lnTo>
                  <a:lnTo>
                    <a:pt x="6" y="386"/>
                  </a:lnTo>
                  <a:lnTo>
                    <a:pt x="6" y="375"/>
                  </a:lnTo>
                  <a:lnTo>
                    <a:pt x="6" y="375"/>
                  </a:lnTo>
                  <a:lnTo>
                    <a:pt x="6" y="374"/>
                  </a:lnTo>
                  <a:lnTo>
                    <a:pt x="6" y="372"/>
                  </a:lnTo>
                  <a:lnTo>
                    <a:pt x="6" y="370"/>
                  </a:lnTo>
                  <a:lnTo>
                    <a:pt x="6" y="367"/>
                  </a:lnTo>
                  <a:lnTo>
                    <a:pt x="6" y="365"/>
                  </a:lnTo>
                  <a:lnTo>
                    <a:pt x="6" y="363"/>
                  </a:lnTo>
                  <a:lnTo>
                    <a:pt x="6" y="362"/>
                  </a:lnTo>
                  <a:lnTo>
                    <a:pt x="6" y="360"/>
                  </a:lnTo>
                  <a:lnTo>
                    <a:pt x="6" y="360"/>
                  </a:lnTo>
                  <a:lnTo>
                    <a:pt x="6" y="358"/>
                  </a:lnTo>
                  <a:lnTo>
                    <a:pt x="6" y="356"/>
                  </a:lnTo>
                  <a:lnTo>
                    <a:pt x="6" y="353"/>
                  </a:lnTo>
                  <a:lnTo>
                    <a:pt x="6" y="348"/>
                  </a:lnTo>
                  <a:lnTo>
                    <a:pt x="6" y="346"/>
                  </a:lnTo>
                  <a:lnTo>
                    <a:pt x="6" y="344"/>
                  </a:lnTo>
                  <a:lnTo>
                    <a:pt x="6" y="343"/>
                  </a:lnTo>
                  <a:lnTo>
                    <a:pt x="6" y="339"/>
                  </a:lnTo>
                  <a:lnTo>
                    <a:pt x="6" y="336"/>
                  </a:lnTo>
                  <a:lnTo>
                    <a:pt x="6" y="325"/>
                  </a:lnTo>
                  <a:lnTo>
                    <a:pt x="6" y="319"/>
                  </a:lnTo>
                  <a:lnTo>
                    <a:pt x="6" y="317"/>
                  </a:lnTo>
                  <a:lnTo>
                    <a:pt x="6" y="315"/>
                  </a:lnTo>
                  <a:lnTo>
                    <a:pt x="6" y="315"/>
                  </a:lnTo>
                  <a:lnTo>
                    <a:pt x="6" y="308"/>
                  </a:lnTo>
                  <a:lnTo>
                    <a:pt x="6" y="301"/>
                  </a:lnTo>
                  <a:lnTo>
                    <a:pt x="6" y="300"/>
                  </a:lnTo>
                  <a:lnTo>
                    <a:pt x="6" y="298"/>
                  </a:lnTo>
                  <a:lnTo>
                    <a:pt x="6" y="296"/>
                  </a:lnTo>
                  <a:lnTo>
                    <a:pt x="6" y="286"/>
                  </a:lnTo>
                  <a:lnTo>
                    <a:pt x="6" y="281"/>
                  </a:lnTo>
                  <a:lnTo>
                    <a:pt x="6" y="277"/>
                  </a:lnTo>
                  <a:lnTo>
                    <a:pt x="6" y="274"/>
                  </a:lnTo>
                  <a:lnTo>
                    <a:pt x="6" y="270"/>
                  </a:lnTo>
                  <a:lnTo>
                    <a:pt x="4" y="270"/>
                  </a:lnTo>
                  <a:lnTo>
                    <a:pt x="2" y="270"/>
                  </a:lnTo>
                  <a:lnTo>
                    <a:pt x="2" y="265"/>
                  </a:lnTo>
                  <a:lnTo>
                    <a:pt x="2" y="262"/>
                  </a:lnTo>
                  <a:lnTo>
                    <a:pt x="2" y="260"/>
                  </a:lnTo>
                  <a:lnTo>
                    <a:pt x="2" y="255"/>
                  </a:lnTo>
                  <a:lnTo>
                    <a:pt x="2" y="253"/>
                  </a:lnTo>
                  <a:lnTo>
                    <a:pt x="2" y="243"/>
                  </a:lnTo>
                  <a:lnTo>
                    <a:pt x="2" y="238"/>
                  </a:lnTo>
                  <a:lnTo>
                    <a:pt x="2" y="236"/>
                  </a:lnTo>
                  <a:lnTo>
                    <a:pt x="2" y="233"/>
                  </a:lnTo>
                  <a:lnTo>
                    <a:pt x="2" y="227"/>
                  </a:lnTo>
                  <a:lnTo>
                    <a:pt x="2" y="226"/>
                  </a:lnTo>
                  <a:lnTo>
                    <a:pt x="2" y="224"/>
                  </a:lnTo>
                  <a:lnTo>
                    <a:pt x="2" y="217"/>
                  </a:lnTo>
                  <a:lnTo>
                    <a:pt x="2" y="214"/>
                  </a:lnTo>
                  <a:lnTo>
                    <a:pt x="2" y="210"/>
                  </a:lnTo>
                  <a:lnTo>
                    <a:pt x="2" y="208"/>
                  </a:lnTo>
                  <a:lnTo>
                    <a:pt x="2" y="205"/>
                  </a:lnTo>
                  <a:lnTo>
                    <a:pt x="2" y="203"/>
                  </a:lnTo>
                  <a:lnTo>
                    <a:pt x="2" y="200"/>
                  </a:lnTo>
                  <a:lnTo>
                    <a:pt x="2" y="196"/>
                  </a:lnTo>
                  <a:lnTo>
                    <a:pt x="2" y="195"/>
                  </a:lnTo>
                  <a:lnTo>
                    <a:pt x="2" y="191"/>
                  </a:lnTo>
                  <a:lnTo>
                    <a:pt x="2" y="190"/>
                  </a:lnTo>
                  <a:lnTo>
                    <a:pt x="2" y="184"/>
                  </a:lnTo>
                  <a:lnTo>
                    <a:pt x="2" y="179"/>
                  </a:lnTo>
                  <a:lnTo>
                    <a:pt x="0" y="177"/>
                  </a:lnTo>
                  <a:lnTo>
                    <a:pt x="0" y="176"/>
                  </a:lnTo>
                  <a:lnTo>
                    <a:pt x="0" y="169"/>
                  </a:lnTo>
                  <a:lnTo>
                    <a:pt x="0" y="167"/>
                  </a:lnTo>
                  <a:lnTo>
                    <a:pt x="0" y="155"/>
                  </a:lnTo>
                  <a:lnTo>
                    <a:pt x="0" y="150"/>
                  </a:lnTo>
                  <a:lnTo>
                    <a:pt x="0" y="136"/>
                  </a:lnTo>
                  <a:lnTo>
                    <a:pt x="0" y="128"/>
                  </a:lnTo>
                  <a:lnTo>
                    <a:pt x="0" y="126"/>
                  </a:lnTo>
                  <a:lnTo>
                    <a:pt x="0" y="116"/>
                  </a:lnTo>
                  <a:lnTo>
                    <a:pt x="0" y="109"/>
                  </a:lnTo>
                  <a:lnTo>
                    <a:pt x="0" y="104"/>
                  </a:lnTo>
                  <a:lnTo>
                    <a:pt x="0" y="104"/>
                  </a:lnTo>
                  <a:lnTo>
                    <a:pt x="0" y="102"/>
                  </a:lnTo>
                  <a:lnTo>
                    <a:pt x="0" y="98"/>
                  </a:lnTo>
                  <a:lnTo>
                    <a:pt x="0" y="90"/>
                  </a:lnTo>
                  <a:lnTo>
                    <a:pt x="0" y="88"/>
                  </a:lnTo>
                  <a:lnTo>
                    <a:pt x="0" y="81"/>
                  </a:lnTo>
                  <a:lnTo>
                    <a:pt x="0" y="79"/>
                  </a:lnTo>
                  <a:lnTo>
                    <a:pt x="0" y="78"/>
                  </a:lnTo>
                  <a:lnTo>
                    <a:pt x="0" y="76"/>
                  </a:lnTo>
                  <a:lnTo>
                    <a:pt x="0" y="74"/>
                  </a:lnTo>
                  <a:lnTo>
                    <a:pt x="0" y="60"/>
                  </a:lnTo>
                  <a:lnTo>
                    <a:pt x="0" y="59"/>
                  </a:lnTo>
                  <a:lnTo>
                    <a:pt x="2" y="55"/>
                  </a:lnTo>
                  <a:lnTo>
                    <a:pt x="2" y="54"/>
                  </a:lnTo>
                  <a:lnTo>
                    <a:pt x="2" y="52"/>
                  </a:lnTo>
                  <a:lnTo>
                    <a:pt x="2" y="43"/>
                  </a:lnTo>
                  <a:lnTo>
                    <a:pt x="2" y="36"/>
                  </a:lnTo>
                  <a:lnTo>
                    <a:pt x="2" y="31"/>
                  </a:lnTo>
                  <a:lnTo>
                    <a:pt x="2" y="30"/>
                  </a:lnTo>
                  <a:lnTo>
                    <a:pt x="2" y="26"/>
                  </a:lnTo>
                  <a:lnTo>
                    <a:pt x="2" y="24"/>
                  </a:lnTo>
                  <a:lnTo>
                    <a:pt x="2" y="21"/>
                  </a:lnTo>
                  <a:lnTo>
                    <a:pt x="2" y="16"/>
                  </a:lnTo>
                  <a:lnTo>
                    <a:pt x="2" y="9"/>
                  </a:lnTo>
                  <a:lnTo>
                    <a:pt x="2" y="2"/>
                  </a:lnTo>
                  <a:lnTo>
                    <a:pt x="2" y="0"/>
                  </a:lnTo>
                  <a:lnTo>
                    <a:pt x="4" y="0"/>
                  </a:lnTo>
                  <a:lnTo>
                    <a:pt x="6" y="0"/>
                  </a:lnTo>
                  <a:lnTo>
                    <a:pt x="11" y="0"/>
                  </a:lnTo>
                  <a:lnTo>
                    <a:pt x="12" y="0"/>
                  </a:lnTo>
                  <a:lnTo>
                    <a:pt x="14" y="0"/>
                  </a:lnTo>
                  <a:lnTo>
                    <a:pt x="16" y="0"/>
                  </a:lnTo>
                  <a:lnTo>
                    <a:pt x="18" y="0"/>
                  </a:lnTo>
                  <a:lnTo>
                    <a:pt x="21" y="0"/>
                  </a:lnTo>
                  <a:lnTo>
                    <a:pt x="26" y="0"/>
                  </a:lnTo>
                  <a:lnTo>
                    <a:pt x="28" y="0"/>
                  </a:lnTo>
                  <a:lnTo>
                    <a:pt x="30" y="0"/>
                  </a:lnTo>
                  <a:lnTo>
                    <a:pt x="42" y="0"/>
                  </a:lnTo>
                  <a:lnTo>
                    <a:pt x="43" y="0"/>
                  </a:lnTo>
                  <a:lnTo>
                    <a:pt x="45" y="0"/>
                  </a:lnTo>
                  <a:lnTo>
                    <a:pt x="47" y="0"/>
                  </a:lnTo>
                  <a:lnTo>
                    <a:pt x="54" y="0"/>
                  </a:lnTo>
                  <a:lnTo>
                    <a:pt x="59" y="0"/>
                  </a:lnTo>
                  <a:lnTo>
                    <a:pt x="62" y="0"/>
                  </a:lnTo>
                  <a:lnTo>
                    <a:pt x="69" y="0"/>
                  </a:lnTo>
                  <a:lnTo>
                    <a:pt x="74" y="0"/>
                  </a:lnTo>
                  <a:lnTo>
                    <a:pt x="78" y="0"/>
                  </a:lnTo>
                  <a:lnTo>
                    <a:pt x="86" y="0"/>
                  </a:lnTo>
                  <a:lnTo>
                    <a:pt x="92" y="0"/>
                  </a:lnTo>
                  <a:lnTo>
                    <a:pt x="95" y="0"/>
                  </a:lnTo>
                  <a:lnTo>
                    <a:pt x="97" y="0"/>
                  </a:lnTo>
                  <a:lnTo>
                    <a:pt x="100" y="0"/>
                  </a:lnTo>
                  <a:lnTo>
                    <a:pt x="104" y="0"/>
                  </a:lnTo>
                  <a:lnTo>
                    <a:pt x="116" y="0"/>
                  </a:lnTo>
                  <a:lnTo>
                    <a:pt x="128" y="0"/>
                  </a:lnTo>
                  <a:lnTo>
                    <a:pt x="129" y="0"/>
                  </a:lnTo>
                  <a:lnTo>
                    <a:pt x="131" y="0"/>
                  </a:lnTo>
                  <a:lnTo>
                    <a:pt x="133" y="0"/>
                  </a:lnTo>
                  <a:lnTo>
                    <a:pt x="136" y="0"/>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3" name="Freeform 234"/>
            <p:cNvSpPr>
              <a:spLocks/>
            </p:cNvSpPr>
            <p:nvPr/>
          </p:nvSpPr>
          <p:spPr bwMode="auto">
            <a:xfrm>
              <a:off x="6871583" y="5148056"/>
              <a:ext cx="552450" cy="349250"/>
            </a:xfrm>
            <a:custGeom>
              <a:avLst/>
              <a:gdLst/>
              <a:ahLst/>
              <a:cxnLst>
                <a:cxn ang="0">
                  <a:pos x="0" y="158"/>
                </a:cxn>
                <a:cxn ang="0">
                  <a:pos x="0" y="127"/>
                </a:cxn>
                <a:cxn ang="0">
                  <a:pos x="0" y="96"/>
                </a:cxn>
                <a:cxn ang="0">
                  <a:pos x="0" y="81"/>
                </a:cxn>
                <a:cxn ang="0">
                  <a:pos x="0" y="62"/>
                </a:cxn>
                <a:cxn ang="0">
                  <a:pos x="0" y="46"/>
                </a:cxn>
                <a:cxn ang="0">
                  <a:pos x="0" y="31"/>
                </a:cxn>
                <a:cxn ang="0">
                  <a:pos x="0" y="14"/>
                </a:cxn>
                <a:cxn ang="0">
                  <a:pos x="33" y="14"/>
                </a:cxn>
                <a:cxn ang="0">
                  <a:pos x="43" y="14"/>
                </a:cxn>
                <a:cxn ang="0">
                  <a:pos x="57" y="14"/>
                </a:cxn>
                <a:cxn ang="0">
                  <a:pos x="67" y="14"/>
                </a:cxn>
                <a:cxn ang="0">
                  <a:pos x="79" y="12"/>
                </a:cxn>
                <a:cxn ang="0">
                  <a:pos x="86" y="10"/>
                </a:cxn>
                <a:cxn ang="0">
                  <a:pos x="93" y="9"/>
                </a:cxn>
                <a:cxn ang="0">
                  <a:pos x="107" y="7"/>
                </a:cxn>
                <a:cxn ang="0">
                  <a:pos x="134" y="0"/>
                </a:cxn>
                <a:cxn ang="0">
                  <a:pos x="157" y="2"/>
                </a:cxn>
                <a:cxn ang="0">
                  <a:pos x="158" y="22"/>
                </a:cxn>
                <a:cxn ang="0">
                  <a:pos x="158" y="36"/>
                </a:cxn>
                <a:cxn ang="0">
                  <a:pos x="186" y="36"/>
                </a:cxn>
                <a:cxn ang="0">
                  <a:pos x="207" y="36"/>
                </a:cxn>
                <a:cxn ang="0">
                  <a:pos x="219" y="36"/>
                </a:cxn>
                <a:cxn ang="0">
                  <a:pos x="246" y="36"/>
                </a:cxn>
                <a:cxn ang="0">
                  <a:pos x="279" y="36"/>
                </a:cxn>
                <a:cxn ang="0">
                  <a:pos x="293" y="36"/>
                </a:cxn>
                <a:cxn ang="0">
                  <a:pos x="301" y="43"/>
                </a:cxn>
                <a:cxn ang="0">
                  <a:pos x="301" y="74"/>
                </a:cxn>
                <a:cxn ang="0">
                  <a:pos x="312" y="76"/>
                </a:cxn>
                <a:cxn ang="0">
                  <a:pos x="312" y="91"/>
                </a:cxn>
                <a:cxn ang="0">
                  <a:pos x="318" y="96"/>
                </a:cxn>
                <a:cxn ang="0">
                  <a:pos x="325" y="110"/>
                </a:cxn>
                <a:cxn ang="0">
                  <a:pos x="325" y="122"/>
                </a:cxn>
                <a:cxn ang="0">
                  <a:pos x="334" y="129"/>
                </a:cxn>
                <a:cxn ang="0">
                  <a:pos x="336" y="139"/>
                </a:cxn>
                <a:cxn ang="0">
                  <a:pos x="336" y="151"/>
                </a:cxn>
                <a:cxn ang="0">
                  <a:pos x="341" y="163"/>
                </a:cxn>
                <a:cxn ang="0">
                  <a:pos x="346" y="169"/>
                </a:cxn>
                <a:cxn ang="0">
                  <a:pos x="348" y="206"/>
                </a:cxn>
                <a:cxn ang="0">
                  <a:pos x="342" y="219"/>
                </a:cxn>
                <a:cxn ang="0">
                  <a:pos x="315" y="219"/>
                </a:cxn>
                <a:cxn ang="0">
                  <a:pos x="294" y="219"/>
                </a:cxn>
                <a:cxn ang="0">
                  <a:pos x="272" y="219"/>
                </a:cxn>
                <a:cxn ang="0">
                  <a:pos x="258" y="220"/>
                </a:cxn>
                <a:cxn ang="0">
                  <a:pos x="236" y="220"/>
                </a:cxn>
                <a:cxn ang="0">
                  <a:pos x="220" y="220"/>
                </a:cxn>
                <a:cxn ang="0">
                  <a:pos x="208" y="220"/>
                </a:cxn>
                <a:cxn ang="0">
                  <a:pos x="200" y="220"/>
                </a:cxn>
                <a:cxn ang="0">
                  <a:pos x="181" y="219"/>
                </a:cxn>
                <a:cxn ang="0">
                  <a:pos x="172" y="219"/>
                </a:cxn>
                <a:cxn ang="0">
                  <a:pos x="158" y="217"/>
                </a:cxn>
                <a:cxn ang="0">
                  <a:pos x="152" y="217"/>
                </a:cxn>
                <a:cxn ang="0">
                  <a:pos x="145" y="215"/>
                </a:cxn>
                <a:cxn ang="0">
                  <a:pos x="140" y="215"/>
                </a:cxn>
                <a:cxn ang="0">
                  <a:pos x="133" y="212"/>
                </a:cxn>
                <a:cxn ang="0">
                  <a:pos x="119" y="215"/>
                </a:cxn>
                <a:cxn ang="0">
                  <a:pos x="79" y="213"/>
                </a:cxn>
                <a:cxn ang="0">
                  <a:pos x="59" y="213"/>
                </a:cxn>
                <a:cxn ang="0">
                  <a:pos x="33" y="213"/>
                </a:cxn>
                <a:cxn ang="0">
                  <a:pos x="0" y="213"/>
                </a:cxn>
                <a:cxn ang="0">
                  <a:pos x="0" y="193"/>
                </a:cxn>
                <a:cxn ang="0">
                  <a:pos x="0" y="177"/>
                </a:cxn>
              </a:cxnLst>
              <a:rect l="0" t="0" r="r" b="b"/>
              <a:pathLst>
                <a:path w="348" h="220">
                  <a:moveTo>
                    <a:pt x="0" y="169"/>
                  </a:moveTo>
                  <a:lnTo>
                    <a:pt x="0" y="163"/>
                  </a:lnTo>
                  <a:lnTo>
                    <a:pt x="0" y="163"/>
                  </a:lnTo>
                  <a:lnTo>
                    <a:pt x="0" y="158"/>
                  </a:lnTo>
                  <a:lnTo>
                    <a:pt x="0" y="143"/>
                  </a:lnTo>
                  <a:lnTo>
                    <a:pt x="0" y="141"/>
                  </a:lnTo>
                  <a:lnTo>
                    <a:pt x="0" y="136"/>
                  </a:lnTo>
                  <a:lnTo>
                    <a:pt x="0" y="127"/>
                  </a:lnTo>
                  <a:lnTo>
                    <a:pt x="0" y="124"/>
                  </a:lnTo>
                  <a:lnTo>
                    <a:pt x="0" y="117"/>
                  </a:lnTo>
                  <a:lnTo>
                    <a:pt x="0" y="107"/>
                  </a:lnTo>
                  <a:lnTo>
                    <a:pt x="0" y="96"/>
                  </a:lnTo>
                  <a:lnTo>
                    <a:pt x="0" y="95"/>
                  </a:lnTo>
                  <a:lnTo>
                    <a:pt x="0" y="84"/>
                  </a:lnTo>
                  <a:lnTo>
                    <a:pt x="0" y="83"/>
                  </a:lnTo>
                  <a:lnTo>
                    <a:pt x="0" y="81"/>
                  </a:lnTo>
                  <a:lnTo>
                    <a:pt x="0" y="74"/>
                  </a:lnTo>
                  <a:lnTo>
                    <a:pt x="0" y="72"/>
                  </a:lnTo>
                  <a:lnTo>
                    <a:pt x="0" y="67"/>
                  </a:lnTo>
                  <a:lnTo>
                    <a:pt x="0" y="62"/>
                  </a:lnTo>
                  <a:lnTo>
                    <a:pt x="0" y="59"/>
                  </a:lnTo>
                  <a:lnTo>
                    <a:pt x="0" y="57"/>
                  </a:lnTo>
                  <a:lnTo>
                    <a:pt x="0" y="50"/>
                  </a:lnTo>
                  <a:lnTo>
                    <a:pt x="0" y="46"/>
                  </a:lnTo>
                  <a:lnTo>
                    <a:pt x="0" y="43"/>
                  </a:lnTo>
                  <a:lnTo>
                    <a:pt x="0" y="41"/>
                  </a:lnTo>
                  <a:lnTo>
                    <a:pt x="0" y="36"/>
                  </a:lnTo>
                  <a:lnTo>
                    <a:pt x="0" y="31"/>
                  </a:lnTo>
                  <a:lnTo>
                    <a:pt x="0" y="29"/>
                  </a:lnTo>
                  <a:lnTo>
                    <a:pt x="0" y="26"/>
                  </a:lnTo>
                  <a:lnTo>
                    <a:pt x="0" y="17"/>
                  </a:lnTo>
                  <a:lnTo>
                    <a:pt x="0" y="14"/>
                  </a:lnTo>
                  <a:lnTo>
                    <a:pt x="7" y="14"/>
                  </a:lnTo>
                  <a:lnTo>
                    <a:pt x="16" y="14"/>
                  </a:lnTo>
                  <a:lnTo>
                    <a:pt x="23" y="14"/>
                  </a:lnTo>
                  <a:lnTo>
                    <a:pt x="33" y="14"/>
                  </a:lnTo>
                  <a:lnTo>
                    <a:pt x="35" y="14"/>
                  </a:lnTo>
                  <a:lnTo>
                    <a:pt x="36" y="14"/>
                  </a:lnTo>
                  <a:lnTo>
                    <a:pt x="38" y="14"/>
                  </a:lnTo>
                  <a:lnTo>
                    <a:pt x="43" y="14"/>
                  </a:lnTo>
                  <a:lnTo>
                    <a:pt x="50" y="14"/>
                  </a:lnTo>
                  <a:lnTo>
                    <a:pt x="52" y="14"/>
                  </a:lnTo>
                  <a:lnTo>
                    <a:pt x="54" y="14"/>
                  </a:lnTo>
                  <a:lnTo>
                    <a:pt x="57" y="14"/>
                  </a:lnTo>
                  <a:lnTo>
                    <a:pt x="59" y="14"/>
                  </a:lnTo>
                  <a:lnTo>
                    <a:pt x="64" y="14"/>
                  </a:lnTo>
                  <a:lnTo>
                    <a:pt x="67" y="14"/>
                  </a:lnTo>
                  <a:lnTo>
                    <a:pt x="67" y="14"/>
                  </a:lnTo>
                  <a:lnTo>
                    <a:pt x="71" y="14"/>
                  </a:lnTo>
                  <a:lnTo>
                    <a:pt x="72" y="14"/>
                  </a:lnTo>
                  <a:lnTo>
                    <a:pt x="76" y="14"/>
                  </a:lnTo>
                  <a:lnTo>
                    <a:pt x="79" y="12"/>
                  </a:lnTo>
                  <a:lnTo>
                    <a:pt x="81" y="12"/>
                  </a:lnTo>
                  <a:lnTo>
                    <a:pt x="84" y="12"/>
                  </a:lnTo>
                  <a:lnTo>
                    <a:pt x="86" y="12"/>
                  </a:lnTo>
                  <a:lnTo>
                    <a:pt x="86" y="10"/>
                  </a:lnTo>
                  <a:lnTo>
                    <a:pt x="90" y="10"/>
                  </a:lnTo>
                  <a:lnTo>
                    <a:pt x="95" y="10"/>
                  </a:lnTo>
                  <a:lnTo>
                    <a:pt x="95" y="9"/>
                  </a:lnTo>
                  <a:lnTo>
                    <a:pt x="93" y="9"/>
                  </a:lnTo>
                  <a:lnTo>
                    <a:pt x="93" y="7"/>
                  </a:lnTo>
                  <a:lnTo>
                    <a:pt x="98" y="7"/>
                  </a:lnTo>
                  <a:lnTo>
                    <a:pt x="105" y="7"/>
                  </a:lnTo>
                  <a:lnTo>
                    <a:pt x="107" y="7"/>
                  </a:lnTo>
                  <a:lnTo>
                    <a:pt x="112" y="7"/>
                  </a:lnTo>
                  <a:lnTo>
                    <a:pt x="124" y="3"/>
                  </a:lnTo>
                  <a:lnTo>
                    <a:pt x="131" y="2"/>
                  </a:lnTo>
                  <a:lnTo>
                    <a:pt x="134" y="0"/>
                  </a:lnTo>
                  <a:lnTo>
                    <a:pt x="134" y="2"/>
                  </a:lnTo>
                  <a:lnTo>
                    <a:pt x="145" y="2"/>
                  </a:lnTo>
                  <a:lnTo>
                    <a:pt x="153" y="2"/>
                  </a:lnTo>
                  <a:lnTo>
                    <a:pt x="157" y="2"/>
                  </a:lnTo>
                  <a:lnTo>
                    <a:pt x="157" y="9"/>
                  </a:lnTo>
                  <a:lnTo>
                    <a:pt x="157" y="14"/>
                  </a:lnTo>
                  <a:lnTo>
                    <a:pt x="158" y="21"/>
                  </a:lnTo>
                  <a:lnTo>
                    <a:pt x="158" y="22"/>
                  </a:lnTo>
                  <a:lnTo>
                    <a:pt x="158" y="26"/>
                  </a:lnTo>
                  <a:lnTo>
                    <a:pt x="157" y="36"/>
                  </a:lnTo>
                  <a:lnTo>
                    <a:pt x="158" y="36"/>
                  </a:lnTo>
                  <a:lnTo>
                    <a:pt x="158" y="36"/>
                  </a:lnTo>
                  <a:lnTo>
                    <a:pt x="167" y="36"/>
                  </a:lnTo>
                  <a:lnTo>
                    <a:pt x="170" y="36"/>
                  </a:lnTo>
                  <a:lnTo>
                    <a:pt x="181" y="36"/>
                  </a:lnTo>
                  <a:lnTo>
                    <a:pt x="186" y="36"/>
                  </a:lnTo>
                  <a:lnTo>
                    <a:pt x="191" y="36"/>
                  </a:lnTo>
                  <a:lnTo>
                    <a:pt x="201" y="36"/>
                  </a:lnTo>
                  <a:lnTo>
                    <a:pt x="203" y="36"/>
                  </a:lnTo>
                  <a:lnTo>
                    <a:pt x="207" y="36"/>
                  </a:lnTo>
                  <a:lnTo>
                    <a:pt x="210" y="36"/>
                  </a:lnTo>
                  <a:lnTo>
                    <a:pt x="212" y="36"/>
                  </a:lnTo>
                  <a:lnTo>
                    <a:pt x="215" y="36"/>
                  </a:lnTo>
                  <a:lnTo>
                    <a:pt x="219" y="36"/>
                  </a:lnTo>
                  <a:lnTo>
                    <a:pt x="219" y="36"/>
                  </a:lnTo>
                  <a:lnTo>
                    <a:pt x="220" y="36"/>
                  </a:lnTo>
                  <a:lnTo>
                    <a:pt x="232" y="36"/>
                  </a:lnTo>
                  <a:lnTo>
                    <a:pt x="246" y="36"/>
                  </a:lnTo>
                  <a:lnTo>
                    <a:pt x="263" y="36"/>
                  </a:lnTo>
                  <a:lnTo>
                    <a:pt x="270" y="36"/>
                  </a:lnTo>
                  <a:lnTo>
                    <a:pt x="279" y="36"/>
                  </a:lnTo>
                  <a:lnTo>
                    <a:pt x="279" y="36"/>
                  </a:lnTo>
                  <a:lnTo>
                    <a:pt x="286" y="36"/>
                  </a:lnTo>
                  <a:lnTo>
                    <a:pt x="289" y="36"/>
                  </a:lnTo>
                  <a:lnTo>
                    <a:pt x="291" y="36"/>
                  </a:lnTo>
                  <a:lnTo>
                    <a:pt x="293" y="36"/>
                  </a:lnTo>
                  <a:lnTo>
                    <a:pt x="296" y="36"/>
                  </a:lnTo>
                  <a:lnTo>
                    <a:pt x="301" y="36"/>
                  </a:lnTo>
                  <a:lnTo>
                    <a:pt x="301" y="41"/>
                  </a:lnTo>
                  <a:lnTo>
                    <a:pt x="301" y="43"/>
                  </a:lnTo>
                  <a:lnTo>
                    <a:pt x="301" y="48"/>
                  </a:lnTo>
                  <a:lnTo>
                    <a:pt x="301" y="62"/>
                  </a:lnTo>
                  <a:lnTo>
                    <a:pt x="301" y="65"/>
                  </a:lnTo>
                  <a:lnTo>
                    <a:pt x="301" y="74"/>
                  </a:lnTo>
                  <a:lnTo>
                    <a:pt x="308" y="74"/>
                  </a:lnTo>
                  <a:lnTo>
                    <a:pt x="312" y="74"/>
                  </a:lnTo>
                  <a:lnTo>
                    <a:pt x="312" y="74"/>
                  </a:lnTo>
                  <a:lnTo>
                    <a:pt x="312" y="76"/>
                  </a:lnTo>
                  <a:lnTo>
                    <a:pt x="312" y="79"/>
                  </a:lnTo>
                  <a:lnTo>
                    <a:pt x="312" y="81"/>
                  </a:lnTo>
                  <a:lnTo>
                    <a:pt x="312" y="84"/>
                  </a:lnTo>
                  <a:lnTo>
                    <a:pt x="312" y="91"/>
                  </a:lnTo>
                  <a:lnTo>
                    <a:pt x="313" y="96"/>
                  </a:lnTo>
                  <a:lnTo>
                    <a:pt x="315" y="96"/>
                  </a:lnTo>
                  <a:lnTo>
                    <a:pt x="317" y="96"/>
                  </a:lnTo>
                  <a:lnTo>
                    <a:pt x="318" y="96"/>
                  </a:lnTo>
                  <a:lnTo>
                    <a:pt x="325" y="96"/>
                  </a:lnTo>
                  <a:lnTo>
                    <a:pt x="325" y="103"/>
                  </a:lnTo>
                  <a:lnTo>
                    <a:pt x="325" y="107"/>
                  </a:lnTo>
                  <a:lnTo>
                    <a:pt x="325" y="110"/>
                  </a:lnTo>
                  <a:lnTo>
                    <a:pt x="325" y="115"/>
                  </a:lnTo>
                  <a:lnTo>
                    <a:pt x="325" y="119"/>
                  </a:lnTo>
                  <a:lnTo>
                    <a:pt x="325" y="120"/>
                  </a:lnTo>
                  <a:lnTo>
                    <a:pt x="325" y="122"/>
                  </a:lnTo>
                  <a:lnTo>
                    <a:pt x="325" y="126"/>
                  </a:lnTo>
                  <a:lnTo>
                    <a:pt x="325" y="129"/>
                  </a:lnTo>
                  <a:lnTo>
                    <a:pt x="332" y="129"/>
                  </a:lnTo>
                  <a:lnTo>
                    <a:pt x="334" y="129"/>
                  </a:lnTo>
                  <a:lnTo>
                    <a:pt x="336" y="129"/>
                  </a:lnTo>
                  <a:lnTo>
                    <a:pt x="336" y="131"/>
                  </a:lnTo>
                  <a:lnTo>
                    <a:pt x="336" y="136"/>
                  </a:lnTo>
                  <a:lnTo>
                    <a:pt x="336" y="139"/>
                  </a:lnTo>
                  <a:lnTo>
                    <a:pt x="336" y="143"/>
                  </a:lnTo>
                  <a:lnTo>
                    <a:pt x="336" y="146"/>
                  </a:lnTo>
                  <a:lnTo>
                    <a:pt x="336" y="150"/>
                  </a:lnTo>
                  <a:lnTo>
                    <a:pt x="336" y="151"/>
                  </a:lnTo>
                  <a:lnTo>
                    <a:pt x="336" y="153"/>
                  </a:lnTo>
                  <a:lnTo>
                    <a:pt x="336" y="163"/>
                  </a:lnTo>
                  <a:lnTo>
                    <a:pt x="337" y="163"/>
                  </a:lnTo>
                  <a:lnTo>
                    <a:pt x="341" y="163"/>
                  </a:lnTo>
                  <a:lnTo>
                    <a:pt x="342" y="163"/>
                  </a:lnTo>
                  <a:lnTo>
                    <a:pt x="346" y="163"/>
                  </a:lnTo>
                  <a:lnTo>
                    <a:pt x="346" y="165"/>
                  </a:lnTo>
                  <a:lnTo>
                    <a:pt x="346" y="169"/>
                  </a:lnTo>
                  <a:lnTo>
                    <a:pt x="348" y="169"/>
                  </a:lnTo>
                  <a:lnTo>
                    <a:pt x="348" y="184"/>
                  </a:lnTo>
                  <a:lnTo>
                    <a:pt x="348" y="186"/>
                  </a:lnTo>
                  <a:lnTo>
                    <a:pt x="348" y="206"/>
                  </a:lnTo>
                  <a:lnTo>
                    <a:pt x="348" y="215"/>
                  </a:lnTo>
                  <a:lnTo>
                    <a:pt x="348" y="219"/>
                  </a:lnTo>
                  <a:lnTo>
                    <a:pt x="346" y="219"/>
                  </a:lnTo>
                  <a:lnTo>
                    <a:pt x="342" y="219"/>
                  </a:lnTo>
                  <a:lnTo>
                    <a:pt x="336" y="219"/>
                  </a:lnTo>
                  <a:lnTo>
                    <a:pt x="334" y="219"/>
                  </a:lnTo>
                  <a:lnTo>
                    <a:pt x="317" y="219"/>
                  </a:lnTo>
                  <a:lnTo>
                    <a:pt x="315" y="219"/>
                  </a:lnTo>
                  <a:lnTo>
                    <a:pt x="312" y="219"/>
                  </a:lnTo>
                  <a:lnTo>
                    <a:pt x="305" y="219"/>
                  </a:lnTo>
                  <a:lnTo>
                    <a:pt x="301" y="219"/>
                  </a:lnTo>
                  <a:lnTo>
                    <a:pt x="294" y="219"/>
                  </a:lnTo>
                  <a:lnTo>
                    <a:pt x="293" y="219"/>
                  </a:lnTo>
                  <a:lnTo>
                    <a:pt x="291" y="219"/>
                  </a:lnTo>
                  <a:lnTo>
                    <a:pt x="279" y="219"/>
                  </a:lnTo>
                  <a:lnTo>
                    <a:pt x="272" y="219"/>
                  </a:lnTo>
                  <a:lnTo>
                    <a:pt x="265" y="220"/>
                  </a:lnTo>
                  <a:lnTo>
                    <a:pt x="265" y="220"/>
                  </a:lnTo>
                  <a:lnTo>
                    <a:pt x="263" y="220"/>
                  </a:lnTo>
                  <a:lnTo>
                    <a:pt x="258" y="220"/>
                  </a:lnTo>
                  <a:lnTo>
                    <a:pt x="255" y="220"/>
                  </a:lnTo>
                  <a:lnTo>
                    <a:pt x="246" y="220"/>
                  </a:lnTo>
                  <a:lnTo>
                    <a:pt x="241" y="220"/>
                  </a:lnTo>
                  <a:lnTo>
                    <a:pt x="236" y="220"/>
                  </a:lnTo>
                  <a:lnTo>
                    <a:pt x="234" y="220"/>
                  </a:lnTo>
                  <a:lnTo>
                    <a:pt x="231" y="220"/>
                  </a:lnTo>
                  <a:lnTo>
                    <a:pt x="224" y="220"/>
                  </a:lnTo>
                  <a:lnTo>
                    <a:pt x="220" y="220"/>
                  </a:lnTo>
                  <a:lnTo>
                    <a:pt x="219" y="220"/>
                  </a:lnTo>
                  <a:lnTo>
                    <a:pt x="217" y="220"/>
                  </a:lnTo>
                  <a:lnTo>
                    <a:pt x="215" y="220"/>
                  </a:lnTo>
                  <a:lnTo>
                    <a:pt x="208" y="220"/>
                  </a:lnTo>
                  <a:lnTo>
                    <a:pt x="207" y="220"/>
                  </a:lnTo>
                  <a:lnTo>
                    <a:pt x="203" y="220"/>
                  </a:lnTo>
                  <a:lnTo>
                    <a:pt x="201" y="220"/>
                  </a:lnTo>
                  <a:lnTo>
                    <a:pt x="200" y="220"/>
                  </a:lnTo>
                  <a:lnTo>
                    <a:pt x="186" y="220"/>
                  </a:lnTo>
                  <a:lnTo>
                    <a:pt x="184" y="220"/>
                  </a:lnTo>
                  <a:lnTo>
                    <a:pt x="183" y="220"/>
                  </a:lnTo>
                  <a:lnTo>
                    <a:pt x="181" y="219"/>
                  </a:lnTo>
                  <a:lnTo>
                    <a:pt x="179" y="219"/>
                  </a:lnTo>
                  <a:lnTo>
                    <a:pt x="176" y="219"/>
                  </a:lnTo>
                  <a:lnTo>
                    <a:pt x="174" y="219"/>
                  </a:lnTo>
                  <a:lnTo>
                    <a:pt x="172" y="219"/>
                  </a:lnTo>
                  <a:lnTo>
                    <a:pt x="172" y="217"/>
                  </a:lnTo>
                  <a:lnTo>
                    <a:pt x="170" y="217"/>
                  </a:lnTo>
                  <a:lnTo>
                    <a:pt x="167" y="217"/>
                  </a:lnTo>
                  <a:lnTo>
                    <a:pt x="158" y="217"/>
                  </a:lnTo>
                  <a:lnTo>
                    <a:pt x="158" y="217"/>
                  </a:lnTo>
                  <a:lnTo>
                    <a:pt x="157" y="217"/>
                  </a:lnTo>
                  <a:lnTo>
                    <a:pt x="155" y="217"/>
                  </a:lnTo>
                  <a:lnTo>
                    <a:pt x="152" y="217"/>
                  </a:lnTo>
                  <a:lnTo>
                    <a:pt x="150" y="217"/>
                  </a:lnTo>
                  <a:lnTo>
                    <a:pt x="148" y="215"/>
                  </a:lnTo>
                  <a:lnTo>
                    <a:pt x="146" y="215"/>
                  </a:lnTo>
                  <a:lnTo>
                    <a:pt x="145" y="215"/>
                  </a:lnTo>
                  <a:lnTo>
                    <a:pt x="143" y="215"/>
                  </a:lnTo>
                  <a:lnTo>
                    <a:pt x="143" y="215"/>
                  </a:lnTo>
                  <a:lnTo>
                    <a:pt x="141" y="215"/>
                  </a:lnTo>
                  <a:lnTo>
                    <a:pt x="140" y="215"/>
                  </a:lnTo>
                  <a:lnTo>
                    <a:pt x="134" y="215"/>
                  </a:lnTo>
                  <a:lnTo>
                    <a:pt x="133" y="215"/>
                  </a:lnTo>
                  <a:lnTo>
                    <a:pt x="133" y="213"/>
                  </a:lnTo>
                  <a:lnTo>
                    <a:pt x="133" y="212"/>
                  </a:lnTo>
                  <a:lnTo>
                    <a:pt x="131" y="213"/>
                  </a:lnTo>
                  <a:lnTo>
                    <a:pt x="129" y="213"/>
                  </a:lnTo>
                  <a:lnTo>
                    <a:pt x="122" y="215"/>
                  </a:lnTo>
                  <a:lnTo>
                    <a:pt x="119" y="215"/>
                  </a:lnTo>
                  <a:lnTo>
                    <a:pt x="112" y="215"/>
                  </a:lnTo>
                  <a:lnTo>
                    <a:pt x="107" y="213"/>
                  </a:lnTo>
                  <a:lnTo>
                    <a:pt x="86" y="213"/>
                  </a:lnTo>
                  <a:lnTo>
                    <a:pt x="79" y="213"/>
                  </a:lnTo>
                  <a:lnTo>
                    <a:pt x="67" y="215"/>
                  </a:lnTo>
                  <a:lnTo>
                    <a:pt x="66" y="213"/>
                  </a:lnTo>
                  <a:lnTo>
                    <a:pt x="62" y="213"/>
                  </a:lnTo>
                  <a:lnTo>
                    <a:pt x="59" y="213"/>
                  </a:lnTo>
                  <a:lnTo>
                    <a:pt x="50" y="213"/>
                  </a:lnTo>
                  <a:lnTo>
                    <a:pt x="47" y="213"/>
                  </a:lnTo>
                  <a:lnTo>
                    <a:pt x="38" y="213"/>
                  </a:lnTo>
                  <a:lnTo>
                    <a:pt x="33" y="213"/>
                  </a:lnTo>
                  <a:lnTo>
                    <a:pt x="29" y="213"/>
                  </a:lnTo>
                  <a:lnTo>
                    <a:pt x="21" y="213"/>
                  </a:lnTo>
                  <a:lnTo>
                    <a:pt x="11" y="213"/>
                  </a:lnTo>
                  <a:lnTo>
                    <a:pt x="0" y="213"/>
                  </a:lnTo>
                  <a:lnTo>
                    <a:pt x="0" y="210"/>
                  </a:lnTo>
                  <a:lnTo>
                    <a:pt x="0" y="203"/>
                  </a:lnTo>
                  <a:lnTo>
                    <a:pt x="0" y="200"/>
                  </a:lnTo>
                  <a:lnTo>
                    <a:pt x="0" y="193"/>
                  </a:lnTo>
                  <a:lnTo>
                    <a:pt x="0" y="189"/>
                  </a:lnTo>
                  <a:lnTo>
                    <a:pt x="0" y="188"/>
                  </a:lnTo>
                  <a:lnTo>
                    <a:pt x="0" y="186"/>
                  </a:lnTo>
                  <a:lnTo>
                    <a:pt x="0" y="177"/>
                  </a:lnTo>
                  <a:lnTo>
                    <a:pt x="0" y="169"/>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4" name="Freeform 238"/>
            <p:cNvSpPr>
              <a:spLocks/>
            </p:cNvSpPr>
            <p:nvPr/>
          </p:nvSpPr>
          <p:spPr bwMode="auto">
            <a:xfrm>
              <a:off x="5998458" y="5216319"/>
              <a:ext cx="447675" cy="682625"/>
            </a:xfrm>
            <a:custGeom>
              <a:avLst/>
              <a:gdLst/>
              <a:ahLst/>
              <a:cxnLst>
                <a:cxn ang="0">
                  <a:pos x="282" y="31"/>
                </a:cxn>
                <a:cxn ang="0">
                  <a:pos x="282" y="48"/>
                </a:cxn>
                <a:cxn ang="0">
                  <a:pos x="282" y="76"/>
                </a:cxn>
                <a:cxn ang="0">
                  <a:pos x="282" y="112"/>
                </a:cxn>
                <a:cxn ang="0">
                  <a:pos x="282" y="134"/>
                </a:cxn>
                <a:cxn ang="0">
                  <a:pos x="282" y="165"/>
                </a:cxn>
                <a:cxn ang="0">
                  <a:pos x="282" y="198"/>
                </a:cxn>
                <a:cxn ang="0">
                  <a:pos x="272" y="215"/>
                </a:cxn>
                <a:cxn ang="0">
                  <a:pos x="272" y="241"/>
                </a:cxn>
                <a:cxn ang="0">
                  <a:pos x="272" y="287"/>
                </a:cxn>
                <a:cxn ang="0">
                  <a:pos x="272" y="308"/>
                </a:cxn>
                <a:cxn ang="0">
                  <a:pos x="272" y="337"/>
                </a:cxn>
                <a:cxn ang="0">
                  <a:pos x="275" y="353"/>
                </a:cxn>
                <a:cxn ang="0">
                  <a:pos x="277" y="370"/>
                </a:cxn>
                <a:cxn ang="0">
                  <a:pos x="277" y="387"/>
                </a:cxn>
                <a:cxn ang="0">
                  <a:pos x="277" y="413"/>
                </a:cxn>
                <a:cxn ang="0">
                  <a:pos x="270" y="427"/>
                </a:cxn>
                <a:cxn ang="0">
                  <a:pos x="242" y="427"/>
                </a:cxn>
                <a:cxn ang="0">
                  <a:pos x="225" y="427"/>
                </a:cxn>
                <a:cxn ang="0">
                  <a:pos x="201" y="427"/>
                </a:cxn>
                <a:cxn ang="0">
                  <a:pos x="192" y="428"/>
                </a:cxn>
                <a:cxn ang="0">
                  <a:pos x="156" y="428"/>
                </a:cxn>
                <a:cxn ang="0">
                  <a:pos x="125" y="428"/>
                </a:cxn>
                <a:cxn ang="0">
                  <a:pos x="91" y="430"/>
                </a:cxn>
                <a:cxn ang="0">
                  <a:pos x="67" y="430"/>
                </a:cxn>
                <a:cxn ang="0">
                  <a:pos x="38" y="430"/>
                </a:cxn>
                <a:cxn ang="0">
                  <a:pos x="10" y="430"/>
                </a:cxn>
                <a:cxn ang="0">
                  <a:pos x="0" y="423"/>
                </a:cxn>
                <a:cxn ang="0">
                  <a:pos x="0" y="409"/>
                </a:cxn>
                <a:cxn ang="0">
                  <a:pos x="0" y="392"/>
                </a:cxn>
                <a:cxn ang="0">
                  <a:pos x="0" y="379"/>
                </a:cxn>
                <a:cxn ang="0">
                  <a:pos x="0" y="365"/>
                </a:cxn>
                <a:cxn ang="0">
                  <a:pos x="0" y="351"/>
                </a:cxn>
                <a:cxn ang="0">
                  <a:pos x="0" y="339"/>
                </a:cxn>
                <a:cxn ang="0">
                  <a:pos x="0" y="329"/>
                </a:cxn>
                <a:cxn ang="0">
                  <a:pos x="0" y="306"/>
                </a:cxn>
                <a:cxn ang="0">
                  <a:pos x="0" y="294"/>
                </a:cxn>
                <a:cxn ang="0">
                  <a:pos x="0" y="279"/>
                </a:cxn>
                <a:cxn ang="0">
                  <a:pos x="0" y="258"/>
                </a:cxn>
                <a:cxn ang="0">
                  <a:pos x="0" y="246"/>
                </a:cxn>
                <a:cxn ang="0">
                  <a:pos x="2" y="232"/>
                </a:cxn>
                <a:cxn ang="0">
                  <a:pos x="2" y="203"/>
                </a:cxn>
                <a:cxn ang="0">
                  <a:pos x="14" y="176"/>
                </a:cxn>
                <a:cxn ang="0">
                  <a:pos x="14" y="148"/>
                </a:cxn>
                <a:cxn ang="0">
                  <a:pos x="14" y="127"/>
                </a:cxn>
                <a:cxn ang="0">
                  <a:pos x="14" y="115"/>
                </a:cxn>
                <a:cxn ang="0">
                  <a:pos x="15" y="74"/>
                </a:cxn>
                <a:cxn ang="0">
                  <a:pos x="15" y="46"/>
                </a:cxn>
                <a:cxn ang="0">
                  <a:pos x="15" y="28"/>
                </a:cxn>
                <a:cxn ang="0">
                  <a:pos x="15" y="10"/>
                </a:cxn>
                <a:cxn ang="0">
                  <a:pos x="39" y="0"/>
                </a:cxn>
                <a:cxn ang="0">
                  <a:pos x="69" y="0"/>
                </a:cxn>
                <a:cxn ang="0">
                  <a:pos x="91" y="2"/>
                </a:cxn>
                <a:cxn ang="0">
                  <a:pos x="108" y="2"/>
                </a:cxn>
                <a:cxn ang="0">
                  <a:pos x="120" y="3"/>
                </a:cxn>
                <a:cxn ang="0">
                  <a:pos x="136" y="3"/>
                </a:cxn>
                <a:cxn ang="0">
                  <a:pos x="158" y="3"/>
                </a:cxn>
                <a:cxn ang="0">
                  <a:pos x="180" y="3"/>
                </a:cxn>
                <a:cxn ang="0">
                  <a:pos x="196" y="3"/>
                </a:cxn>
                <a:cxn ang="0">
                  <a:pos x="220" y="3"/>
                </a:cxn>
                <a:cxn ang="0">
                  <a:pos x="244" y="3"/>
                </a:cxn>
                <a:cxn ang="0">
                  <a:pos x="261" y="3"/>
                </a:cxn>
                <a:cxn ang="0">
                  <a:pos x="277" y="3"/>
                </a:cxn>
              </a:cxnLst>
              <a:rect l="0" t="0" r="r" b="b"/>
              <a:pathLst>
                <a:path w="282" h="430">
                  <a:moveTo>
                    <a:pt x="282" y="3"/>
                  </a:moveTo>
                  <a:lnTo>
                    <a:pt x="282" y="7"/>
                  </a:lnTo>
                  <a:lnTo>
                    <a:pt x="282" y="12"/>
                  </a:lnTo>
                  <a:lnTo>
                    <a:pt x="282" y="17"/>
                  </a:lnTo>
                  <a:lnTo>
                    <a:pt x="282" y="26"/>
                  </a:lnTo>
                  <a:lnTo>
                    <a:pt x="282" y="29"/>
                  </a:lnTo>
                  <a:lnTo>
                    <a:pt x="282" y="31"/>
                  </a:lnTo>
                  <a:lnTo>
                    <a:pt x="282" y="33"/>
                  </a:lnTo>
                  <a:lnTo>
                    <a:pt x="282" y="38"/>
                  </a:lnTo>
                  <a:lnTo>
                    <a:pt x="282" y="41"/>
                  </a:lnTo>
                  <a:lnTo>
                    <a:pt x="282" y="43"/>
                  </a:lnTo>
                  <a:lnTo>
                    <a:pt x="282" y="46"/>
                  </a:lnTo>
                  <a:lnTo>
                    <a:pt x="282" y="46"/>
                  </a:lnTo>
                  <a:lnTo>
                    <a:pt x="282" y="48"/>
                  </a:lnTo>
                  <a:lnTo>
                    <a:pt x="282" y="55"/>
                  </a:lnTo>
                  <a:lnTo>
                    <a:pt x="282" y="57"/>
                  </a:lnTo>
                  <a:lnTo>
                    <a:pt x="282" y="59"/>
                  </a:lnTo>
                  <a:lnTo>
                    <a:pt x="282" y="60"/>
                  </a:lnTo>
                  <a:lnTo>
                    <a:pt x="282" y="67"/>
                  </a:lnTo>
                  <a:lnTo>
                    <a:pt x="282" y="72"/>
                  </a:lnTo>
                  <a:lnTo>
                    <a:pt x="282" y="76"/>
                  </a:lnTo>
                  <a:lnTo>
                    <a:pt x="282" y="83"/>
                  </a:lnTo>
                  <a:lnTo>
                    <a:pt x="282" y="84"/>
                  </a:lnTo>
                  <a:lnTo>
                    <a:pt x="282" y="88"/>
                  </a:lnTo>
                  <a:lnTo>
                    <a:pt x="282" y="91"/>
                  </a:lnTo>
                  <a:lnTo>
                    <a:pt x="282" y="108"/>
                  </a:lnTo>
                  <a:lnTo>
                    <a:pt x="282" y="110"/>
                  </a:lnTo>
                  <a:lnTo>
                    <a:pt x="282" y="112"/>
                  </a:lnTo>
                  <a:lnTo>
                    <a:pt x="282" y="120"/>
                  </a:lnTo>
                  <a:lnTo>
                    <a:pt x="282" y="120"/>
                  </a:lnTo>
                  <a:lnTo>
                    <a:pt x="282" y="122"/>
                  </a:lnTo>
                  <a:lnTo>
                    <a:pt x="282" y="124"/>
                  </a:lnTo>
                  <a:lnTo>
                    <a:pt x="282" y="126"/>
                  </a:lnTo>
                  <a:lnTo>
                    <a:pt x="282" y="127"/>
                  </a:lnTo>
                  <a:lnTo>
                    <a:pt x="282" y="134"/>
                  </a:lnTo>
                  <a:lnTo>
                    <a:pt x="282" y="138"/>
                  </a:lnTo>
                  <a:lnTo>
                    <a:pt x="282" y="145"/>
                  </a:lnTo>
                  <a:lnTo>
                    <a:pt x="282" y="148"/>
                  </a:lnTo>
                  <a:lnTo>
                    <a:pt x="282" y="151"/>
                  </a:lnTo>
                  <a:lnTo>
                    <a:pt x="282" y="151"/>
                  </a:lnTo>
                  <a:lnTo>
                    <a:pt x="282" y="160"/>
                  </a:lnTo>
                  <a:lnTo>
                    <a:pt x="282" y="165"/>
                  </a:lnTo>
                  <a:lnTo>
                    <a:pt x="282" y="169"/>
                  </a:lnTo>
                  <a:lnTo>
                    <a:pt x="282" y="172"/>
                  </a:lnTo>
                  <a:lnTo>
                    <a:pt x="282" y="176"/>
                  </a:lnTo>
                  <a:lnTo>
                    <a:pt x="282" y="181"/>
                  </a:lnTo>
                  <a:lnTo>
                    <a:pt x="282" y="194"/>
                  </a:lnTo>
                  <a:lnTo>
                    <a:pt x="282" y="196"/>
                  </a:lnTo>
                  <a:lnTo>
                    <a:pt x="282" y="198"/>
                  </a:lnTo>
                  <a:lnTo>
                    <a:pt x="282" y="200"/>
                  </a:lnTo>
                  <a:lnTo>
                    <a:pt x="282" y="205"/>
                  </a:lnTo>
                  <a:lnTo>
                    <a:pt x="280" y="205"/>
                  </a:lnTo>
                  <a:lnTo>
                    <a:pt x="278" y="205"/>
                  </a:lnTo>
                  <a:lnTo>
                    <a:pt x="275" y="205"/>
                  </a:lnTo>
                  <a:lnTo>
                    <a:pt x="272" y="205"/>
                  </a:lnTo>
                  <a:lnTo>
                    <a:pt x="272" y="215"/>
                  </a:lnTo>
                  <a:lnTo>
                    <a:pt x="272" y="219"/>
                  </a:lnTo>
                  <a:lnTo>
                    <a:pt x="272" y="220"/>
                  </a:lnTo>
                  <a:lnTo>
                    <a:pt x="272" y="222"/>
                  </a:lnTo>
                  <a:lnTo>
                    <a:pt x="272" y="229"/>
                  </a:lnTo>
                  <a:lnTo>
                    <a:pt x="272" y="232"/>
                  </a:lnTo>
                  <a:lnTo>
                    <a:pt x="272" y="234"/>
                  </a:lnTo>
                  <a:lnTo>
                    <a:pt x="272" y="241"/>
                  </a:lnTo>
                  <a:lnTo>
                    <a:pt x="272" y="243"/>
                  </a:lnTo>
                  <a:lnTo>
                    <a:pt x="272" y="251"/>
                  </a:lnTo>
                  <a:lnTo>
                    <a:pt x="272" y="260"/>
                  </a:lnTo>
                  <a:lnTo>
                    <a:pt x="272" y="265"/>
                  </a:lnTo>
                  <a:lnTo>
                    <a:pt x="272" y="277"/>
                  </a:lnTo>
                  <a:lnTo>
                    <a:pt x="272" y="282"/>
                  </a:lnTo>
                  <a:lnTo>
                    <a:pt x="272" y="287"/>
                  </a:lnTo>
                  <a:lnTo>
                    <a:pt x="272" y="287"/>
                  </a:lnTo>
                  <a:lnTo>
                    <a:pt x="272" y="289"/>
                  </a:lnTo>
                  <a:lnTo>
                    <a:pt x="272" y="291"/>
                  </a:lnTo>
                  <a:lnTo>
                    <a:pt x="272" y="293"/>
                  </a:lnTo>
                  <a:lnTo>
                    <a:pt x="272" y="299"/>
                  </a:lnTo>
                  <a:lnTo>
                    <a:pt x="272" y="305"/>
                  </a:lnTo>
                  <a:lnTo>
                    <a:pt x="272" y="308"/>
                  </a:lnTo>
                  <a:lnTo>
                    <a:pt x="272" y="311"/>
                  </a:lnTo>
                  <a:lnTo>
                    <a:pt x="272" y="315"/>
                  </a:lnTo>
                  <a:lnTo>
                    <a:pt x="272" y="317"/>
                  </a:lnTo>
                  <a:lnTo>
                    <a:pt x="272" y="327"/>
                  </a:lnTo>
                  <a:lnTo>
                    <a:pt x="272" y="329"/>
                  </a:lnTo>
                  <a:lnTo>
                    <a:pt x="272" y="330"/>
                  </a:lnTo>
                  <a:lnTo>
                    <a:pt x="272" y="337"/>
                  </a:lnTo>
                  <a:lnTo>
                    <a:pt x="272" y="339"/>
                  </a:lnTo>
                  <a:lnTo>
                    <a:pt x="272" y="344"/>
                  </a:lnTo>
                  <a:lnTo>
                    <a:pt x="275" y="344"/>
                  </a:lnTo>
                  <a:lnTo>
                    <a:pt x="275" y="346"/>
                  </a:lnTo>
                  <a:lnTo>
                    <a:pt x="275" y="348"/>
                  </a:lnTo>
                  <a:lnTo>
                    <a:pt x="275" y="351"/>
                  </a:lnTo>
                  <a:lnTo>
                    <a:pt x="275" y="353"/>
                  </a:lnTo>
                  <a:lnTo>
                    <a:pt x="275" y="354"/>
                  </a:lnTo>
                  <a:lnTo>
                    <a:pt x="275" y="356"/>
                  </a:lnTo>
                  <a:lnTo>
                    <a:pt x="277" y="361"/>
                  </a:lnTo>
                  <a:lnTo>
                    <a:pt x="277" y="363"/>
                  </a:lnTo>
                  <a:lnTo>
                    <a:pt x="277" y="366"/>
                  </a:lnTo>
                  <a:lnTo>
                    <a:pt x="277" y="368"/>
                  </a:lnTo>
                  <a:lnTo>
                    <a:pt x="277" y="370"/>
                  </a:lnTo>
                  <a:lnTo>
                    <a:pt x="277" y="372"/>
                  </a:lnTo>
                  <a:lnTo>
                    <a:pt x="277" y="373"/>
                  </a:lnTo>
                  <a:lnTo>
                    <a:pt x="277" y="377"/>
                  </a:lnTo>
                  <a:lnTo>
                    <a:pt x="277" y="380"/>
                  </a:lnTo>
                  <a:lnTo>
                    <a:pt x="277" y="384"/>
                  </a:lnTo>
                  <a:lnTo>
                    <a:pt x="277" y="385"/>
                  </a:lnTo>
                  <a:lnTo>
                    <a:pt x="277" y="387"/>
                  </a:lnTo>
                  <a:lnTo>
                    <a:pt x="277" y="392"/>
                  </a:lnTo>
                  <a:lnTo>
                    <a:pt x="277" y="397"/>
                  </a:lnTo>
                  <a:lnTo>
                    <a:pt x="277" y="401"/>
                  </a:lnTo>
                  <a:lnTo>
                    <a:pt x="277" y="404"/>
                  </a:lnTo>
                  <a:lnTo>
                    <a:pt x="277" y="406"/>
                  </a:lnTo>
                  <a:lnTo>
                    <a:pt x="277" y="411"/>
                  </a:lnTo>
                  <a:lnTo>
                    <a:pt x="277" y="413"/>
                  </a:lnTo>
                  <a:lnTo>
                    <a:pt x="277" y="416"/>
                  </a:lnTo>
                  <a:lnTo>
                    <a:pt x="277" y="418"/>
                  </a:lnTo>
                  <a:lnTo>
                    <a:pt x="277" y="420"/>
                  </a:lnTo>
                  <a:lnTo>
                    <a:pt x="277" y="423"/>
                  </a:lnTo>
                  <a:lnTo>
                    <a:pt x="277" y="425"/>
                  </a:lnTo>
                  <a:lnTo>
                    <a:pt x="277" y="427"/>
                  </a:lnTo>
                  <a:lnTo>
                    <a:pt x="270" y="427"/>
                  </a:lnTo>
                  <a:lnTo>
                    <a:pt x="268" y="427"/>
                  </a:lnTo>
                  <a:lnTo>
                    <a:pt x="266" y="427"/>
                  </a:lnTo>
                  <a:lnTo>
                    <a:pt x="256" y="427"/>
                  </a:lnTo>
                  <a:lnTo>
                    <a:pt x="254" y="427"/>
                  </a:lnTo>
                  <a:lnTo>
                    <a:pt x="253" y="427"/>
                  </a:lnTo>
                  <a:lnTo>
                    <a:pt x="249" y="427"/>
                  </a:lnTo>
                  <a:lnTo>
                    <a:pt x="242" y="427"/>
                  </a:lnTo>
                  <a:lnTo>
                    <a:pt x="239" y="427"/>
                  </a:lnTo>
                  <a:lnTo>
                    <a:pt x="237" y="427"/>
                  </a:lnTo>
                  <a:lnTo>
                    <a:pt x="235" y="427"/>
                  </a:lnTo>
                  <a:lnTo>
                    <a:pt x="234" y="427"/>
                  </a:lnTo>
                  <a:lnTo>
                    <a:pt x="232" y="427"/>
                  </a:lnTo>
                  <a:lnTo>
                    <a:pt x="229" y="427"/>
                  </a:lnTo>
                  <a:lnTo>
                    <a:pt x="225" y="427"/>
                  </a:lnTo>
                  <a:lnTo>
                    <a:pt x="223" y="427"/>
                  </a:lnTo>
                  <a:lnTo>
                    <a:pt x="218" y="427"/>
                  </a:lnTo>
                  <a:lnTo>
                    <a:pt x="211" y="427"/>
                  </a:lnTo>
                  <a:lnTo>
                    <a:pt x="210" y="427"/>
                  </a:lnTo>
                  <a:lnTo>
                    <a:pt x="208" y="427"/>
                  </a:lnTo>
                  <a:lnTo>
                    <a:pt x="203" y="427"/>
                  </a:lnTo>
                  <a:lnTo>
                    <a:pt x="201" y="427"/>
                  </a:lnTo>
                  <a:lnTo>
                    <a:pt x="199" y="427"/>
                  </a:lnTo>
                  <a:lnTo>
                    <a:pt x="198" y="428"/>
                  </a:lnTo>
                  <a:lnTo>
                    <a:pt x="198" y="427"/>
                  </a:lnTo>
                  <a:lnTo>
                    <a:pt x="196" y="427"/>
                  </a:lnTo>
                  <a:lnTo>
                    <a:pt x="196" y="428"/>
                  </a:lnTo>
                  <a:lnTo>
                    <a:pt x="194" y="427"/>
                  </a:lnTo>
                  <a:lnTo>
                    <a:pt x="192" y="428"/>
                  </a:lnTo>
                  <a:lnTo>
                    <a:pt x="175" y="428"/>
                  </a:lnTo>
                  <a:lnTo>
                    <a:pt x="172" y="428"/>
                  </a:lnTo>
                  <a:lnTo>
                    <a:pt x="168" y="428"/>
                  </a:lnTo>
                  <a:lnTo>
                    <a:pt x="165" y="428"/>
                  </a:lnTo>
                  <a:lnTo>
                    <a:pt x="163" y="428"/>
                  </a:lnTo>
                  <a:lnTo>
                    <a:pt x="158" y="428"/>
                  </a:lnTo>
                  <a:lnTo>
                    <a:pt x="156" y="428"/>
                  </a:lnTo>
                  <a:lnTo>
                    <a:pt x="155" y="428"/>
                  </a:lnTo>
                  <a:lnTo>
                    <a:pt x="151" y="428"/>
                  </a:lnTo>
                  <a:lnTo>
                    <a:pt x="151" y="428"/>
                  </a:lnTo>
                  <a:lnTo>
                    <a:pt x="149" y="428"/>
                  </a:lnTo>
                  <a:lnTo>
                    <a:pt x="131" y="428"/>
                  </a:lnTo>
                  <a:lnTo>
                    <a:pt x="129" y="428"/>
                  </a:lnTo>
                  <a:lnTo>
                    <a:pt x="125" y="428"/>
                  </a:lnTo>
                  <a:lnTo>
                    <a:pt x="120" y="428"/>
                  </a:lnTo>
                  <a:lnTo>
                    <a:pt x="117" y="428"/>
                  </a:lnTo>
                  <a:lnTo>
                    <a:pt x="115" y="428"/>
                  </a:lnTo>
                  <a:lnTo>
                    <a:pt x="113" y="428"/>
                  </a:lnTo>
                  <a:lnTo>
                    <a:pt x="103" y="428"/>
                  </a:lnTo>
                  <a:lnTo>
                    <a:pt x="101" y="428"/>
                  </a:lnTo>
                  <a:lnTo>
                    <a:pt x="91" y="430"/>
                  </a:lnTo>
                  <a:lnTo>
                    <a:pt x="82" y="430"/>
                  </a:lnTo>
                  <a:lnTo>
                    <a:pt x="81" y="430"/>
                  </a:lnTo>
                  <a:lnTo>
                    <a:pt x="75" y="430"/>
                  </a:lnTo>
                  <a:lnTo>
                    <a:pt x="74" y="430"/>
                  </a:lnTo>
                  <a:lnTo>
                    <a:pt x="72" y="430"/>
                  </a:lnTo>
                  <a:lnTo>
                    <a:pt x="70" y="430"/>
                  </a:lnTo>
                  <a:lnTo>
                    <a:pt x="67" y="430"/>
                  </a:lnTo>
                  <a:lnTo>
                    <a:pt x="62" y="430"/>
                  </a:lnTo>
                  <a:lnTo>
                    <a:pt x="57" y="430"/>
                  </a:lnTo>
                  <a:lnTo>
                    <a:pt x="51" y="430"/>
                  </a:lnTo>
                  <a:lnTo>
                    <a:pt x="46" y="430"/>
                  </a:lnTo>
                  <a:lnTo>
                    <a:pt x="46" y="430"/>
                  </a:lnTo>
                  <a:lnTo>
                    <a:pt x="39" y="430"/>
                  </a:lnTo>
                  <a:lnTo>
                    <a:pt x="38" y="430"/>
                  </a:lnTo>
                  <a:lnTo>
                    <a:pt x="31" y="430"/>
                  </a:lnTo>
                  <a:lnTo>
                    <a:pt x="27" y="430"/>
                  </a:lnTo>
                  <a:lnTo>
                    <a:pt x="26" y="430"/>
                  </a:lnTo>
                  <a:lnTo>
                    <a:pt x="19" y="430"/>
                  </a:lnTo>
                  <a:lnTo>
                    <a:pt x="15" y="430"/>
                  </a:lnTo>
                  <a:lnTo>
                    <a:pt x="14" y="430"/>
                  </a:lnTo>
                  <a:lnTo>
                    <a:pt x="10" y="430"/>
                  </a:lnTo>
                  <a:lnTo>
                    <a:pt x="8" y="430"/>
                  </a:lnTo>
                  <a:lnTo>
                    <a:pt x="3" y="430"/>
                  </a:lnTo>
                  <a:lnTo>
                    <a:pt x="0" y="430"/>
                  </a:lnTo>
                  <a:lnTo>
                    <a:pt x="0" y="428"/>
                  </a:lnTo>
                  <a:lnTo>
                    <a:pt x="0" y="427"/>
                  </a:lnTo>
                  <a:lnTo>
                    <a:pt x="0" y="425"/>
                  </a:lnTo>
                  <a:lnTo>
                    <a:pt x="0" y="423"/>
                  </a:lnTo>
                  <a:lnTo>
                    <a:pt x="0" y="422"/>
                  </a:lnTo>
                  <a:lnTo>
                    <a:pt x="0" y="420"/>
                  </a:lnTo>
                  <a:lnTo>
                    <a:pt x="0" y="418"/>
                  </a:lnTo>
                  <a:lnTo>
                    <a:pt x="0" y="416"/>
                  </a:lnTo>
                  <a:lnTo>
                    <a:pt x="0" y="415"/>
                  </a:lnTo>
                  <a:lnTo>
                    <a:pt x="0" y="411"/>
                  </a:lnTo>
                  <a:lnTo>
                    <a:pt x="0" y="409"/>
                  </a:lnTo>
                  <a:lnTo>
                    <a:pt x="0" y="408"/>
                  </a:lnTo>
                  <a:lnTo>
                    <a:pt x="0" y="404"/>
                  </a:lnTo>
                  <a:lnTo>
                    <a:pt x="0" y="403"/>
                  </a:lnTo>
                  <a:lnTo>
                    <a:pt x="0" y="401"/>
                  </a:lnTo>
                  <a:lnTo>
                    <a:pt x="0" y="399"/>
                  </a:lnTo>
                  <a:lnTo>
                    <a:pt x="0" y="396"/>
                  </a:lnTo>
                  <a:lnTo>
                    <a:pt x="0" y="392"/>
                  </a:lnTo>
                  <a:lnTo>
                    <a:pt x="0" y="392"/>
                  </a:lnTo>
                  <a:lnTo>
                    <a:pt x="0" y="389"/>
                  </a:lnTo>
                  <a:lnTo>
                    <a:pt x="0" y="387"/>
                  </a:lnTo>
                  <a:lnTo>
                    <a:pt x="0" y="385"/>
                  </a:lnTo>
                  <a:lnTo>
                    <a:pt x="0" y="382"/>
                  </a:lnTo>
                  <a:lnTo>
                    <a:pt x="0" y="380"/>
                  </a:lnTo>
                  <a:lnTo>
                    <a:pt x="0" y="379"/>
                  </a:lnTo>
                  <a:lnTo>
                    <a:pt x="0" y="379"/>
                  </a:lnTo>
                  <a:lnTo>
                    <a:pt x="0" y="375"/>
                  </a:lnTo>
                  <a:lnTo>
                    <a:pt x="0" y="373"/>
                  </a:lnTo>
                  <a:lnTo>
                    <a:pt x="0" y="370"/>
                  </a:lnTo>
                  <a:lnTo>
                    <a:pt x="0" y="368"/>
                  </a:lnTo>
                  <a:lnTo>
                    <a:pt x="0" y="366"/>
                  </a:lnTo>
                  <a:lnTo>
                    <a:pt x="0" y="365"/>
                  </a:lnTo>
                  <a:lnTo>
                    <a:pt x="0" y="363"/>
                  </a:lnTo>
                  <a:lnTo>
                    <a:pt x="0" y="363"/>
                  </a:lnTo>
                  <a:lnTo>
                    <a:pt x="0" y="360"/>
                  </a:lnTo>
                  <a:lnTo>
                    <a:pt x="0" y="358"/>
                  </a:lnTo>
                  <a:lnTo>
                    <a:pt x="0" y="354"/>
                  </a:lnTo>
                  <a:lnTo>
                    <a:pt x="0" y="353"/>
                  </a:lnTo>
                  <a:lnTo>
                    <a:pt x="0" y="351"/>
                  </a:lnTo>
                  <a:lnTo>
                    <a:pt x="0" y="349"/>
                  </a:lnTo>
                  <a:lnTo>
                    <a:pt x="0" y="348"/>
                  </a:lnTo>
                  <a:lnTo>
                    <a:pt x="0" y="346"/>
                  </a:lnTo>
                  <a:lnTo>
                    <a:pt x="0" y="344"/>
                  </a:lnTo>
                  <a:lnTo>
                    <a:pt x="0" y="342"/>
                  </a:lnTo>
                  <a:lnTo>
                    <a:pt x="0" y="341"/>
                  </a:lnTo>
                  <a:lnTo>
                    <a:pt x="0" y="339"/>
                  </a:lnTo>
                  <a:lnTo>
                    <a:pt x="0" y="337"/>
                  </a:lnTo>
                  <a:lnTo>
                    <a:pt x="0" y="336"/>
                  </a:lnTo>
                  <a:lnTo>
                    <a:pt x="0" y="334"/>
                  </a:lnTo>
                  <a:lnTo>
                    <a:pt x="0" y="332"/>
                  </a:lnTo>
                  <a:lnTo>
                    <a:pt x="0" y="332"/>
                  </a:lnTo>
                  <a:lnTo>
                    <a:pt x="0" y="330"/>
                  </a:lnTo>
                  <a:lnTo>
                    <a:pt x="0" y="329"/>
                  </a:lnTo>
                  <a:lnTo>
                    <a:pt x="0" y="325"/>
                  </a:lnTo>
                  <a:lnTo>
                    <a:pt x="0" y="322"/>
                  </a:lnTo>
                  <a:lnTo>
                    <a:pt x="0" y="318"/>
                  </a:lnTo>
                  <a:lnTo>
                    <a:pt x="0" y="317"/>
                  </a:lnTo>
                  <a:lnTo>
                    <a:pt x="0" y="317"/>
                  </a:lnTo>
                  <a:lnTo>
                    <a:pt x="0" y="313"/>
                  </a:lnTo>
                  <a:lnTo>
                    <a:pt x="0" y="306"/>
                  </a:lnTo>
                  <a:lnTo>
                    <a:pt x="0" y="303"/>
                  </a:lnTo>
                  <a:lnTo>
                    <a:pt x="0" y="303"/>
                  </a:lnTo>
                  <a:lnTo>
                    <a:pt x="0" y="301"/>
                  </a:lnTo>
                  <a:lnTo>
                    <a:pt x="0" y="299"/>
                  </a:lnTo>
                  <a:lnTo>
                    <a:pt x="0" y="298"/>
                  </a:lnTo>
                  <a:lnTo>
                    <a:pt x="0" y="296"/>
                  </a:lnTo>
                  <a:lnTo>
                    <a:pt x="0" y="294"/>
                  </a:lnTo>
                  <a:lnTo>
                    <a:pt x="0" y="291"/>
                  </a:lnTo>
                  <a:lnTo>
                    <a:pt x="0" y="289"/>
                  </a:lnTo>
                  <a:lnTo>
                    <a:pt x="0" y="287"/>
                  </a:lnTo>
                  <a:lnTo>
                    <a:pt x="0" y="286"/>
                  </a:lnTo>
                  <a:lnTo>
                    <a:pt x="0" y="284"/>
                  </a:lnTo>
                  <a:lnTo>
                    <a:pt x="0" y="282"/>
                  </a:lnTo>
                  <a:lnTo>
                    <a:pt x="0" y="279"/>
                  </a:lnTo>
                  <a:lnTo>
                    <a:pt x="0" y="272"/>
                  </a:lnTo>
                  <a:lnTo>
                    <a:pt x="0" y="272"/>
                  </a:lnTo>
                  <a:lnTo>
                    <a:pt x="0" y="270"/>
                  </a:lnTo>
                  <a:lnTo>
                    <a:pt x="0" y="268"/>
                  </a:lnTo>
                  <a:lnTo>
                    <a:pt x="0" y="267"/>
                  </a:lnTo>
                  <a:lnTo>
                    <a:pt x="0" y="260"/>
                  </a:lnTo>
                  <a:lnTo>
                    <a:pt x="0" y="258"/>
                  </a:lnTo>
                  <a:lnTo>
                    <a:pt x="0" y="256"/>
                  </a:lnTo>
                  <a:lnTo>
                    <a:pt x="0" y="256"/>
                  </a:lnTo>
                  <a:lnTo>
                    <a:pt x="0" y="255"/>
                  </a:lnTo>
                  <a:lnTo>
                    <a:pt x="0" y="253"/>
                  </a:lnTo>
                  <a:lnTo>
                    <a:pt x="0" y="249"/>
                  </a:lnTo>
                  <a:lnTo>
                    <a:pt x="0" y="248"/>
                  </a:lnTo>
                  <a:lnTo>
                    <a:pt x="0" y="246"/>
                  </a:lnTo>
                  <a:lnTo>
                    <a:pt x="0" y="244"/>
                  </a:lnTo>
                  <a:lnTo>
                    <a:pt x="0" y="243"/>
                  </a:lnTo>
                  <a:lnTo>
                    <a:pt x="0" y="243"/>
                  </a:lnTo>
                  <a:lnTo>
                    <a:pt x="0" y="241"/>
                  </a:lnTo>
                  <a:lnTo>
                    <a:pt x="0" y="237"/>
                  </a:lnTo>
                  <a:lnTo>
                    <a:pt x="0" y="232"/>
                  </a:lnTo>
                  <a:lnTo>
                    <a:pt x="2" y="232"/>
                  </a:lnTo>
                  <a:lnTo>
                    <a:pt x="0" y="231"/>
                  </a:lnTo>
                  <a:lnTo>
                    <a:pt x="2" y="227"/>
                  </a:lnTo>
                  <a:lnTo>
                    <a:pt x="2" y="215"/>
                  </a:lnTo>
                  <a:lnTo>
                    <a:pt x="2" y="213"/>
                  </a:lnTo>
                  <a:lnTo>
                    <a:pt x="2" y="212"/>
                  </a:lnTo>
                  <a:lnTo>
                    <a:pt x="2" y="210"/>
                  </a:lnTo>
                  <a:lnTo>
                    <a:pt x="2" y="203"/>
                  </a:lnTo>
                  <a:lnTo>
                    <a:pt x="8" y="203"/>
                  </a:lnTo>
                  <a:lnTo>
                    <a:pt x="12" y="203"/>
                  </a:lnTo>
                  <a:lnTo>
                    <a:pt x="12" y="200"/>
                  </a:lnTo>
                  <a:lnTo>
                    <a:pt x="14" y="194"/>
                  </a:lnTo>
                  <a:lnTo>
                    <a:pt x="14" y="181"/>
                  </a:lnTo>
                  <a:lnTo>
                    <a:pt x="14" y="181"/>
                  </a:lnTo>
                  <a:lnTo>
                    <a:pt x="14" y="176"/>
                  </a:lnTo>
                  <a:lnTo>
                    <a:pt x="14" y="170"/>
                  </a:lnTo>
                  <a:lnTo>
                    <a:pt x="14" y="169"/>
                  </a:lnTo>
                  <a:lnTo>
                    <a:pt x="14" y="167"/>
                  </a:lnTo>
                  <a:lnTo>
                    <a:pt x="14" y="157"/>
                  </a:lnTo>
                  <a:lnTo>
                    <a:pt x="14" y="155"/>
                  </a:lnTo>
                  <a:lnTo>
                    <a:pt x="14" y="151"/>
                  </a:lnTo>
                  <a:lnTo>
                    <a:pt x="14" y="148"/>
                  </a:lnTo>
                  <a:lnTo>
                    <a:pt x="14" y="145"/>
                  </a:lnTo>
                  <a:lnTo>
                    <a:pt x="14" y="143"/>
                  </a:lnTo>
                  <a:lnTo>
                    <a:pt x="14" y="141"/>
                  </a:lnTo>
                  <a:lnTo>
                    <a:pt x="14" y="136"/>
                  </a:lnTo>
                  <a:lnTo>
                    <a:pt x="14" y="133"/>
                  </a:lnTo>
                  <a:lnTo>
                    <a:pt x="14" y="131"/>
                  </a:lnTo>
                  <a:lnTo>
                    <a:pt x="14" y="127"/>
                  </a:lnTo>
                  <a:lnTo>
                    <a:pt x="14" y="126"/>
                  </a:lnTo>
                  <a:lnTo>
                    <a:pt x="14" y="122"/>
                  </a:lnTo>
                  <a:lnTo>
                    <a:pt x="14" y="120"/>
                  </a:lnTo>
                  <a:lnTo>
                    <a:pt x="14" y="120"/>
                  </a:lnTo>
                  <a:lnTo>
                    <a:pt x="14" y="119"/>
                  </a:lnTo>
                  <a:lnTo>
                    <a:pt x="14" y="117"/>
                  </a:lnTo>
                  <a:lnTo>
                    <a:pt x="14" y="115"/>
                  </a:lnTo>
                  <a:lnTo>
                    <a:pt x="14" y="114"/>
                  </a:lnTo>
                  <a:lnTo>
                    <a:pt x="14" y="112"/>
                  </a:lnTo>
                  <a:lnTo>
                    <a:pt x="14" y="110"/>
                  </a:lnTo>
                  <a:lnTo>
                    <a:pt x="14" y="107"/>
                  </a:lnTo>
                  <a:lnTo>
                    <a:pt x="14" y="107"/>
                  </a:lnTo>
                  <a:lnTo>
                    <a:pt x="15" y="76"/>
                  </a:lnTo>
                  <a:lnTo>
                    <a:pt x="15" y="74"/>
                  </a:lnTo>
                  <a:lnTo>
                    <a:pt x="15" y="72"/>
                  </a:lnTo>
                  <a:lnTo>
                    <a:pt x="15" y="71"/>
                  </a:lnTo>
                  <a:lnTo>
                    <a:pt x="15" y="69"/>
                  </a:lnTo>
                  <a:lnTo>
                    <a:pt x="15" y="65"/>
                  </a:lnTo>
                  <a:lnTo>
                    <a:pt x="15" y="62"/>
                  </a:lnTo>
                  <a:lnTo>
                    <a:pt x="15" y="59"/>
                  </a:lnTo>
                  <a:lnTo>
                    <a:pt x="15" y="46"/>
                  </a:lnTo>
                  <a:lnTo>
                    <a:pt x="15" y="45"/>
                  </a:lnTo>
                  <a:lnTo>
                    <a:pt x="15" y="43"/>
                  </a:lnTo>
                  <a:lnTo>
                    <a:pt x="15" y="40"/>
                  </a:lnTo>
                  <a:lnTo>
                    <a:pt x="15" y="34"/>
                  </a:lnTo>
                  <a:lnTo>
                    <a:pt x="15" y="33"/>
                  </a:lnTo>
                  <a:lnTo>
                    <a:pt x="15" y="29"/>
                  </a:lnTo>
                  <a:lnTo>
                    <a:pt x="15" y="28"/>
                  </a:lnTo>
                  <a:lnTo>
                    <a:pt x="15" y="24"/>
                  </a:lnTo>
                  <a:lnTo>
                    <a:pt x="15" y="22"/>
                  </a:lnTo>
                  <a:lnTo>
                    <a:pt x="15" y="19"/>
                  </a:lnTo>
                  <a:lnTo>
                    <a:pt x="15" y="16"/>
                  </a:lnTo>
                  <a:lnTo>
                    <a:pt x="15" y="14"/>
                  </a:lnTo>
                  <a:lnTo>
                    <a:pt x="15" y="12"/>
                  </a:lnTo>
                  <a:lnTo>
                    <a:pt x="15" y="10"/>
                  </a:lnTo>
                  <a:lnTo>
                    <a:pt x="15" y="3"/>
                  </a:lnTo>
                  <a:lnTo>
                    <a:pt x="15" y="2"/>
                  </a:lnTo>
                  <a:lnTo>
                    <a:pt x="24" y="0"/>
                  </a:lnTo>
                  <a:lnTo>
                    <a:pt x="29" y="0"/>
                  </a:lnTo>
                  <a:lnTo>
                    <a:pt x="31" y="0"/>
                  </a:lnTo>
                  <a:lnTo>
                    <a:pt x="32" y="0"/>
                  </a:lnTo>
                  <a:lnTo>
                    <a:pt x="39" y="0"/>
                  </a:lnTo>
                  <a:lnTo>
                    <a:pt x="43" y="0"/>
                  </a:lnTo>
                  <a:lnTo>
                    <a:pt x="46" y="0"/>
                  </a:lnTo>
                  <a:lnTo>
                    <a:pt x="46" y="0"/>
                  </a:lnTo>
                  <a:lnTo>
                    <a:pt x="58" y="0"/>
                  </a:lnTo>
                  <a:lnTo>
                    <a:pt x="60" y="0"/>
                  </a:lnTo>
                  <a:lnTo>
                    <a:pt x="67" y="0"/>
                  </a:lnTo>
                  <a:lnTo>
                    <a:pt x="69" y="0"/>
                  </a:lnTo>
                  <a:lnTo>
                    <a:pt x="75" y="0"/>
                  </a:lnTo>
                  <a:lnTo>
                    <a:pt x="75" y="0"/>
                  </a:lnTo>
                  <a:lnTo>
                    <a:pt x="77" y="0"/>
                  </a:lnTo>
                  <a:lnTo>
                    <a:pt x="81" y="0"/>
                  </a:lnTo>
                  <a:lnTo>
                    <a:pt x="84" y="0"/>
                  </a:lnTo>
                  <a:lnTo>
                    <a:pt x="88" y="2"/>
                  </a:lnTo>
                  <a:lnTo>
                    <a:pt x="91" y="2"/>
                  </a:lnTo>
                  <a:lnTo>
                    <a:pt x="93" y="2"/>
                  </a:lnTo>
                  <a:lnTo>
                    <a:pt x="96" y="2"/>
                  </a:lnTo>
                  <a:lnTo>
                    <a:pt x="98" y="2"/>
                  </a:lnTo>
                  <a:lnTo>
                    <a:pt x="100" y="2"/>
                  </a:lnTo>
                  <a:lnTo>
                    <a:pt x="105" y="2"/>
                  </a:lnTo>
                  <a:lnTo>
                    <a:pt x="106" y="2"/>
                  </a:lnTo>
                  <a:lnTo>
                    <a:pt x="108" y="2"/>
                  </a:lnTo>
                  <a:lnTo>
                    <a:pt x="110" y="2"/>
                  </a:lnTo>
                  <a:lnTo>
                    <a:pt x="112" y="2"/>
                  </a:lnTo>
                  <a:lnTo>
                    <a:pt x="113" y="2"/>
                  </a:lnTo>
                  <a:lnTo>
                    <a:pt x="115" y="2"/>
                  </a:lnTo>
                  <a:lnTo>
                    <a:pt x="117" y="3"/>
                  </a:lnTo>
                  <a:lnTo>
                    <a:pt x="118" y="3"/>
                  </a:lnTo>
                  <a:lnTo>
                    <a:pt x="120" y="3"/>
                  </a:lnTo>
                  <a:lnTo>
                    <a:pt x="120" y="3"/>
                  </a:lnTo>
                  <a:lnTo>
                    <a:pt x="124" y="3"/>
                  </a:lnTo>
                  <a:lnTo>
                    <a:pt x="127" y="3"/>
                  </a:lnTo>
                  <a:lnTo>
                    <a:pt x="129" y="3"/>
                  </a:lnTo>
                  <a:lnTo>
                    <a:pt x="132" y="3"/>
                  </a:lnTo>
                  <a:lnTo>
                    <a:pt x="134" y="3"/>
                  </a:lnTo>
                  <a:lnTo>
                    <a:pt x="136" y="3"/>
                  </a:lnTo>
                  <a:lnTo>
                    <a:pt x="139" y="3"/>
                  </a:lnTo>
                  <a:lnTo>
                    <a:pt x="143" y="3"/>
                  </a:lnTo>
                  <a:lnTo>
                    <a:pt x="144" y="3"/>
                  </a:lnTo>
                  <a:lnTo>
                    <a:pt x="146" y="3"/>
                  </a:lnTo>
                  <a:lnTo>
                    <a:pt x="148" y="3"/>
                  </a:lnTo>
                  <a:lnTo>
                    <a:pt x="153" y="3"/>
                  </a:lnTo>
                  <a:lnTo>
                    <a:pt x="158" y="3"/>
                  </a:lnTo>
                  <a:lnTo>
                    <a:pt x="160" y="3"/>
                  </a:lnTo>
                  <a:lnTo>
                    <a:pt x="161" y="3"/>
                  </a:lnTo>
                  <a:lnTo>
                    <a:pt x="165" y="3"/>
                  </a:lnTo>
                  <a:lnTo>
                    <a:pt x="170" y="3"/>
                  </a:lnTo>
                  <a:lnTo>
                    <a:pt x="175" y="3"/>
                  </a:lnTo>
                  <a:lnTo>
                    <a:pt x="179" y="3"/>
                  </a:lnTo>
                  <a:lnTo>
                    <a:pt x="180" y="3"/>
                  </a:lnTo>
                  <a:lnTo>
                    <a:pt x="180" y="3"/>
                  </a:lnTo>
                  <a:lnTo>
                    <a:pt x="182" y="3"/>
                  </a:lnTo>
                  <a:lnTo>
                    <a:pt x="184" y="3"/>
                  </a:lnTo>
                  <a:lnTo>
                    <a:pt x="186" y="3"/>
                  </a:lnTo>
                  <a:lnTo>
                    <a:pt x="187" y="3"/>
                  </a:lnTo>
                  <a:lnTo>
                    <a:pt x="192" y="3"/>
                  </a:lnTo>
                  <a:lnTo>
                    <a:pt x="196" y="3"/>
                  </a:lnTo>
                  <a:lnTo>
                    <a:pt x="198" y="3"/>
                  </a:lnTo>
                  <a:lnTo>
                    <a:pt x="199" y="3"/>
                  </a:lnTo>
                  <a:lnTo>
                    <a:pt x="208" y="3"/>
                  </a:lnTo>
                  <a:lnTo>
                    <a:pt x="213" y="3"/>
                  </a:lnTo>
                  <a:lnTo>
                    <a:pt x="215" y="3"/>
                  </a:lnTo>
                  <a:lnTo>
                    <a:pt x="218" y="3"/>
                  </a:lnTo>
                  <a:lnTo>
                    <a:pt x="220" y="3"/>
                  </a:lnTo>
                  <a:lnTo>
                    <a:pt x="222" y="3"/>
                  </a:lnTo>
                  <a:lnTo>
                    <a:pt x="223" y="3"/>
                  </a:lnTo>
                  <a:lnTo>
                    <a:pt x="229" y="3"/>
                  </a:lnTo>
                  <a:lnTo>
                    <a:pt x="237" y="3"/>
                  </a:lnTo>
                  <a:lnTo>
                    <a:pt x="241" y="3"/>
                  </a:lnTo>
                  <a:lnTo>
                    <a:pt x="241" y="3"/>
                  </a:lnTo>
                  <a:lnTo>
                    <a:pt x="244" y="3"/>
                  </a:lnTo>
                  <a:lnTo>
                    <a:pt x="246" y="3"/>
                  </a:lnTo>
                  <a:lnTo>
                    <a:pt x="247" y="3"/>
                  </a:lnTo>
                  <a:lnTo>
                    <a:pt x="249" y="3"/>
                  </a:lnTo>
                  <a:lnTo>
                    <a:pt x="253" y="3"/>
                  </a:lnTo>
                  <a:lnTo>
                    <a:pt x="256" y="3"/>
                  </a:lnTo>
                  <a:lnTo>
                    <a:pt x="260" y="3"/>
                  </a:lnTo>
                  <a:lnTo>
                    <a:pt x="261" y="3"/>
                  </a:lnTo>
                  <a:lnTo>
                    <a:pt x="265" y="3"/>
                  </a:lnTo>
                  <a:lnTo>
                    <a:pt x="268" y="3"/>
                  </a:lnTo>
                  <a:lnTo>
                    <a:pt x="270" y="3"/>
                  </a:lnTo>
                  <a:lnTo>
                    <a:pt x="272" y="3"/>
                  </a:lnTo>
                  <a:lnTo>
                    <a:pt x="273" y="3"/>
                  </a:lnTo>
                  <a:lnTo>
                    <a:pt x="275" y="3"/>
                  </a:lnTo>
                  <a:lnTo>
                    <a:pt x="277" y="3"/>
                  </a:lnTo>
                  <a:lnTo>
                    <a:pt x="280" y="3"/>
                  </a:lnTo>
                  <a:lnTo>
                    <a:pt x="282" y="3"/>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5" name="Freeform 243"/>
            <p:cNvSpPr>
              <a:spLocks/>
            </p:cNvSpPr>
            <p:nvPr/>
          </p:nvSpPr>
          <p:spPr bwMode="auto">
            <a:xfrm>
              <a:off x="6430258" y="5416344"/>
              <a:ext cx="547688" cy="477838"/>
            </a:xfrm>
            <a:custGeom>
              <a:avLst/>
              <a:gdLst/>
              <a:ahLst/>
              <a:cxnLst>
                <a:cxn ang="0">
                  <a:pos x="278" y="20"/>
                </a:cxn>
                <a:cxn ang="0">
                  <a:pos x="278" y="44"/>
                </a:cxn>
                <a:cxn ang="0">
                  <a:pos x="316" y="44"/>
                </a:cxn>
                <a:cxn ang="0">
                  <a:pos x="344" y="44"/>
                </a:cxn>
                <a:cxn ang="0">
                  <a:pos x="345" y="60"/>
                </a:cxn>
                <a:cxn ang="0">
                  <a:pos x="345" y="79"/>
                </a:cxn>
                <a:cxn ang="0">
                  <a:pos x="344" y="101"/>
                </a:cxn>
                <a:cxn ang="0">
                  <a:pos x="344" y="115"/>
                </a:cxn>
                <a:cxn ang="0">
                  <a:pos x="344" y="136"/>
                </a:cxn>
                <a:cxn ang="0">
                  <a:pos x="344" y="148"/>
                </a:cxn>
                <a:cxn ang="0">
                  <a:pos x="344" y="173"/>
                </a:cxn>
                <a:cxn ang="0">
                  <a:pos x="344" y="196"/>
                </a:cxn>
                <a:cxn ang="0">
                  <a:pos x="344" y="218"/>
                </a:cxn>
                <a:cxn ang="0">
                  <a:pos x="344" y="251"/>
                </a:cxn>
                <a:cxn ang="0">
                  <a:pos x="344" y="277"/>
                </a:cxn>
                <a:cxn ang="0">
                  <a:pos x="344" y="285"/>
                </a:cxn>
                <a:cxn ang="0">
                  <a:pos x="338" y="297"/>
                </a:cxn>
                <a:cxn ang="0">
                  <a:pos x="309" y="297"/>
                </a:cxn>
                <a:cxn ang="0">
                  <a:pos x="287" y="297"/>
                </a:cxn>
                <a:cxn ang="0">
                  <a:pos x="268" y="297"/>
                </a:cxn>
                <a:cxn ang="0">
                  <a:pos x="242" y="297"/>
                </a:cxn>
                <a:cxn ang="0">
                  <a:pos x="215" y="297"/>
                </a:cxn>
                <a:cxn ang="0">
                  <a:pos x="194" y="299"/>
                </a:cxn>
                <a:cxn ang="0">
                  <a:pos x="170" y="299"/>
                </a:cxn>
                <a:cxn ang="0">
                  <a:pos x="161" y="299"/>
                </a:cxn>
                <a:cxn ang="0">
                  <a:pos x="151" y="299"/>
                </a:cxn>
                <a:cxn ang="0">
                  <a:pos x="118" y="299"/>
                </a:cxn>
                <a:cxn ang="0">
                  <a:pos x="101" y="299"/>
                </a:cxn>
                <a:cxn ang="0">
                  <a:pos x="91" y="299"/>
                </a:cxn>
                <a:cxn ang="0">
                  <a:pos x="82" y="299"/>
                </a:cxn>
                <a:cxn ang="0">
                  <a:pos x="74" y="299"/>
                </a:cxn>
                <a:cxn ang="0">
                  <a:pos x="60" y="299"/>
                </a:cxn>
                <a:cxn ang="0">
                  <a:pos x="48" y="299"/>
                </a:cxn>
                <a:cxn ang="0">
                  <a:pos x="31" y="299"/>
                </a:cxn>
                <a:cxn ang="0">
                  <a:pos x="5" y="299"/>
                </a:cxn>
                <a:cxn ang="0">
                  <a:pos x="5" y="287"/>
                </a:cxn>
                <a:cxn ang="0">
                  <a:pos x="5" y="271"/>
                </a:cxn>
                <a:cxn ang="0">
                  <a:pos x="5" y="254"/>
                </a:cxn>
                <a:cxn ang="0">
                  <a:pos x="5" y="242"/>
                </a:cxn>
                <a:cxn ang="0">
                  <a:pos x="3" y="228"/>
                </a:cxn>
                <a:cxn ang="0">
                  <a:pos x="3" y="218"/>
                </a:cxn>
                <a:cxn ang="0">
                  <a:pos x="0" y="203"/>
                </a:cxn>
                <a:cxn ang="0">
                  <a:pos x="0" y="182"/>
                </a:cxn>
                <a:cxn ang="0">
                  <a:pos x="0" y="163"/>
                </a:cxn>
                <a:cxn ang="0">
                  <a:pos x="0" y="139"/>
                </a:cxn>
                <a:cxn ang="0">
                  <a:pos x="0" y="108"/>
                </a:cxn>
                <a:cxn ang="0">
                  <a:pos x="0" y="93"/>
                </a:cxn>
                <a:cxn ang="0">
                  <a:pos x="8" y="79"/>
                </a:cxn>
                <a:cxn ang="0">
                  <a:pos x="10" y="68"/>
                </a:cxn>
                <a:cxn ang="0">
                  <a:pos x="10" y="39"/>
                </a:cxn>
                <a:cxn ang="0">
                  <a:pos x="10" y="19"/>
                </a:cxn>
                <a:cxn ang="0">
                  <a:pos x="24" y="1"/>
                </a:cxn>
                <a:cxn ang="0">
                  <a:pos x="56" y="1"/>
                </a:cxn>
                <a:cxn ang="0">
                  <a:pos x="84" y="1"/>
                </a:cxn>
                <a:cxn ang="0">
                  <a:pos x="106" y="1"/>
                </a:cxn>
                <a:cxn ang="0">
                  <a:pos x="123" y="1"/>
                </a:cxn>
                <a:cxn ang="0">
                  <a:pos x="144" y="1"/>
                </a:cxn>
                <a:cxn ang="0">
                  <a:pos x="166" y="1"/>
                </a:cxn>
                <a:cxn ang="0">
                  <a:pos x="187" y="1"/>
                </a:cxn>
                <a:cxn ang="0">
                  <a:pos x="211" y="0"/>
                </a:cxn>
                <a:cxn ang="0">
                  <a:pos x="230" y="0"/>
                </a:cxn>
                <a:cxn ang="0">
                  <a:pos x="258" y="0"/>
                </a:cxn>
              </a:cxnLst>
              <a:rect l="0" t="0" r="r" b="b"/>
              <a:pathLst>
                <a:path w="345" h="301">
                  <a:moveTo>
                    <a:pt x="278" y="0"/>
                  </a:moveTo>
                  <a:lnTo>
                    <a:pt x="278" y="8"/>
                  </a:lnTo>
                  <a:lnTo>
                    <a:pt x="278" y="17"/>
                  </a:lnTo>
                  <a:lnTo>
                    <a:pt x="278" y="19"/>
                  </a:lnTo>
                  <a:lnTo>
                    <a:pt x="278" y="20"/>
                  </a:lnTo>
                  <a:lnTo>
                    <a:pt x="278" y="24"/>
                  </a:lnTo>
                  <a:lnTo>
                    <a:pt x="278" y="31"/>
                  </a:lnTo>
                  <a:lnTo>
                    <a:pt x="278" y="34"/>
                  </a:lnTo>
                  <a:lnTo>
                    <a:pt x="278" y="41"/>
                  </a:lnTo>
                  <a:lnTo>
                    <a:pt x="278" y="44"/>
                  </a:lnTo>
                  <a:lnTo>
                    <a:pt x="289" y="44"/>
                  </a:lnTo>
                  <a:lnTo>
                    <a:pt x="299" y="44"/>
                  </a:lnTo>
                  <a:lnTo>
                    <a:pt x="307" y="44"/>
                  </a:lnTo>
                  <a:lnTo>
                    <a:pt x="311" y="44"/>
                  </a:lnTo>
                  <a:lnTo>
                    <a:pt x="316" y="44"/>
                  </a:lnTo>
                  <a:lnTo>
                    <a:pt x="325" y="44"/>
                  </a:lnTo>
                  <a:lnTo>
                    <a:pt x="328" y="44"/>
                  </a:lnTo>
                  <a:lnTo>
                    <a:pt x="337" y="44"/>
                  </a:lnTo>
                  <a:lnTo>
                    <a:pt x="340" y="44"/>
                  </a:lnTo>
                  <a:lnTo>
                    <a:pt x="344" y="44"/>
                  </a:lnTo>
                  <a:lnTo>
                    <a:pt x="345" y="46"/>
                  </a:lnTo>
                  <a:lnTo>
                    <a:pt x="345" y="53"/>
                  </a:lnTo>
                  <a:lnTo>
                    <a:pt x="345" y="55"/>
                  </a:lnTo>
                  <a:lnTo>
                    <a:pt x="345" y="56"/>
                  </a:lnTo>
                  <a:lnTo>
                    <a:pt x="345" y="60"/>
                  </a:lnTo>
                  <a:lnTo>
                    <a:pt x="345" y="63"/>
                  </a:lnTo>
                  <a:lnTo>
                    <a:pt x="345" y="67"/>
                  </a:lnTo>
                  <a:lnTo>
                    <a:pt x="345" y="68"/>
                  </a:lnTo>
                  <a:lnTo>
                    <a:pt x="345" y="77"/>
                  </a:lnTo>
                  <a:lnTo>
                    <a:pt x="345" y="79"/>
                  </a:lnTo>
                  <a:lnTo>
                    <a:pt x="344" y="79"/>
                  </a:lnTo>
                  <a:lnTo>
                    <a:pt x="344" y="86"/>
                  </a:lnTo>
                  <a:lnTo>
                    <a:pt x="344" y="89"/>
                  </a:lnTo>
                  <a:lnTo>
                    <a:pt x="344" y="94"/>
                  </a:lnTo>
                  <a:lnTo>
                    <a:pt x="344" y="101"/>
                  </a:lnTo>
                  <a:lnTo>
                    <a:pt x="344" y="101"/>
                  </a:lnTo>
                  <a:lnTo>
                    <a:pt x="344" y="103"/>
                  </a:lnTo>
                  <a:lnTo>
                    <a:pt x="344" y="105"/>
                  </a:lnTo>
                  <a:lnTo>
                    <a:pt x="344" y="113"/>
                  </a:lnTo>
                  <a:lnTo>
                    <a:pt x="344" y="115"/>
                  </a:lnTo>
                  <a:lnTo>
                    <a:pt x="344" y="117"/>
                  </a:lnTo>
                  <a:lnTo>
                    <a:pt x="344" y="125"/>
                  </a:lnTo>
                  <a:lnTo>
                    <a:pt x="344" y="129"/>
                  </a:lnTo>
                  <a:lnTo>
                    <a:pt x="344" y="130"/>
                  </a:lnTo>
                  <a:lnTo>
                    <a:pt x="344" y="136"/>
                  </a:lnTo>
                  <a:lnTo>
                    <a:pt x="344" y="139"/>
                  </a:lnTo>
                  <a:lnTo>
                    <a:pt x="344" y="142"/>
                  </a:lnTo>
                  <a:lnTo>
                    <a:pt x="344" y="146"/>
                  </a:lnTo>
                  <a:lnTo>
                    <a:pt x="344" y="146"/>
                  </a:lnTo>
                  <a:lnTo>
                    <a:pt x="344" y="148"/>
                  </a:lnTo>
                  <a:lnTo>
                    <a:pt x="344" y="149"/>
                  </a:lnTo>
                  <a:lnTo>
                    <a:pt x="344" y="158"/>
                  </a:lnTo>
                  <a:lnTo>
                    <a:pt x="344" y="161"/>
                  </a:lnTo>
                  <a:lnTo>
                    <a:pt x="344" y="168"/>
                  </a:lnTo>
                  <a:lnTo>
                    <a:pt x="344" y="173"/>
                  </a:lnTo>
                  <a:lnTo>
                    <a:pt x="344" y="184"/>
                  </a:lnTo>
                  <a:lnTo>
                    <a:pt x="344" y="185"/>
                  </a:lnTo>
                  <a:lnTo>
                    <a:pt x="344" y="187"/>
                  </a:lnTo>
                  <a:lnTo>
                    <a:pt x="344" y="194"/>
                  </a:lnTo>
                  <a:lnTo>
                    <a:pt x="344" y="196"/>
                  </a:lnTo>
                  <a:lnTo>
                    <a:pt x="344" y="197"/>
                  </a:lnTo>
                  <a:lnTo>
                    <a:pt x="344" y="199"/>
                  </a:lnTo>
                  <a:lnTo>
                    <a:pt x="344" y="206"/>
                  </a:lnTo>
                  <a:lnTo>
                    <a:pt x="344" y="216"/>
                  </a:lnTo>
                  <a:lnTo>
                    <a:pt x="344" y="218"/>
                  </a:lnTo>
                  <a:lnTo>
                    <a:pt x="345" y="218"/>
                  </a:lnTo>
                  <a:lnTo>
                    <a:pt x="344" y="222"/>
                  </a:lnTo>
                  <a:lnTo>
                    <a:pt x="344" y="246"/>
                  </a:lnTo>
                  <a:lnTo>
                    <a:pt x="344" y="251"/>
                  </a:lnTo>
                  <a:lnTo>
                    <a:pt x="344" y="251"/>
                  </a:lnTo>
                  <a:lnTo>
                    <a:pt x="344" y="258"/>
                  </a:lnTo>
                  <a:lnTo>
                    <a:pt x="344" y="259"/>
                  </a:lnTo>
                  <a:lnTo>
                    <a:pt x="344" y="266"/>
                  </a:lnTo>
                  <a:lnTo>
                    <a:pt x="344" y="271"/>
                  </a:lnTo>
                  <a:lnTo>
                    <a:pt x="344" y="277"/>
                  </a:lnTo>
                  <a:lnTo>
                    <a:pt x="344" y="278"/>
                  </a:lnTo>
                  <a:lnTo>
                    <a:pt x="344" y="282"/>
                  </a:lnTo>
                  <a:lnTo>
                    <a:pt x="344" y="282"/>
                  </a:lnTo>
                  <a:lnTo>
                    <a:pt x="344" y="283"/>
                  </a:lnTo>
                  <a:lnTo>
                    <a:pt x="344" y="285"/>
                  </a:lnTo>
                  <a:lnTo>
                    <a:pt x="344" y="289"/>
                  </a:lnTo>
                  <a:lnTo>
                    <a:pt x="344" y="292"/>
                  </a:lnTo>
                  <a:lnTo>
                    <a:pt x="344" y="296"/>
                  </a:lnTo>
                  <a:lnTo>
                    <a:pt x="344" y="297"/>
                  </a:lnTo>
                  <a:lnTo>
                    <a:pt x="338" y="297"/>
                  </a:lnTo>
                  <a:lnTo>
                    <a:pt x="332" y="297"/>
                  </a:lnTo>
                  <a:lnTo>
                    <a:pt x="321" y="297"/>
                  </a:lnTo>
                  <a:lnTo>
                    <a:pt x="319" y="297"/>
                  </a:lnTo>
                  <a:lnTo>
                    <a:pt x="316" y="297"/>
                  </a:lnTo>
                  <a:lnTo>
                    <a:pt x="309" y="297"/>
                  </a:lnTo>
                  <a:lnTo>
                    <a:pt x="304" y="297"/>
                  </a:lnTo>
                  <a:lnTo>
                    <a:pt x="299" y="297"/>
                  </a:lnTo>
                  <a:lnTo>
                    <a:pt x="292" y="297"/>
                  </a:lnTo>
                  <a:lnTo>
                    <a:pt x="287" y="297"/>
                  </a:lnTo>
                  <a:lnTo>
                    <a:pt x="287" y="297"/>
                  </a:lnTo>
                  <a:lnTo>
                    <a:pt x="285" y="297"/>
                  </a:lnTo>
                  <a:lnTo>
                    <a:pt x="282" y="297"/>
                  </a:lnTo>
                  <a:lnTo>
                    <a:pt x="276" y="297"/>
                  </a:lnTo>
                  <a:lnTo>
                    <a:pt x="275" y="297"/>
                  </a:lnTo>
                  <a:lnTo>
                    <a:pt x="268" y="297"/>
                  </a:lnTo>
                  <a:lnTo>
                    <a:pt x="261" y="297"/>
                  </a:lnTo>
                  <a:lnTo>
                    <a:pt x="259" y="297"/>
                  </a:lnTo>
                  <a:lnTo>
                    <a:pt x="256" y="297"/>
                  </a:lnTo>
                  <a:lnTo>
                    <a:pt x="251" y="297"/>
                  </a:lnTo>
                  <a:lnTo>
                    <a:pt x="242" y="297"/>
                  </a:lnTo>
                  <a:lnTo>
                    <a:pt x="239" y="297"/>
                  </a:lnTo>
                  <a:lnTo>
                    <a:pt x="233" y="297"/>
                  </a:lnTo>
                  <a:lnTo>
                    <a:pt x="221" y="297"/>
                  </a:lnTo>
                  <a:lnTo>
                    <a:pt x="218" y="297"/>
                  </a:lnTo>
                  <a:lnTo>
                    <a:pt x="215" y="297"/>
                  </a:lnTo>
                  <a:lnTo>
                    <a:pt x="211" y="299"/>
                  </a:lnTo>
                  <a:lnTo>
                    <a:pt x="208" y="299"/>
                  </a:lnTo>
                  <a:lnTo>
                    <a:pt x="199" y="299"/>
                  </a:lnTo>
                  <a:lnTo>
                    <a:pt x="197" y="299"/>
                  </a:lnTo>
                  <a:lnTo>
                    <a:pt x="194" y="299"/>
                  </a:lnTo>
                  <a:lnTo>
                    <a:pt x="190" y="299"/>
                  </a:lnTo>
                  <a:lnTo>
                    <a:pt x="189" y="299"/>
                  </a:lnTo>
                  <a:lnTo>
                    <a:pt x="185" y="299"/>
                  </a:lnTo>
                  <a:lnTo>
                    <a:pt x="178" y="299"/>
                  </a:lnTo>
                  <a:lnTo>
                    <a:pt x="170" y="299"/>
                  </a:lnTo>
                  <a:lnTo>
                    <a:pt x="168" y="299"/>
                  </a:lnTo>
                  <a:lnTo>
                    <a:pt x="166" y="299"/>
                  </a:lnTo>
                  <a:lnTo>
                    <a:pt x="165" y="299"/>
                  </a:lnTo>
                  <a:lnTo>
                    <a:pt x="165" y="299"/>
                  </a:lnTo>
                  <a:lnTo>
                    <a:pt x="161" y="299"/>
                  </a:lnTo>
                  <a:lnTo>
                    <a:pt x="160" y="299"/>
                  </a:lnTo>
                  <a:lnTo>
                    <a:pt x="158" y="299"/>
                  </a:lnTo>
                  <a:lnTo>
                    <a:pt x="156" y="299"/>
                  </a:lnTo>
                  <a:lnTo>
                    <a:pt x="153" y="299"/>
                  </a:lnTo>
                  <a:lnTo>
                    <a:pt x="151" y="299"/>
                  </a:lnTo>
                  <a:lnTo>
                    <a:pt x="147" y="299"/>
                  </a:lnTo>
                  <a:lnTo>
                    <a:pt x="146" y="299"/>
                  </a:lnTo>
                  <a:lnTo>
                    <a:pt x="142" y="299"/>
                  </a:lnTo>
                  <a:lnTo>
                    <a:pt x="134" y="299"/>
                  </a:lnTo>
                  <a:lnTo>
                    <a:pt x="118" y="299"/>
                  </a:lnTo>
                  <a:lnTo>
                    <a:pt x="115" y="299"/>
                  </a:lnTo>
                  <a:lnTo>
                    <a:pt x="111" y="299"/>
                  </a:lnTo>
                  <a:lnTo>
                    <a:pt x="108" y="299"/>
                  </a:lnTo>
                  <a:lnTo>
                    <a:pt x="104" y="299"/>
                  </a:lnTo>
                  <a:lnTo>
                    <a:pt x="101" y="299"/>
                  </a:lnTo>
                  <a:lnTo>
                    <a:pt x="96" y="299"/>
                  </a:lnTo>
                  <a:lnTo>
                    <a:pt x="94" y="299"/>
                  </a:lnTo>
                  <a:lnTo>
                    <a:pt x="92" y="299"/>
                  </a:lnTo>
                  <a:lnTo>
                    <a:pt x="91" y="299"/>
                  </a:lnTo>
                  <a:lnTo>
                    <a:pt x="91" y="299"/>
                  </a:lnTo>
                  <a:lnTo>
                    <a:pt x="89" y="299"/>
                  </a:lnTo>
                  <a:lnTo>
                    <a:pt x="87" y="299"/>
                  </a:lnTo>
                  <a:lnTo>
                    <a:pt x="86" y="299"/>
                  </a:lnTo>
                  <a:lnTo>
                    <a:pt x="84" y="299"/>
                  </a:lnTo>
                  <a:lnTo>
                    <a:pt x="82" y="299"/>
                  </a:lnTo>
                  <a:lnTo>
                    <a:pt x="80" y="299"/>
                  </a:lnTo>
                  <a:lnTo>
                    <a:pt x="79" y="299"/>
                  </a:lnTo>
                  <a:lnTo>
                    <a:pt x="77" y="299"/>
                  </a:lnTo>
                  <a:lnTo>
                    <a:pt x="75" y="299"/>
                  </a:lnTo>
                  <a:lnTo>
                    <a:pt x="74" y="299"/>
                  </a:lnTo>
                  <a:lnTo>
                    <a:pt x="72" y="299"/>
                  </a:lnTo>
                  <a:lnTo>
                    <a:pt x="68" y="299"/>
                  </a:lnTo>
                  <a:lnTo>
                    <a:pt x="65" y="299"/>
                  </a:lnTo>
                  <a:lnTo>
                    <a:pt x="61" y="299"/>
                  </a:lnTo>
                  <a:lnTo>
                    <a:pt x="60" y="299"/>
                  </a:lnTo>
                  <a:lnTo>
                    <a:pt x="58" y="299"/>
                  </a:lnTo>
                  <a:lnTo>
                    <a:pt x="56" y="299"/>
                  </a:lnTo>
                  <a:lnTo>
                    <a:pt x="55" y="299"/>
                  </a:lnTo>
                  <a:lnTo>
                    <a:pt x="53" y="299"/>
                  </a:lnTo>
                  <a:lnTo>
                    <a:pt x="48" y="299"/>
                  </a:lnTo>
                  <a:lnTo>
                    <a:pt x="44" y="299"/>
                  </a:lnTo>
                  <a:lnTo>
                    <a:pt x="39" y="299"/>
                  </a:lnTo>
                  <a:lnTo>
                    <a:pt x="34" y="299"/>
                  </a:lnTo>
                  <a:lnTo>
                    <a:pt x="32" y="299"/>
                  </a:lnTo>
                  <a:lnTo>
                    <a:pt x="31" y="299"/>
                  </a:lnTo>
                  <a:lnTo>
                    <a:pt x="24" y="299"/>
                  </a:lnTo>
                  <a:lnTo>
                    <a:pt x="12" y="301"/>
                  </a:lnTo>
                  <a:lnTo>
                    <a:pt x="10" y="301"/>
                  </a:lnTo>
                  <a:lnTo>
                    <a:pt x="5" y="301"/>
                  </a:lnTo>
                  <a:lnTo>
                    <a:pt x="5" y="299"/>
                  </a:lnTo>
                  <a:lnTo>
                    <a:pt x="5" y="297"/>
                  </a:lnTo>
                  <a:lnTo>
                    <a:pt x="5" y="294"/>
                  </a:lnTo>
                  <a:lnTo>
                    <a:pt x="5" y="292"/>
                  </a:lnTo>
                  <a:lnTo>
                    <a:pt x="5" y="290"/>
                  </a:lnTo>
                  <a:lnTo>
                    <a:pt x="5" y="287"/>
                  </a:lnTo>
                  <a:lnTo>
                    <a:pt x="5" y="285"/>
                  </a:lnTo>
                  <a:lnTo>
                    <a:pt x="5" y="280"/>
                  </a:lnTo>
                  <a:lnTo>
                    <a:pt x="5" y="278"/>
                  </a:lnTo>
                  <a:lnTo>
                    <a:pt x="5" y="275"/>
                  </a:lnTo>
                  <a:lnTo>
                    <a:pt x="5" y="271"/>
                  </a:lnTo>
                  <a:lnTo>
                    <a:pt x="5" y="266"/>
                  </a:lnTo>
                  <a:lnTo>
                    <a:pt x="5" y="261"/>
                  </a:lnTo>
                  <a:lnTo>
                    <a:pt x="5" y="259"/>
                  </a:lnTo>
                  <a:lnTo>
                    <a:pt x="5" y="258"/>
                  </a:lnTo>
                  <a:lnTo>
                    <a:pt x="5" y="254"/>
                  </a:lnTo>
                  <a:lnTo>
                    <a:pt x="5" y="251"/>
                  </a:lnTo>
                  <a:lnTo>
                    <a:pt x="5" y="247"/>
                  </a:lnTo>
                  <a:lnTo>
                    <a:pt x="5" y="246"/>
                  </a:lnTo>
                  <a:lnTo>
                    <a:pt x="5" y="244"/>
                  </a:lnTo>
                  <a:lnTo>
                    <a:pt x="5" y="242"/>
                  </a:lnTo>
                  <a:lnTo>
                    <a:pt x="5" y="240"/>
                  </a:lnTo>
                  <a:lnTo>
                    <a:pt x="5" y="237"/>
                  </a:lnTo>
                  <a:lnTo>
                    <a:pt x="5" y="235"/>
                  </a:lnTo>
                  <a:lnTo>
                    <a:pt x="3" y="230"/>
                  </a:lnTo>
                  <a:lnTo>
                    <a:pt x="3" y="228"/>
                  </a:lnTo>
                  <a:lnTo>
                    <a:pt x="3" y="227"/>
                  </a:lnTo>
                  <a:lnTo>
                    <a:pt x="3" y="225"/>
                  </a:lnTo>
                  <a:lnTo>
                    <a:pt x="3" y="222"/>
                  </a:lnTo>
                  <a:lnTo>
                    <a:pt x="3" y="220"/>
                  </a:lnTo>
                  <a:lnTo>
                    <a:pt x="3" y="218"/>
                  </a:lnTo>
                  <a:lnTo>
                    <a:pt x="0" y="218"/>
                  </a:lnTo>
                  <a:lnTo>
                    <a:pt x="0" y="213"/>
                  </a:lnTo>
                  <a:lnTo>
                    <a:pt x="0" y="211"/>
                  </a:lnTo>
                  <a:lnTo>
                    <a:pt x="0" y="204"/>
                  </a:lnTo>
                  <a:lnTo>
                    <a:pt x="0" y="203"/>
                  </a:lnTo>
                  <a:lnTo>
                    <a:pt x="0" y="201"/>
                  </a:lnTo>
                  <a:lnTo>
                    <a:pt x="0" y="191"/>
                  </a:lnTo>
                  <a:lnTo>
                    <a:pt x="0" y="189"/>
                  </a:lnTo>
                  <a:lnTo>
                    <a:pt x="0" y="185"/>
                  </a:lnTo>
                  <a:lnTo>
                    <a:pt x="0" y="182"/>
                  </a:lnTo>
                  <a:lnTo>
                    <a:pt x="0" y="179"/>
                  </a:lnTo>
                  <a:lnTo>
                    <a:pt x="0" y="173"/>
                  </a:lnTo>
                  <a:lnTo>
                    <a:pt x="0" y="167"/>
                  </a:lnTo>
                  <a:lnTo>
                    <a:pt x="0" y="165"/>
                  </a:lnTo>
                  <a:lnTo>
                    <a:pt x="0" y="163"/>
                  </a:lnTo>
                  <a:lnTo>
                    <a:pt x="0" y="161"/>
                  </a:lnTo>
                  <a:lnTo>
                    <a:pt x="0" y="161"/>
                  </a:lnTo>
                  <a:lnTo>
                    <a:pt x="0" y="156"/>
                  </a:lnTo>
                  <a:lnTo>
                    <a:pt x="0" y="151"/>
                  </a:lnTo>
                  <a:lnTo>
                    <a:pt x="0" y="139"/>
                  </a:lnTo>
                  <a:lnTo>
                    <a:pt x="0" y="134"/>
                  </a:lnTo>
                  <a:lnTo>
                    <a:pt x="0" y="125"/>
                  </a:lnTo>
                  <a:lnTo>
                    <a:pt x="0" y="117"/>
                  </a:lnTo>
                  <a:lnTo>
                    <a:pt x="0" y="115"/>
                  </a:lnTo>
                  <a:lnTo>
                    <a:pt x="0" y="108"/>
                  </a:lnTo>
                  <a:lnTo>
                    <a:pt x="0" y="106"/>
                  </a:lnTo>
                  <a:lnTo>
                    <a:pt x="0" y="103"/>
                  </a:lnTo>
                  <a:lnTo>
                    <a:pt x="0" y="96"/>
                  </a:lnTo>
                  <a:lnTo>
                    <a:pt x="0" y="94"/>
                  </a:lnTo>
                  <a:lnTo>
                    <a:pt x="0" y="93"/>
                  </a:lnTo>
                  <a:lnTo>
                    <a:pt x="0" y="89"/>
                  </a:lnTo>
                  <a:lnTo>
                    <a:pt x="0" y="79"/>
                  </a:lnTo>
                  <a:lnTo>
                    <a:pt x="3" y="79"/>
                  </a:lnTo>
                  <a:lnTo>
                    <a:pt x="6" y="79"/>
                  </a:lnTo>
                  <a:lnTo>
                    <a:pt x="8" y="79"/>
                  </a:lnTo>
                  <a:lnTo>
                    <a:pt x="10" y="79"/>
                  </a:lnTo>
                  <a:lnTo>
                    <a:pt x="10" y="74"/>
                  </a:lnTo>
                  <a:lnTo>
                    <a:pt x="10" y="72"/>
                  </a:lnTo>
                  <a:lnTo>
                    <a:pt x="10" y="70"/>
                  </a:lnTo>
                  <a:lnTo>
                    <a:pt x="10" y="68"/>
                  </a:lnTo>
                  <a:lnTo>
                    <a:pt x="10" y="55"/>
                  </a:lnTo>
                  <a:lnTo>
                    <a:pt x="10" y="50"/>
                  </a:lnTo>
                  <a:lnTo>
                    <a:pt x="10" y="46"/>
                  </a:lnTo>
                  <a:lnTo>
                    <a:pt x="10" y="43"/>
                  </a:lnTo>
                  <a:lnTo>
                    <a:pt x="10" y="39"/>
                  </a:lnTo>
                  <a:lnTo>
                    <a:pt x="10" y="34"/>
                  </a:lnTo>
                  <a:lnTo>
                    <a:pt x="10" y="25"/>
                  </a:lnTo>
                  <a:lnTo>
                    <a:pt x="10" y="25"/>
                  </a:lnTo>
                  <a:lnTo>
                    <a:pt x="10" y="22"/>
                  </a:lnTo>
                  <a:lnTo>
                    <a:pt x="10" y="19"/>
                  </a:lnTo>
                  <a:lnTo>
                    <a:pt x="10" y="12"/>
                  </a:lnTo>
                  <a:lnTo>
                    <a:pt x="10" y="8"/>
                  </a:lnTo>
                  <a:lnTo>
                    <a:pt x="10" y="1"/>
                  </a:lnTo>
                  <a:lnTo>
                    <a:pt x="15" y="1"/>
                  </a:lnTo>
                  <a:lnTo>
                    <a:pt x="24" y="1"/>
                  </a:lnTo>
                  <a:lnTo>
                    <a:pt x="29" y="1"/>
                  </a:lnTo>
                  <a:lnTo>
                    <a:pt x="31" y="1"/>
                  </a:lnTo>
                  <a:lnTo>
                    <a:pt x="36" y="1"/>
                  </a:lnTo>
                  <a:lnTo>
                    <a:pt x="41" y="1"/>
                  </a:lnTo>
                  <a:lnTo>
                    <a:pt x="56" y="1"/>
                  </a:lnTo>
                  <a:lnTo>
                    <a:pt x="58" y="1"/>
                  </a:lnTo>
                  <a:lnTo>
                    <a:pt x="61" y="1"/>
                  </a:lnTo>
                  <a:lnTo>
                    <a:pt x="65" y="1"/>
                  </a:lnTo>
                  <a:lnTo>
                    <a:pt x="80" y="1"/>
                  </a:lnTo>
                  <a:lnTo>
                    <a:pt x="84" y="1"/>
                  </a:lnTo>
                  <a:lnTo>
                    <a:pt x="86" y="1"/>
                  </a:lnTo>
                  <a:lnTo>
                    <a:pt x="89" y="1"/>
                  </a:lnTo>
                  <a:lnTo>
                    <a:pt x="96" y="1"/>
                  </a:lnTo>
                  <a:lnTo>
                    <a:pt x="99" y="1"/>
                  </a:lnTo>
                  <a:lnTo>
                    <a:pt x="106" y="1"/>
                  </a:lnTo>
                  <a:lnTo>
                    <a:pt x="111" y="1"/>
                  </a:lnTo>
                  <a:lnTo>
                    <a:pt x="113" y="1"/>
                  </a:lnTo>
                  <a:lnTo>
                    <a:pt x="115" y="1"/>
                  </a:lnTo>
                  <a:lnTo>
                    <a:pt x="120" y="1"/>
                  </a:lnTo>
                  <a:lnTo>
                    <a:pt x="123" y="1"/>
                  </a:lnTo>
                  <a:lnTo>
                    <a:pt x="127" y="1"/>
                  </a:lnTo>
                  <a:lnTo>
                    <a:pt x="130" y="1"/>
                  </a:lnTo>
                  <a:lnTo>
                    <a:pt x="132" y="1"/>
                  </a:lnTo>
                  <a:lnTo>
                    <a:pt x="139" y="1"/>
                  </a:lnTo>
                  <a:lnTo>
                    <a:pt x="144" y="1"/>
                  </a:lnTo>
                  <a:lnTo>
                    <a:pt x="149" y="1"/>
                  </a:lnTo>
                  <a:lnTo>
                    <a:pt x="151" y="1"/>
                  </a:lnTo>
                  <a:lnTo>
                    <a:pt x="153" y="1"/>
                  </a:lnTo>
                  <a:lnTo>
                    <a:pt x="161" y="1"/>
                  </a:lnTo>
                  <a:lnTo>
                    <a:pt x="166" y="1"/>
                  </a:lnTo>
                  <a:lnTo>
                    <a:pt x="172" y="1"/>
                  </a:lnTo>
                  <a:lnTo>
                    <a:pt x="177" y="1"/>
                  </a:lnTo>
                  <a:lnTo>
                    <a:pt x="180" y="1"/>
                  </a:lnTo>
                  <a:lnTo>
                    <a:pt x="184" y="1"/>
                  </a:lnTo>
                  <a:lnTo>
                    <a:pt x="187" y="1"/>
                  </a:lnTo>
                  <a:lnTo>
                    <a:pt x="189" y="1"/>
                  </a:lnTo>
                  <a:lnTo>
                    <a:pt x="196" y="0"/>
                  </a:lnTo>
                  <a:lnTo>
                    <a:pt x="203" y="0"/>
                  </a:lnTo>
                  <a:lnTo>
                    <a:pt x="208" y="0"/>
                  </a:lnTo>
                  <a:lnTo>
                    <a:pt x="211" y="0"/>
                  </a:lnTo>
                  <a:lnTo>
                    <a:pt x="211" y="0"/>
                  </a:lnTo>
                  <a:lnTo>
                    <a:pt x="215" y="0"/>
                  </a:lnTo>
                  <a:lnTo>
                    <a:pt x="220" y="0"/>
                  </a:lnTo>
                  <a:lnTo>
                    <a:pt x="225" y="0"/>
                  </a:lnTo>
                  <a:lnTo>
                    <a:pt x="230" y="0"/>
                  </a:lnTo>
                  <a:lnTo>
                    <a:pt x="239" y="0"/>
                  </a:lnTo>
                  <a:lnTo>
                    <a:pt x="240" y="0"/>
                  </a:lnTo>
                  <a:lnTo>
                    <a:pt x="244" y="0"/>
                  </a:lnTo>
                  <a:lnTo>
                    <a:pt x="246" y="0"/>
                  </a:lnTo>
                  <a:lnTo>
                    <a:pt x="258" y="0"/>
                  </a:lnTo>
                  <a:lnTo>
                    <a:pt x="259" y="0"/>
                  </a:lnTo>
                  <a:lnTo>
                    <a:pt x="261" y="0"/>
                  </a:lnTo>
                  <a:lnTo>
                    <a:pt x="271" y="0"/>
                  </a:lnTo>
                  <a:lnTo>
                    <a:pt x="278" y="0"/>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6" name="Freeform 244"/>
            <p:cNvSpPr>
              <a:spLocks/>
            </p:cNvSpPr>
            <p:nvPr/>
          </p:nvSpPr>
          <p:spPr bwMode="auto">
            <a:xfrm>
              <a:off x="6976358" y="5484606"/>
              <a:ext cx="539750" cy="403225"/>
            </a:xfrm>
            <a:custGeom>
              <a:avLst/>
              <a:gdLst/>
              <a:ahLst/>
              <a:cxnLst>
                <a:cxn ang="0">
                  <a:pos x="46" y="3"/>
                </a:cxn>
                <a:cxn ang="0">
                  <a:pos x="67" y="0"/>
                </a:cxn>
                <a:cxn ang="0">
                  <a:pos x="75" y="3"/>
                </a:cxn>
                <a:cxn ang="0">
                  <a:pos x="82" y="3"/>
                </a:cxn>
                <a:cxn ang="0">
                  <a:pos x="92" y="5"/>
                </a:cxn>
                <a:cxn ang="0">
                  <a:pos x="106" y="7"/>
                </a:cxn>
                <a:cxn ang="0">
                  <a:pos x="117" y="8"/>
                </a:cxn>
                <a:cxn ang="0">
                  <a:pos x="137" y="8"/>
                </a:cxn>
                <a:cxn ang="0">
                  <a:pos x="153" y="8"/>
                </a:cxn>
                <a:cxn ang="0">
                  <a:pos x="170" y="8"/>
                </a:cxn>
                <a:cxn ang="0">
                  <a:pos x="197" y="8"/>
                </a:cxn>
                <a:cxn ang="0">
                  <a:pos x="225" y="7"/>
                </a:cxn>
                <a:cxn ang="0">
                  <a:pos x="246" y="7"/>
                </a:cxn>
                <a:cxn ang="0">
                  <a:pos x="276" y="7"/>
                </a:cxn>
                <a:cxn ang="0">
                  <a:pos x="290" y="7"/>
                </a:cxn>
                <a:cxn ang="0">
                  <a:pos x="304" y="24"/>
                </a:cxn>
                <a:cxn ang="0">
                  <a:pos x="304" y="50"/>
                </a:cxn>
                <a:cxn ang="0">
                  <a:pos x="304" y="77"/>
                </a:cxn>
                <a:cxn ang="0">
                  <a:pos x="304" y="96"/>
                </a:cxn>
                <a:cxn ang="0">
                  <a:pos x="306" y="106"/>
                </a:cxn>
                <a:cxn ang="0">
                  <a:pos x="328" y="111"/>
                </a:cxn>
                <a:cxn ang="0">
                  <a:pos x="328" y="122"/>
                </a:cxn>
                <a:cxn ang="0">
                  <a:pos x="328" y="139"/>
                </a:cxn>
                <a:cxn ang="0">
                  <a:pos x="328" y="149"/>
                </a:cxn>
                <a:cxn ang="0">
                  <a:pos x="328" y="165"/>
                </a:cxn>
                <a:cxn ang="0">
                  <a:pos x="333" y="173"/>
                </a:cxn>
                <a:cxn ang="0">
                  <a:pos x="340" y="185"/>
                </a:cxn>
                <a:cxn ang="0">
                  <a:pos x="340" y="208"/>
                </a:cxn>
                <a:cxn ang="0">
                  <a:pos x="340" y="228"/>
                </a:cxn>
                <a:cxn ang="0">
                  <a:pos x="332" y="246"/>
                </a:cxn>
                <a:cxn ang="0">
                  <a:pos x="319" y="246"/>
                </a:cxn>
                <a:cxn ang="0">
                  <a:pos x="295" y="246"/>
                </a:cxn>
                <a:cxn ang="0">
                  <a:pos x="264" y="247"/>
                </a:cxn>
                <a:cxn ang="0">
                  <a:pos x="251" y="247"/>
                </a:cxn>
                <a:cxn ang="0">
                  <a:pos x="232" y="247"/>
                </a:cxn>
                <a:cxn ang="0">
                  <a:pos x="213" y="247"/>
                </a:cxn>
                <a:cxn ang="0">
                  <a:pos x="201" y="249"/>
                </a:cxn>
                <a:cxn ang="0">
                  <a:pos x="178" y="249"/>
                </a:cxn>
                <a:cxn ang="0">
                  <a:pos x="163" y="249"/>
                </a:cxn>
                <a:cxn ang="0">
                  <a:pos x="153" y="249"/>
                </a:cxn>
                <a:cxn ang="0">
                  <a:pos x="132" y="251"/>
                </a:cxn>
                <a:cxn ang="0">
                  <a:pos x="115" y="251"/>
                </a:cxn>
                <a:cxn ang="0">
                  <a:pos x="103" y="251"/>
                </a:cxn>
                <a:cxn ang="0">
                  <a:pos x="86" y="251"/>
                </a:cxn>
                <a:cxn ang="0">
                  <a:pos x="77" y="251"/>
                </a:cxn>
                <a:cxn ang="0">
                  <a:pos x="63" y="253"/>
                </a:cxn>
                <a:cxn ang="0">
                  <a:pos x="44" y="253"/>
                </a:cxn>
                <a:cxn ang="0">
                  <a:pos x="24" y="253"/>
                </a:cxn>
                <a:cxn ang="0">
                  <a:pos x="12" y="254"/>
                </a:cxn>
                <a:cxn ang="0">
                  <a:pos x="0" y="249"/>
                </a:cxn>
                <a:cxn ang="0">
                  <a:pos x="0" y="239"/>
                </a:cxn>
                <a:cxn ang="0">
                  <a:pos x="0" y="216"/>
                </a:cxn>
                <a:cxn ang="0">
                  <a:pos x="0" y="179"/>
                </a:cxn>
                <a:cxn ang="0">
                  <a:pos x="0" y="156"/>
                </a:cxn>
                <a:cxn ang="0">
                  <a:pos x="0" y="142"/>
                </a:cxn>
                <a:cxn ang="0">
                  <a:pos x="0" y="115"/>
                </a:cxn>
                <a:cxn ang="0">
                  <a:pos x="0" y="99"/>
                </a:cxn>
                <a:cxn ang="0">
                  <a:pos x="0" y="82"/>
                </a:cxn>
                <a:cxn ang="0">
                  <a:pos x="0" y="60"/>
                </a:cxn>
                <a:cxn ang="0">
                  <a:pos x="0" y="43"/>
                </a:cxn>
                <a:cxn ang="0">
                  <a:pos x="1" y="24"/>
                </a:cxn>
                <a:cxn ang="0">
                  <a:pos x="1" y="10"/>
                </a:cxn>
              </a:cxnLst>
              <a:rect l="0" t="0" r="r" b="b"/>
              <a:pathLst>
                <a:path w="340" h="254">
                  <a:moveTo>
                    <a:pt x="1" y="3"/>
                  </a:moveTo>
                  <a:lnTo>
                    <a:pt x="13" y="1"/>
                  </a:lnTo>
                  <a:lnTo>
                    <a:pt x="20" y="1"/>
                  </a:lnTo>
                  <a:lnTo>
                    <a:pt x="41" y="1"/>
                  </a:lnTo>
                  <a:lnTo>
                    <a:pt x="46" y="3"/>
                  </a:lnTo>
                  <a:lnTo>
                    <a:pt x="53" y="3"/>
                  </a:lnTo>
                  <a:lnTo>
                    <a:pt x="56" y="3"/>
                  </a:lnTo>
                  <a:lnTo>
                    <a:pt x="63" y="1"/>
                  </a:lnTo>
                  <a:lnTo>
                    <a:pt x="65" y="1"/>
                  </a:lnTo>
                  <a:lnTo>
                    <a:pt x="67" y="0"/>
                  </a:lnTo>
                  <a:lnTo>
                    <a:pt x="67" y="1"/>
                  </a:lnTo>
                  <a:lnTo>
                    <a:pt x="67" y="3"/>
                  </a:lnTo>
                  <a:lnTo>
                    <a:pt x="68" y="3"/>
                  </a:lnTo>
                  <a:lnTo>
                    <a:pt x="74" y="3"/>
                  </a:lnTo>
                  <a:lnTo>
                    <a:pt x="75" y="3"/>
                  </a:lnTo>
                  <a:lnTo>
                    <a:pt x="77" y="3"/>
                  </a:lnTo>
                  <a:lnTo>
                    <a:pt x="77" y="3"/>
                  </a:lnTo>
                  <a:lnTo>
                    <a:pt x="79" y="3"/>
                  </a:lnTo>
                  <a:lnTo>
                    <a:pt x="80" y="3"/>
                  </a:lnTo>
                  <a:lnTo>
                    <a:pt x="82" y="3"/>
                  </a:lnTo>
                  <a:lnTo>
                    <a:pt x="84" y="5"/>
                  </a:lnTo>
                  <a:lnTo>
                    <a:pt x="86" y="5"/>
                  </a:lnTo>
                  <a:lnTo>
                    <a:pt x="89" y="5"/>
                  </a:lnTo>
                  <a:lnTo>
                    <a:pt x="91" y="5"/>
                  </a:lnTo>
                  <a:lnTo>
                    <a:pt x="92" y="5"/>
                  </a:lnTo>
                  <a:lnTo>
                    <a:pt x="92" y="5"/>
                  </a:lnTo>
                  <a:lnTo>
                    <a:pt x="101" y="5"/>
                  </a:lnTo>
                  <a:lnTo>
                    <a:pt x="104" y="5"/>
                  </a:lnTo>
                  <a:lnTo>
                    <a:pt x="106" y="5"/>
                  </a:lnTo>
                  <a:lnTo>
                    <a:pt x="106" y="7"/>
                  </a:lnTo>
                  <a:lnTo>
                    <a:pt x="108" y="7"/>
                  </a:lnTo>
                  <a:lnTo>
                    <a:pt x="110" y="7"/>
                  </a:lnTo>
                  <a:lnTo>
                    <a:pt x="113" y="7"/>
                  </a:lnTo>
                  <a:lnTo>
                    <a:pt x="115" y="7"/>
                  </a:lnTo>
                  <a:lnTo>
                    <a:pt x="117" y="8"/>
                  </a:lnTo>
                  <a:lnTo>
                    <a:pt x="118" y="8"/>
                  </a:lnTo>
                  <a:lnTo>
                    <a:pt x="120" y="8"/>
                  </a:lnTo>
                  <a:lnTo>
                    <a:pt x="134" y="8"/>
                  </a:lnTo>
                  <a:lnTo>
                    <a:pt x="135" y="8"/>
                  </a:lnTo>
                  <a:lnTo>
                    <a:pt x="137" y="8"/>
                  </a:lnTo>
                  <a:lnTo>
                    <a:pt x="141" y="8"/>
                  </a:lnTo>
                  <a:lnTo>
                    <a:pt x="142" y="8"/>
                  </a:lnTo>
                  <a:lnTo>
                    <a:pt x="149" y="8"/>
                  </a:lnTo>
                  <a:lnTo>
                    <a:pt x="151" y="8"/>
                  </a:lnTo>
                  <a:lnTo>
                    <a:pt x="153" y="8"/>
                  </a:lnTo>
                  <a:lnTo>
                    <a:pt x="154" y="8"/>
                  </a:lnTo>
                  <a:lnTo>
                    <a:pt x="158" y="8"/>
                  </a:lnTo>
                  <a:lnTo>
                    <a:pt x="165" y="8"/>
                  </a:lnTo>
                  <a:lnTo>
                    <a:pt x="168" y="8"/>
                  </a:lnTo>
                  <a:lnTo>
                    <a:pt x="170" y="8"/>
                  </a:lnTo>
                  <a:lnTo>
                    <a:pt x="175" y="8"/>
                  </a:lnTo>
                  <a:lnTo>
                    <a:pt x="180" y="8"/>
                  </a:lnTo>
                  <a:lnTo>
                    <a:pt x="189" y="8"/>
                  </a:lnTo>
                  <a:lnTo>
                    <a:pt x="192" y="8"/>
                  </a:lnTo>
                  <a:lnTo>
                    <a:pt x="197" y="8"/>
                  </a:lnTo>
                  <a:lnTo>
                    <a:pt x="199" y="8"/>
                  </a:lnTo>
                  <a:lnTo>
                    <a:pt x="199" y="8"/>
                  </a:lnTo>
                  <a:lnTo>
                    <a:pt x="206" y="7"/>
                  </a:lnTo>
                  <a:lnTo>
                    <a:pt x="213" y="7"/>
                  </a:lnTo>
                  <a:lnTo>
                    <a:pt x="225" y="7"/>
                  </a:lnTo>
                  <a:lnTo>
                    <a:pt x="227" y="7"/>
                  </a:lnTo>
                  <a:lnTo>
                    <a:pt x="228" y="7"/>
                  </a:lnTo>
                  <a:lnTo>
                    <a:pt x="235" y="7"/>
                  </a:lnTo>
                  <a:lnTo>
                    <a:pt x="239" y="7"/>
                  </a:lnTo>
                  <a:lnTo>
                    <a:pt x="246" y="7"/>
                  </a:lnTo>
                  <a:lnTo>
                    <a:pt x="249" y="7"/>
                  </a:lnTo>
                  <a:lnTo>
                    <a:pt x="251" y="7"/>
                  </a:lnTo>
                  <a:lnTo>
                    <a:pt x="268" y="7"/>
                  </a:lnTo>
                  <a:lnTo>
                    <a:pt x="270" y="7"/>
                  </a:lnTo>
                  <a:lnTo>
                    <a:pt x="276" y="7"/>
                  </a:lnTo>
                  <a:lnTo>
                    <a:pt x="280" y="7"/>
                  </a:lnTo>
                  <a:lnTo>
                    <a:pt x="282" y="7"/>
                  </a:lnTo>
                  <a:lnTo>
                    <a:pt x="285" y="7"/>
                  </a:lnTo>
                  <a:lnTo>
                    <a:pt x="287" y="7"/>
                  </a:lnTo>
                  <a:lnTo>
                    <a:pt x="290" y="7"/>
                  </a:lnTo>
                  <a:lnTo>
                    <a:pt x="294" y="7"/>
                  </a:lnTo>
                  <a:lnTo>
                    <a:pt x="304" y="5"/>
                  </a:lnTo>
                  <a:lnTo>
                    <a:pt x="304" y="17"/>
                  </a:lnTo>
                  <a:lnTo>
                    <a:pt x="304" y="19"/>
                  </a:lnTo>
                  <a:lnTo>
                    <a:pt x="304" y="24"/>
                  </a:lnTo>
                  <a:lnTo>
                    <a:pt x="304" y="27"/>
                  </a:lnTo>
                  <a:lnTo>
                    <a:pt x="304" y="36"/>
                  </a:lnTo>
                  <a:lnTo>
                    <a:pt x="304" y="41"/>
                  </a:lnTo>
                  <a:lnTo>
                    <a:pt x="304" y="44"/>
                  </a:lnTo>
                  <a:lnTo>
                    <a:pt x="304" y="50"/>
                  </a:lnTo>
                  <a:lnTo>
                    <a:pt x="304" y="51"/>
                  </a:lnTo>
                  <a:lnTo>
                    <a:pt x="304" y="53"/>
                  </a:lnTo>
                  <a:lnTo>
                    <a:pt x="304" y="74"/>
                  </a:lnTo>
                  <a:lnTo>
                    <a:pt x="304" y="74"/>
                  </a:lnTo>
                  <a:lnTo>
                    <a:pt x="304" y="77"/>
                  </a:lnTo>
                  <a:lnTo>
                    <a:pt x="304" y="80"/>
                  </a:lnTo>
                  <a:lnTo>
                    <a:pt x="304" y="86"/>
                  </a:lnTo>
                  <a:lnTo>
                    <a:pt x="304" y="87"/>
                  </a:lnTo>
                  <a:lnTo>
                    <a:pt x="304" y="91"/>
                  </a:lnTo>
                  <a:lnTo>
                    <a:pt x="304" y="96"/>
                  </a:lnTo>
                  <a:lnTo>
                    <a:pt x="304" y="103"/>
                  </a:lnTo>
                  <a:lnTo>
                    <a:pt x="304" y="103"/>
                  </a:lnTo>
                  <a:lnTo>
                    <a:pt x="304" y="105"/>
                  </a:lnTo>
                  <a:lnTo>
                    <a:pt x="304" y="106"/>
                  </a:lnTo>
                  <a:lnTo>
                    <a:pt x="306" y="106"/>
                  </a:lnTo>
                  <a:lnTo>
                    <a:pt x="316" y="106"/>
                  </a:lnTo>
                  <a:lnTo>
                    <a:pt x="326" y="106"/>
                  </a:lnTo>
                  <a:lnTo>
                    <a:pt x="328" y="106"/>
                  </a:lnTo>
                  <a:lnTo>
                    <a:pt x="328" y="108"/>
                  </a:lnTo>
                  <a:lnTo>
                    <a:pt x="328" y="111"/>
                  </a:lnTo>
                  <a:lnTo>
                    <a:pt x="328" y="115"/>
                  </a:lnTo>
                  <a:lnTo>
                    <a:pt x="328" y="117"/>
                  </a:lnTo>
                  <a:lnTo>
                    <a:pt x="328" y="118"/>
                  </a:lnTo>
                  <a:lnTo>
                    <a:pt x="328" y="120"/>
                  </a:lnTo>
                  <a:lnTo>
                    <a:pt x="328" y="122"/>
                  </a:lnTo>
                  <a:lnTo>
                    <a:pt x="328" y="129"/>
                  </a:lnTo>
                  <a:lnTo>
                    <a:pt x="328" y="134"/>
                  </a:lnTo>
                  <a:lnTo>
                    <a:pt x="328" y="136"/>
                  </a:lnTo>
                  <a:lnTo>
                    <a:pt x="328" y="137"/>
                  </a:lnTo>
                  <a:lnTo>
                    <a:pt x="328" y="139"/>
                  </a:lnTo>
                  <a:lnTo>
                    <a:pt x="328" y="141"/>
                  </a:lnTo>
                  <a:lnTo>
                    <a:pt x="328" y="146"/>
                  </a:lnTo>
                  <a:lnTo>
                    <a:pt x="328" y="148"/>
                  </a:lnTo>
                  <a:lnTo>
                    <a:pt x="328" y="148"/>
                  </a:lnTo>
                  <a:lnTo>
                    <a:pt x="328" y="149"/>
                  </a:lnTo>
                  <a:lnTo>
                    <a:pt x="328" y="153"/>
                  </a:lnTo>
                  <a:lnTo>
                    <a:pt x="328" y="156"/>
                  </a:lnTo>
                  <a:lnTo>
                    <a:pt x="328" y="158"/>
                  </a:lnTo>
                  <a:lnTo>
                    <a:pt x="328" y="163"/>
                  </a:lnTo>
                  <a:lnTo>
                    <a:pt x="328" y="165"/>
                  </a:lnTo>
                  <a:lnTo>
                    <a:pt x="328" y="167"/>
                  </a:lnTo>
                  <a:lnTo>
                    <a:pt x="328" y="173"/>
                  </a:lnTo>
                  <a:lnTo>
                    <a:pt x="330" y="173"/>
                  </a:lnTo>
                  <a:lnTo>
                    <a:pt x="333" y="173"/>
                  </a:lnTo>
                  <a:lnTo>
                    <a:pt x="333" y="173"/>
                  </a:lnTo>
                  <a:lnTo>
                    <a:pt x="335" y="173"/>
                  </a:lnTo>
                  <a:lnTo>
                    <a:pt x="338" y="173"/>
                  </a:lnTo>
                  <a:lnTo>
                    <a:pt x="340" y="173"/>
                  </a:lnTo>
                  <a:lnTo>
                    <a:pt x="340" y="184"/>
                  </a:lnTo>
                  <a:lnTo>
                    <a:pt x="340" y="185"/>
                  </a:lnTo>
                  <a:lnTo>
                    <a:pt x="340" y="191"/>
                  </a:lnTo>
                  <a:lnTo>
                    <a:pt x="340" y="196"/>
                  </a:lnTo>
                  <a:lnTo>
                    <a:pt x="340" y="201"/>
                  </a:lnTo>
                  <a:lnTo>
                    <a:pt x="340" y="206"/>
                  </a:lnTo>
                  <a:lnTo>
                    <a:pt x="340" y="208"/>
                  </a:lnTo>
                  <a:lnTo>
                    <a:pt x="340" y="213"/>
                  </a:lnTo>
                  <a:lnTo>
                    <a:pt x="340" y="216"/>
                  </a:lnTo>
                  <a:lnTo>
                    <a:pt x="340" y="220"/>
                  </a:lnTo>
                  <a:lnTo>
                    <a:pt x="340" y="223"/>
                  </a:lnTo>
                  <a:lnTo>
                    <a:pt x="340" y="228"/>
                  </a:lnTo>
                  <a:lnTo>
                    <a:pt x="340" y="230"/>
                  </a:lnTo>
                  <a:lnTo>
                    <a:pt x="340" y="237"/>
                  </a:lnTo>
                  <a:lnTo>
                    <a:pt x="340" y="244"/>
                  </a:lnTo>
                  <a:lnTo>
                    <a:pt x="335" y="246"/>
                  </a:lnTo>
                  <a:lnTo>
                    <a:pt x="332" y="246"/>
                  </a:lnTo>
                  <a:lnTo>
                    <a:pt x="330" y="246"/>
                  </a:lnTo>
                  <a:lnTo>
                    <a:pt x="326" y="246"/>
                  </a:lnTo>
                  <a:lnTo>
                    <a:pt x="323" y="246"/>
                  </a:lnTo>
                  <a:lnTo>
                    <a:pt x="319" y="246"/>
                  </a:lnTo>
                  <a:lnTo>
                    <a:pt x="319" y="246"/>
                  </a:lnTo>
                  <a:lnTo>
                    <a:pt x="316" y="246"/>
                  </a:lnTo>
                  <a:lnTo>
                    <a:pt x="313" y="246"/>
                  </a:lnTo>
                  <a:lnTo>
                    <a:pt x="311" y="246"/>
                  </a:lnTo>
                  <a:lnTo>
                    <a:pt x="302" y="246"/>
                  </a:lnTo>
                  <a:lnTo>
                    <a:pt x="295" y="246"/>
                  </a:lnTo>
                  <a:lnTo>
                    <a:pt x="292" y="246"/>
                  </a:lnTo>
                  <a:lnTo>
                    <a:pt x="289" y="246"/>
                  </a:lnTo>
                  <a:lnTo>
                    <a:pt x="278" y="246"/>
                  </a:lnTo>
                  <a:lnTo>
                    <a:pt x="268" y="247"/>
                  </a:lnTo>
                  <a:lnTo>
                    <a:pt x="264" y="247"/>
                  </a:lnTo>
                  <a:lnTo>
                    <a:pt x="263" y="247"/>
                  </a:lnTo>
                  <a:lnTo>
                    <a:pt x="259" y="247"/>
                  </a:lnTo>
                  <a:lnTo>
                    <a:pt x="258" y="247"/>
                  </a:lnTo>
                  <a:lnTo>
                    <a:pt x="256" y="247"/>
                  </a:lnTo>
                  <a:lnTo>
                    <a:pt x="251" y="247"/>
                  </a:lnTo>
                  <a:lnTo>
                    <a:pt x="247" y="247"/>
                  </a:lnTo>
                  <a:lnTo>
                    <a:pt x="246" y="247"/>
                  </a:lnTo>
                  <a:lnTo>
                    <a:pt x="239" y="247"/>
                  </a:lnTo>
                  <a:lnTo>
                    <a:pt x="235" y="247"/>
                  </a:lnTo>
                  <a:lnTo>
                    <a:pt x="232" y="247"/>
                  </a:lnTo>
                  <a:lnTo>
                    <a:pt x="228" y="247"/>
                  </a:lnTo>
                  <a:lnTo>
                    <a:pt x="223" y="247"/>
                  </a:lnTo>
                  <a:lnTo>
                    <a:pt x="218" y="247"/>
                  </a:lnTo>
                  <a:lnTo>
                    <a:pt x="215" y="247"/>
                  </a:lnTo>
                  <a:lnTo>
                    <a:pt x="213" y="247"/>
                  </a:lnTo>
                  <a:lnTo>
                    <a:pt x="213" y="247"/>
                  </a:lnTo>
                  <a:lnTo>
                    <a:pt x="211" y="247"/>
                  </a:lnTo>
                  <a:lnTo>
                    <a:pt x="209" y="247"/>
                  </a:lnTo>
                  <a:lnTo>
                    <a:pt x="208" y="247"/>
                  </a:lnTo>
                  <a:lnTo>
                    <a:pt x="201" y="249"/>
                  </a:lnTo>
                  <a:lnTo>
                    <a:pt x="199" y="249"/>
                  </a:lnTo>
                  <a:lnTo>
                    <a:pt x="199" y="249"/>
                  </a:lnTo>
                  <a:lnTo>
                    <a:pt x="190" y="249"/>
                  </a:lnTo>
                  <a:lnTo>
                    <a:pt x="180" y="249"/>
                  </a:lnTo>
                  <a:lnTo>
                    <a:pt x="178" y="249"/>
                  </a:lnTo>
                  <a:lnTo>
                    <a:pt x="177" y="249"/>
                  </a:lnTo>
                  <a:lnTo>
                    <a:pt x="170" y="249"/>
                  </a:lnTo>
                  <a:lnTo>
                    <a:pt x="168" y="249"/>
                  </a:lnTo>
                  <a:lnTo>
                    <a:pt x="166" y="249"/>
                  </a:lnTo>
                  <a:lnTo>
                    <a:pt x="163" y="249"/>
                  </a:lnTo>
                  <a:lnTo>
                    <a:pt x="161" y="249"/>
                  </a:lnTo>
                  <a:lnTo>
                    <a:pt x="158" y="249"/>
                  </a:lnTo>
                  <a:lnTo>
                    <a:pt x="156" y="249"/>
                  </a:lnTo>
                  <a:lnTo>
                    <a:pt x="154" y="249"/>
                  </a:lnTo>
                  <a:lnTo>
                    <a:pt x="153" y="249"/>
                  </a:lnTo>
                  <a:lnTo>
                    <a:pt x="147" y="249"/>
                  </a:lnTo>
                  <a:lnTo>
                    <a:pt x="146" y="251"/>
                  </a:lnTo>
                  <a:lnTo>
                    <a:pt x="137" y="251"/>
                  </a:lnTo>
                  <a:lnTo>
                    <a:pt x="135" y="251"/>
                  </a:lnTo>
                  <a:lnTo>
                    <a:pt x="132" y="251"/>
                  </a:lnTo>
                  <a:lnTo>
                    <a:pt x="130" y="251"/>
                  </a:lnTo>
                  <a:lnTo>
                    <a:pt x="123" y="251"/>
                  </a:lnTo>
                  <a:lnTo>
                    <a:pt x="123" y="251"/>
                  </a:lnTo>
                  <a:lnTo>
                    <a:pt x="120" y="251"/>
                  </a:lnTo>
                  <a:lnTo>
                    <a:pt x="115" y="251"/>
                  </a:lnTo>
                  <a:lnTo>
                    <a:pt x="113" y="251"/>
                  </a:lnTo>
                  <a:lnTo>
                    <a:pt x="111" y="251"/>
                  </a:lnTo>
                  <a:lnTo>
                    <a:pt x="110" y="251"/>
                  </a:lnTo>
                  <a:lnTo>
                    <a:pt x="106" y="251"/>
                  </a:lnTo>
                  <a:lnTo>
                    <a:pt x="103" y="251"/>
                  </a:lnTo>
                  <a:lnTo>
                    <a:pt x="101" y="251"/>
                  </a:lnTo>
                  <a:lnTo>
                    <a:pt x="94" y="251"/>
                  </a:lnTo>
                  <a:lnTo>
                    <a:pt x="92" y="251"/>
                  </a:lnTo>
                  <a:lnTo>
                    <a:pt x="91" y="251"/>
                  </a:lnTo>
                  <a:lnTo>
                    <a:pt x="86" y="251"/>
                  </a:lnTo>
                  <a:lnTo>
                    <a:pt x="84" y="251"/>
                  </a:lnTo>
                  <a:lnTo>
                    <a:pt x="80" y="251"/>
                  </a:lnTo>
                  <a:lnTo>
                    <a:pt x="79" y="251"/>
                  </a:lnTo>
                  <a:lnTo>
                    <a:pt x="77" y="251"/>
                  </a:lnTo>
                  <a:lnTo>
                    <a:pt x="77" y="251"/>
                  </a:lnTo>
                  <a:lnTo>
                    <a:pt x="75" y="253"/>
                  </a:lnTo>
                  <a:lnTo>
                    <a:pt x="74" y="253"/>
                  </a:lnTo>
                  <a:lnTo>
                    <a:pt x="68" y="253"/>
                  </a:lnTo>
                  <a:lnTo>
                    <a:pt x="67" y="253"/>
                  </a:lnTo>
                  <a:lnTo>
                    <a:pt x="63" y="253"/>
                  </a:lnTo>
                  <a:lnTo>
                    <a:pt x="55" y="253"/>
                  </a:lnTo>
                  <a:lnTo>
                    <a:pt x="48" y="253"/>
                  </a:lnTo>
                  <a:lnTo>
                    <a:pt x="48" y="253"/>
                  </a:lnTo>
                  <a:lnTo>
                    <a:pt x="46" y="253"/>
                  </a:lnTo>
                  <a:lnTo>
                    <a:pt x="44" y="253"/>
                  </a:lnTo>
                  <a:lnTo>
                    <a:pt x="43" y="253"/>
                  </a:lnTo>
                  <a:lnTo>
                    <a:pt x="36" y="253"/>
                  </a:lnTo>
                  <a:lnTo>
                    <a:pt x="32" y="253"/>
                  </a:lnTo>
                  <a:lnTo>
                    <a:pt x="32" y="253"/>
                  </a:lnTo>
                  <a:lnTo>
                    <a:pt x="24" y="253"/>
                  </a:lnTo>
                  <a:lnTo>
                    <a:pt x="20" y="253"/>
                  </a:lnTo>
                  <a:lnTo>
                    <a:pt x="18" y="253"/>
                  </a:lnTo>
                  <a:lnTo>
                    <a:pt x="17" y="253"/>
                  </a:lnTo>
                  <a:lnTo>
                    <a:pt x="15" y="254"/>
                  </a:lnTo>
                  <a:lnTo>
                    <a:pt x="12" y="254"/>
                  </a:lnTo>
                  <a:lnTo>
                    <a:pt x="10" y="254"/>
                  </a:lnTo>
                  <a:lnTo>
                    <a:pt x="1" y="254"/>
                  </a:lnTo>
                  <a:lnTo>
                    <a:pt x="0" y="254"/>
                  </a:lnTo>
                  <a:lnTo>
                    <a:pt x="0" y="253"/>
                  </a:lnTo>
                  <a:lnTo>
                    <a:pt x="0" y="249"/>
                  </a:lnTo>
                  <a:lnTo>
                    <a:pt x="0" y="246"/>
                  </a:lnTo>
                  <a:lnTo>
                    <a:pt x="0" y="242"/>
                  </a:lnTo>
                  <a:lnTo>
                    <a:pt x="0" y="240"/>
                  </a:lnTo>
                  <a:lnTo>
                    <a:pt x="0" y="239"/>
                  </a:lnTo>
                  <a:lnTo>
                    <a:pt x="0" y="239"/>
                  </a:lnTo>
                  <a:lnTo>
                    <a:pt x="0" y="235"/>
                  </a:lnTo>
                  <a:lnTo>
                    <a:pt x="0" y="234"/>
                  </a:lnTo>
                  <a:lnTo>
                    <a:pt x="0" y="228"/>
                  </a:lnTo>
                  <a:lnTo>
                    <a:pt x="0" y="223"/>
                  </a:lnTo>
                  <a:lnTo>
                    <a:pt x="0" y="216"/>
                  </a:lnTo>
                  <a:lnTo>
                    <a:pt x="0" y="215"/>
                  </a:lnTo>
                  <a:lnTo>
                    <a:pt x="0" y="208"/>
                  </a:lnTo>
                  <a:lnTo>
                    <a:pt x="0" y="208"/>
                  </a:lnTo>
                  <a:lnTo>
                    <a:pt x="0" y="203"/>
                  </a:lnTo>
                  <a:lnTo>
                    <a:pt x="0" y="179"/>
                  </a:lnTo>
                  <a:lnTo>
                    <a:pt x="1" y="175"/>
                  </a:lnTo>
                  <a:lnTo>
                    <a:pt x="0" y="175"/>
                  </a:lnTo>
                  <a:lnTo>
                    <a:pt x="0" y="173"/>
                  </a:lnTo>
                  <a:lnTo>
                    <a:pt x="0" y="163"/>
                  </a:lnTo>
                  <a:lnTo>
                    <a:pt x="0" y="156"/>
                  </a:lnTo>
                  <a:lnTo>
                    <a:pt x="0" y="154"/>
                  </a:lnTo>
                  <a:lnTo>
                    <a:pt x="0" y="153"/>
                  </a:lnTo>
                  <a:lnTo>
                    <a:pt x="0" y="151"/>
                  </a:lnTo>
                  <a:lnTo>
                    <a:pt x="0" y="144"/>
                  </a:lnTo>
                  <a:lnTo>
                    <a:pt x="0" y="142"/>
                  </a:lnTo>
                  <a:lnTo>
                    <a:pt x="0" y="141"/>
                  </a:lnTo>
                  <a:lnTo>
                    <a:pt x="0" y="130"/>
                  </a:lnTo>
                  <a:lnTo>
                    <a:pt x="0" y="125"/>
                  </a:lnTo>
                  <a:lnTo>
                    <a:pt x="0" y="118"/>
                  </a:lnTo>
                  <a:lnTo>
                    <a:pt x="0" y="115"/>
                  </a:lnTo>
                  <a:lnTo>
                    <a:pt x="0" y="106"/>
                  </a:lnTo>
                  <a:lnTo>
                    <a:pt x="0" y="105"/>
                  </a:lnTo>
                  <a:lnTo>
                    <a:pt x="0" y="103"/>
                  </a:lnTo>
                  <a:lnTo>
                    <a:pt x="0" y="103"/>
                  </a:lnTo>
                  <a:lnTo>
                    <a:pt x="0" y="99"/>
                  </a:lnTo>
                  <a:lnTo>
                    <a:pt x="0" y="96"/>
                  </a:lnTo>
                  <a:lnTo>
                    <a:pt x="0" y="93"/>
                  </a:lnTo>
                  <a:lnTo>
                    <a:pt x="0" y="87"/>
                  </a:lnTo>
                  <a:lnTo>
                    <a:pt x="0" y="86"/>
                  </a:lnTo>
                  <a:lnTo>
                    <a:pt x="0" y="82"/>
                  </a:lnTo>
                  <a:lnTo>
                    <a:pt x="0" y="74"/>
                  </a:lnTo>
                  <a:lnTo>
                    <a:pt x="0" y="72"/>
                  </a:lnTo>
                  <a:lnTo>
                    <a:pt x="0" y="70"/>
                  </a:lnTo>
                  <a:lnTo>
                    <a:pt x="0" y="62"/>
                  </a:lnTo>
                  <a:lnTo>
                    <a:pt x="0" y="60"/>
                  </a:lnTo>
                  <a:lnTo>
                    <a:pt x="0" y="58"/>
                  </a:lnTo>
                  <a:lnTo>
                    <a:pt x="0" y="58"/>
                  </a:lnTo>
                  <a:lnTo>
                    <a:pt x="0" y="51"/>
                  </a:lnTo>
                  <a:lnTo>
                    <a:pt x="0" y="46"/>
                  </a:lnTo>
                  <a:lnTo>
                    <a:pt x="0" y="43"/>
                  </a:lnTo>
                  <a:lnTo>
                    <a:pt x="0" y="36"/>
                  </a:lnTo>
                  <a:lnTo>
                    <a:pt x="1" y="36"/>
                  </a:lnTo>
                  <a:lnTo>
                    <a:pt x="1" y="34"/>
                  </a:lnTo>
                  <a:lnTo>
                    <a:pt x="1" y="25"/>
                  </a:lnTo>
                  <a:lnTo>
                    <a:pt x="1" y="24"/>
                  </a:lnTo>
                  <a:lnTo>
                    <a:pt x="1" y="20"/>
                  </a:lnTo>
                  <a:lnTo>
                    <a:pt x="1" y="17"/>
                  </a:lnTo>
                  <a:lnTo>
                    <a:pt x="1" y="13"/>
                  </a:lnTo>
                  <a:lnTo>
                    <a:pt x="1" y="12"/>
                  </a:lnTo>
                  <a:lnTo>
                    <a:pt x="1" y="10"/>
                  </a:lnTo>
                  <a:lnTo>
                    <a:pt x="1" y="3"/>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7" name="Freeform 210"/>
            <p:cNvSpPr>
              <a:spLocks/>
            </p:cNvSpPr>
            <p:nvPr/>
          </p:nvSpPr>
          <p:spPr bwMode="auto">
            <a:xfrm>
              <a:off x="7898696" y="4138406"/>
              <a:ext cx="652463" cy="403225"/>
            </a:xfrm>
            <a:custGeom>
              <a:avLst/>
              <a:gdLst/>
              <a:ahLst/>
              <a:cxnLst>
                <a:cxn ang="0">
                  <a:pos x="146" y="25"/>
                </a:cxn>
                <a:cxn ang="0">
                  <a:pos x="163" y="8"/>
                </a:cxn>
                <a:cxn ang="0">
                  <a:pos x="177" y="0"/>
                </a:cxn>
                <a:cxn ang="0">
                  <a:pos x="199" y="13"/>
                </a:cxn>
                <a:cxn ang="0">
                  <a:pos x="205" y="25"/>
                </a:cxn>
                <a:cxn ang="0">
                  <a:pos x="222" y="37"/>
                </a:cxn>
                <a:cxn ang="0">
                  <a:pos x="237" y="41"/>
                </a:cxn>
                <a:cxn ang="0">
                  <a:pos x="246" y="46"/>
                </a:cxn>
                <a:cxn ang="0">
                  <a:pos x="256" y="56"/>
                </a:cxn>
                <a:cxn ang="0">
                  <a:pos x="268" y="65"/>
                </a:cxn>
                <a:cxn ang="0">
                  <a:pos x="280" y="72"/>
                </a:cxn>
                <a:cxn ang="0">
                  <a:pos x="291" y="82"/>
                </a:cxn>
                <a:cxn ang="0">
                  <a:pos x="294" y="94"/>
                </a:cxn>
                <a:cxn ang="0">
                  <a:pos x="289" y="108"/>
                </a:cxn>
                <a:cxn ang="0">
                  <a:pos x="301" y="118"/>
                </a:cxn>
                <a:cxn ang="0">
                  <a:pos x="315" y="113"/>
                </a:cxn>
                <a:cxn ang="0">
                  <a:pos x="325" y="122"/>
                </a:cxn>
                <a:cxn ang="0">
                  <a:pos x="337" y="132"/>
                </a:cxn>
                <a:cxn ang="0">
                  <a:pos x="344" y="141"/>
                </a:cxn>
                <a:cxn ang="0">
                  <a:pos x="373" y="149"/>
                </a:cxn>
                <a:cxn ang="0">
                  <a:pos x="385" y="173"/>
                </a:cxn>
                <a:cxn ang="0">
                  <a:pos x="389" y="203"/>
                </a:cxn>
                <a:cxn ang="0">
                  <a:pos x="401" y="216"/>
                </a:cxn>
                <a:cxn ang="0">
                  <a:pos x="411" y="237"/>
                </a:cxn>
                <a:cxn ang="0">
                  <a:pos x="397" y="240"/>
                </a:cxn>
                <a:cxn ang="0">
                  <a:pos x="385" y="242"/>
                </a:cxn>
                <a:cxn ang="0">
                  <a:pos x="377" y="252"/>
                </a:cxn>
                <a:cxn ang="0">
                  <a:pos x="371" y="251"/>
                </a:cxn>
                <a:cxn ang="0">
                  <a:pos x="365" y="246"/>
                </a:cxn>
                <a:cxn ang="0">
                  <a:pos x="349" y="249"/>
                </a:cxn>
                <a:cxn ang="0">
                  <a:pos x="344" y="242"/>
                </a:cxn>
                <a:cxn ang="0">
                  <a:pos x="340" y="242"/>
                </a:cxn>
                <a:cxn ang="0">
                  <a:pos x="334" y="230"/>
                </a:cxn>
                <a:cxn ang="0">
                  <a:pos x="327" y="230"/>
                </a:cxn>
                <a:cxn ang="0">
                  <a:pos x="320" y="237"/>
                </a:cxn>
                <a:cxn ang="0">
                  <a:pos x="311" y="239"/>
                </a:cxn>
                <a:cxn ang="0">
                  <a:pos x="310" y="228"/>
                </a:cxn>
                <a:cxn ang="0">
                  <a:pos x="296" y="235"/>
                </a:cxn>
                <a:cxn ang="0">
                  <a:pos x="289" y="237"/>
                </a:cxn>
                <a:cxn ang="0">
                  <a:pos x="284" y="235"/>
                </a:cxn>
                <a:cxn ang="0">
                  <a:pos x="270" y="233"/>
                </a:cxn>
                <a:cxn ang="0">
                  <a:pos x="265" y="237"/>
                </a:cxn>
                <a:cxn ang="0">
                  <a:pos x="258" y="232"/>
                </a:cxn>
                <a:cxn ang="0">
                  <a:pos x="251" y="237"/>
                </a:cxn>
                <a:cxn ang="0">
                  <a:pos x="237" y="239"/>
                </a:cxn>
                <a:cxn ang="0">
                  <a:pos x="227" y="239"/>
                </a:cxn>
                <a:cxn ang="0">
                  <a:pos x="213" y="237"/>
                </a:cxn>
                <a:cxn ang="0">
                  <a:pos x="211" y="228"/>
                </a:cxn>
                <a:cxn ang="0">
                  <a:pos x="187" y="233"/>
                </a:cxn>
                <a:cxn ang="0">
                  <a:pos x="158" y="235"/>
                </a:cxn>
                <a:cxn ang="0">
                  <a:pos x="96" y="239"/>
                </a:cxn>
                <a:cxn ang="0">
                  <a:pos x="46" y="240"/>
                </a:cxn>
                <a:cxn ang="0">
                  <a:pos x="0" y="235"/>
                </a:cxn>
                <a:cxn ang="0">
                  <a:pos x="22" y="182"/>
                </a:cxn>
                <a:cxn ang="0">
                  <a:pos x="55" y="122"/>
                </a:cxn>
                <a:cxn ang="0">
                  <a:pos x="76" y="82"/>
                </a:cxn>
                <a:cxn ang="0">
                  <a:pos x="100" y="48"/>
                </a:cxn>
              </a:cxnLst>
              <a:rect l="0" t="0" r="r" b="b"/>
              <a:pathLst>
                <a:path w="411" h="254">
                  <a:moveTo>
                    <a:pt x="120" y="24"/>
                  </a:moveTo>
                  <a:lnTo>
                    <a:pt x="122" y="24"/>
                  </a:lnTo>
                  <a:lnTo>
                    <a:pt x="125" y="25"/>
                  </a:lnTo>
                  <a:lnTo>
                    <a:pt x="131" y="27"/>
                  </a:lnTo>
                  <a:lnTo>
                    <a:pt x="132" y="27"/>
                  </a:lnTo>
                  <a:lnTo>
                    <a:pt x="134" y="27"/>
                  </a:lnTo>
                  <a:lnTo>
                    <a:pt x="136" y="27"/>
                  </a:lnTo>
                  <a:lnTo>
                    <a:pt x="143" y="27"/>
                  </a:lnTo>
                  <a:lnTo>
                    <a:pt x="144" y="27"/>
                  </a:lnTo>
                  <a:lnTo>
                    <a:pt x="146" y="25"/>
                  </a:lnTo>
                  <a:lnTo>
                    <a:pt x="150" y="22"/>
                  </a:lnTo>
                  <a:lnTo>
                    <a:pt x="153" y="22"/>
                  </a:lnTo>
                  <a:lnTo>
                    <a:pt x="155" y="20"/>
                  </a:lnTo>
                  <a:lnTo>
                    <a:pt x="156" y="18"/>
                  </a:lnTo>
                  <a:lnTo>
                    <a:pt x="158" y="17"/>
                  </a:lnTo>
                  <a:lnTo>
                    <a:pt x="160" y="17"/>
                  </a:lnTo>
                  <a:lnTo>
                    <a:pt x="160" y="15"/>
                  </a:lnTo>
                  <a:lnTo>
                    <a:pt x="160" y="13"/>
                  </a:lnTo>
                  <a:lnTo>
                    <a:pt x="162" y="10"/>
                  </a:lnTo>
                  <a:lnTo>
                    <a:pt x="163" y="8"/>
                  </a:lnTo>
                  <a:lnTo>
                    <a:pt x="167" y="5"/>
                  </a:lnTo>
                  <a:lnTo>
                    <a:pt x="168" y="3"/>
                  </a:lnTo>
                  <a:lnTo>
                    <a:pt x="170" y="3"/>
                  </a:lnTo>
                  <a:lnTo>
                    <a:pt x="170" y="1"/>
                  </a:lnTo>
                  <a:lnTo>
                    <a:pt x="172" y="1"/>
                  </a:lnTo>
                  <a:lnTo>
                    <a:pt x="174" y="1"/>
                  </a:lnTo>
                  <a:lnTo>
                    <a:pt x="174" y="0"/>
                  </a:lnTo>
                  <a:lnTo>
                    <a:pt x="175" y="0"/>
                  </a:lnTo>
                  <a:lnTo>
                    <a:pt x="175" y="0"/>
                  </a:lnTo>
                  <a:lnTo>
                    <a:pt x="177" y="0"/>
                  </a:lnTo>
                  <a:lnTo>
                    <a:pt x="179" y="0"/>
                  </a:lnTo>
                  <a:lnTo>
                    <a:pt x="181" y="0"/>
                  </a:lnTo>
                  <a:lnTo>
                    <a:pt x="182" y="1"/>
                  </a:lnTo>
                  <a:lnTo>
                    <a:pt x="187" y="3"/>
                  </a:lnTo>
                  <a:lnTo>
                    <a:pt x="191" y="6"/>
                  </a:lnTo>
                  <a:lnTo>
                    <a:pt x="193" y="8"/>
                  </a:lnTo>
                  <a:lnTo>
                    <a:pt x="194" y="10"/>
                  </a:lnTo>
                  <a:lnTo>
                    <a:pt x="196" y="12"/>
                  </a:lnTo>
                  <a:lnTo>
                    <a:pt x="198" y="13"/>
                  </a:lnTo>
                  <a:lnTo>
                    <a:pt x="199" y="13"/>
                  </a:lnTo>
                  <a:lnTo>
                    <a:pt x="201" y="15"/>
                  </a:lnTo>
                  <a:lnTo>
                    <a:pt x="203" y="15"/>
                  </a:lnTo>
                  <a:lnTo>
                    <a:pt x="205" y="17"/>
                  </a:lnTo>
                  <a:lnTo>
                    <a:pt x="206" y="17"/>
                  </a:lnTo>
                  <a:lnTo>
                    <a:pt x="206" y="17"/>
                  </a:lnTo>
                  <a:lnTo>
                    <a:pt x="206" y="18"/>
                  </a:lnTo>
                  <a:lnTo>
                    <a:pt x="206" y="20"/>
                  </a:lnTo>
                  <a:lnTo>
                    <a:pt x="206" y="22"/>
                  </a:lnTo>
                  <a:lnTo>
                    <a:pt x="205" y="24"/>
                  </a:lnTo>
                  <a:lnTo>
                    <a:pt x="205" y="25"/>
                  </a:lnTo>
                  <a:lnTo>
                    <a:pt x="205" y="27"/>
                  </a:lnTo>
                  <a:lnTo>
                    <a:pt x="206" y="32"/>
                  </a:lnTo>
                  <a:lnTo>
                    <a:pt x="208" y="32"/>
                  </a:lnTo>
                  <a:lnTo>
                    <a:pt x="208" y="34"/>
                  </a:lnTo>
                  <a:lnTo>
                    <a:pt x="210" y="34"/>
                  </a:lnTo>
                  <a:lnTo>
                    <a:pt x="215" y="39"/>
                  </a:lnTo>
                  <a:lnTo>
                    <a:pt x="217" y="36"/>
                  </a:lnTo>
                  <a:lnTo>
                    <a:pt x="218" y="36"/>
                  </a:lnTo>
                  <a:lnTo>
                    <a:pt x="220" y="37"/>
                  </a:lnTo>
                  <a:lnTo>
                    <a:pt x="222" y="37"/>
                  </a:lnTo>
                  <a:lnTo>
                    <a:pt x="224" y="37"/>
                  </a:lnTo>
                  <a:lnTo>
                    <a:pt x="225" y="37"/>
                  </a:lnTo>
                  <a:lnTo>
                    <a:pt x="227" y="37"/>
                  </a:lnTo>
                  <a:lnTo>
                    <a:pt x="229" y="39"/>
                  </a:lnTo>
                  <a:lnTo>
                    <a:pt x="230" y="39"/>
                  </a:lnTo>
                  <a:lnTo>
                    <a:pt x="232" y="41"/>
                  </a:lnTo>
                  <a:lnTo>
                    <a:pt x="236" y="43"/>
                  </a:lnTo>
                  <a:lnTo>
                    <a:pt x="236" y="43"/>
                  </a:lnTo>
                  <a:lnTo>
                    <a:pt x="236" y="41"/>
                  </a:lnTo>
                  <a:lnTo>
                    <a:pt x="237" y="41"/>
                  </a:lnTo>
                  <a:lnTo>
                    <a:pt x="237" y="43"/>
                  </a:lnTo>
                  <a:lnTo>
                    <a:pt x="239" y="43"/>
                  </a:lnTo>
                  <a:lnTo>
                    <a:pt x="241" y="43"/>
                  </a:lnTo>
                  <a:lnTo>
                    <a:pt x="241" y="41"/>
                  </a:lnTo>
                  <a:lnTo>
                    <a:pt x="242" y="41"/>
                  </a:lnTo>
                  <a:lnTo>
                    <a:pt x="242" y="43"/>
                  </a:lnTo>
                  <a:lnTo>
                    <a:pt x="244" y="43"/>
                  </a:lnTo>
                  <a:lnTo>
                    <a:pt x="244" y="44"/>
                  </a:lnTo>
                  <a:lnTo>
                    <a:pt x="246" y="44"/>
                  </a:lnTo>
                  <a:lnTo>
                    <a:pt x="246" y="46"/>
                  </a:lnTo>
                  <a:lnTo>
                    <a:pt x="248" y="46"/>
                  </a:lnTo>
                  <a:lnTo>
                    <a:pt x="249" y="48"/>
                  </a:lnTo>
                  <a:lnTo>
                    <a:pt x="249" y="49"/>
                  </a:lnTo>
                  <a:lnTo>
                    <a:pt x="251" y="49"/>
                  </a:lnTo>
                  <a:lnTo>
                    <a:pt x="251" y="51"/>
                  </a:lnTo>
                  <a:lnTo>
                    <a:pt x="251" y="53"/>
                  </a:lnTo>
                  <a:lnTo>
                    <a:pt x="253" y="53"/>
                  </a:lnTo>
                  <a:lnTo>
                    <a:pt x="254" y="55"/>
                  </a:lnTo>
                  <a:lnTo>
                    <a:pt x="254" y="56"/>
                  </a:lnTo>
                  <a:lnTo>
                    <a:pt x="256" y="56"/>
                  </a:lnTo>
                  <a:lnTo>
                    <a:pt x="256" y="58"/>
                  </a:lnTo>
                  <a:lnTo>
                    <a:pt x="258" y="58"/>
                  </a:lnTo>
                  <a:lnTo>
                    <a:pt x="261" y="60"/>
                  </a:lnTo>
                  <a:lnTo>
                    <a:pt x="261" y="61"/>
                  </a:lnTo>
                  <a:lnTo>
                    <a:pt x="263" y="61"/>
                  </a:lnTo>
                  <a:lnTo>
                    <a:pt x="265" y="61"/>
                  </a:lnTo>
                  <a:lnTo>
                    <a:pt x="267" y="61"/>
                  </a:lnTo>
                  <a:lnTo>
                    <a:pt x="267" y="63"/>
                  </a:lnTo>
                  <a:lnTo>
                    <a:pt x="267" y="63"/>
                  </a:lnTo>
                  <a:lnTo>
                    <a:pt x="268" y="65"/>
                  </a:lnTo>
                  <a:lnTo>
                    <a:pt x="270" y="65"/>
                  </a:lnTo>
                  <a:lnTo>
                    <a:pt x="272" y="65"/>
                  </a:lnTo>
                  <a:lnTo>
                    <a:pt x="272" y="67"/>
                  </a:lnTo>
                  <a:lnTo>
                    <a:pt x="273" y="67"/>
                  </a:lnTo>
                  <a:lnTo>
                    <a:pt x="273" y="68"/>
                  </a:lnTo>
                  <a:lnTo>
                    <a:pt x="275" y="68"/>
                  </a:lnTo>
                  <a:lnTo>
                    <a:pt x="277" y="68"/>
                  </a:lnTo>
                  <a:lnTo>
                    <a:pt x="279" y="70"/>
                  </a:lnTo>
                  <a:lnTo>
                    <a:pt x="280" y="72"/>
                  </a:lnTo>
                  <a:lnTo>
                    <a:pt x="280" y="72"/>
                  </a:lnTo>
                  <a:lnTo>
                    <a:pt x="282" y="72"/>
                  </a:lnTo>
                  <a:lnTo>
                    <a:pt x="282" y="73"/>
                  </a:lnTo>
                  <a:lnTo>
                    <a:pt x="284" y="73"/>
                  </a:lnTo>
                  <a:lnTo>
                    <a:pt x="284" y="75"/>
                  </a:lnTo>
                  <a:lnTo>
                    <a:pt x="285" y="75"/>
                  </a:lnTo>
                  <a:lnTo>
                    <a:pt x="287" y="77"/>
                  </a:lnTo>
                  <a:lnTo>
                    <a:pt x="287" y="77"/>
                  </a:lnTo>
                  <a:lnTo>
                    <a:pt x="289" y="77"/>
                  </a:lnTo>
                  <a:lnTo>
                    <a:pt x="289" y="80"/>
                  </a:lnTo>
                  <a:lnTo>
                    <a:pt x="291" y="82"/>
                  </a:lnTo>
                  <a:lnTo>
                    <a:pt x="291" y="84"/>
                  </a:lnTo>
                  <a:lnTo>
                    <a:pt x="292" y="84"/>
                  </a:lnTo>
                  <a:lnTo>
                    <a:pt x="292" y="86"/>
                  </a:lnTo>
                  <a:lnTo>
                    <a:pt x="294" y="86"/>
                  </a:lnTo>
                  <a:lnTo>
                    <a:pt x="294" y="87"/>
                  </a:lnTo>
                  <a:lnTo>
                    <a:pt x="294" y="89"/>
                  </a:lnTo>
                  <a:lnTo>
                    <a:pt x="294" y="91"/>
                  </a:lnTo>
                  <a:lnTo>
                    <a:pt x="294" y="92"/>
                  </a:lnTo>
                  <a:lnTo>
                    <a:pt x="294" y="92"/>
                  </a:lnTo>
                  <a:lnTo>
                    <a:pt x="294" y="94"/>
                  </a:lnTo>
                  <a:lnTo>
                    <a:pt x="292" y="96"/>
                  </a:lnTo>
                  <a:lnTo>
                    <a:pt x="292" y="98"/>
                  </a:lnTo>
                  <a:lnTo>
                    <a:pt x="292" y="99"/>
                  </a:lnTo>
                  <a:lnTo>
                    <a:pt x="291" y="99"/>
                  </a:lnTo>
                  <a:lnTo>
                    <a:pt x="291" y="101"/>
                  </a:lnTo>
                  <a:lnTo>
                    <a:pt x="291" y="103"/>
                  </a:lnTo>
                  <a:lnTo>
                    <a:pt x="291" y="104"/>
                  </a:lnTo>
                  <a:lnTo>
                    <a:pt x="289" y="106"/>
                  </a:lnTo>
                  <a:lnTo>
                    <a:pt x="289" y="106"/>
                  </a:lnTo>
                  <a:lnTo>
                    <a:pt x="289" y="108"/>
                  </a:lnTo>
                  <a:lnTo>
                    <a:pt x="291" y="110"/>
                  </a:lnTo>
                  <a:lnTo>
                    <a:pt x="291" y="111"/>
                  </a:lnTo>
                  <a:lnTo>
                    <a:pt x="291" y="113"/>
                  </a:lnTo>
                  <a:lnTo>
                    <a:pt x="292" y="113"/>
                  </a:lnTo>
                  <a:lnTo>
                    <a:pt x="292" y="115"/>
                  </a:lnTo>
                  <a:lnTo>
                    <a:pt x="294" y="115"/>
                  </a:lnTo>
                  <a:lnTo>
                    <a:pt x="296" y="116"/>
                  </a:lnTo>
                  <a:lnTo>
                    <a:pt x="296" y="116"/>
                  </a:lnTo>
                  <a:lnTo>
                    <a:pt x="297" y="116"/>
                  </a:lnTo>
                  <a:lnTo>
                    <a:pt x="301" y="118"/>
                  </a:lnTo>
                  <a:lnTo>
                    <a:pt x="303" y="116"/>
                  </a:lnTo>
                  <a:lnTo>
                    <a:pt x="304" y="116"/>
                  </a:lnTo>
                  <a:lnTo>
                    <a:pt x="306" y="116"/>
                  </a:lnTo>
                  <a:lnTo>
                    <a:pt x="310" y="116"/>
                  </a:lnTo>
                  <a:lnTo>
                    <a:pt x="311" y="116"/>
                  </a:lnTo>
                  <a:lnTo>
                    <a:pt x="311" y="116"/>
                  </a:lnTo>
                  <a:lnTo>
                    <a:pt x="311" y="115"/>
                  </a:lnTo>
                  <a:lnTo>
                    <a:pt x="313" y="115"/>
                  </a:lnTo>
                  <a:lnTo>
                    <a:pt x="315" y="115"/>
                  </a:lnTo>
                  <a:lnTo>
                    <a:pt x="315" y="113"/>
                  </a:lnTo>
                  <a:lnTo>
                    <a:pt x="316" y="113"/>
                  </a:lnTo>
                  <a:lnTo>
                    <a:pt x="318" y="113"/>
                  </a:lnTo>
                  <a:lnTo>
                    <a:pt x="320" y="113"/>
                  </a:lnTo>
                  <a:lnTo>
                    <a:pt x="322" y="113"/>
                  </a:lnTo>
                  <a:lnTo>
                    <a:pt x="322" y="115"/>
                  </a:lnTo>
                  <a:lnTo>
                    <a:pt x="322" y="116"/>
                  </a:lnTo>
                  <a:lnTo>
                    <a:pt x="322" y="118"/>
                  </a:lnTo>
                  <a:lnTo>
                    <a:pt x="322" y="120"/>
                  </a:lnTo>
                  <a:lnTo>
                    <a:pt x="323" y="122"/>
                  </a:lnTo>
                  <a:lnTo>
                    <a:pt x="325" y="122"/>
                  </a:lnTo>
                  <a:lnTo>
                    <a:pt x="327" y="122"/>
                  </a:lnTo>
                  <a:lnTo>
                    <a:pt x="327" y="122"/>
                  </a:lnTo>
                  <a:lnTo>
                    <a:pt x="328" y="122"/>
                  </a:lnTo>
                  <a:lnTo>
                    <a:pt x="330" y="123"/>
                  </a:lnTo>
                  <a:lnTo>
                    <a:pt x="332" y="125"/>
                  </a:lnTo>
                  <a:lnTo>
                    <a:pt x="334" y="125"/>
                  </a:lnTo>
                  <a:lnTo>
                    <a:pt x="334" y="127"/>
                  </a:lnTo>
                  <a:lnTo>
                    <a:pt x="335" y="129"/>
                  </a:lnTo>
                  <a:lnTo>
                    <a:pt x="335" y="130"/>
                  </a:lnTo>
                  <a:lnTo>
                    <a:pt x="337" y="132"/>
                  </a:lnTo>
                  <a:lnTo>
                    <a:pt x="337" y="134"/>
                  </a:lnTo>
                  <a:lnTo>
                    <a:pt x="339" y="134"/>
                  </a:lnTo>
                  <a:lnTo>
                    <a:pt x="339" y="135"/>
                  </a:lnTo>
                  <a:lnTo>
                    <a:pt x="339" y="137"/>
                  </a:lnTo>
                  <a:lnTo>
                    <a:pt x="340" y="137"/>
                  </a:lnTo>
                  <a:lnTo>
                    <a:pt x="340" y="137"/>
                  </a:lnTo>
                  <a:lnTo>
                    <a:pt x="340" y="139"/>
                  </a:lnTo>
                  <a:lnTo>
                    <a:pt x="340" y="141"/>
                  </a:lnTo>
                  <a:lnTo>
                    <a:pt x="342" y="141"/>
                  </a:lnTo>
                  <a:lnTo>
                    <a:pt x="344" y="141"/>
                  </a:lnTo>
                  <a:lnTo>
                    <a:pt x="344" y="142"/>
                  </a:lnTo>
                  <a:lnTo>
                    <a:pt x="346" y="142"/>
                  </a:lnTo>
                  <a:lnTo>
                    <a:pt x="347" y="144"/>
                  </a:lnTo>
                  <a:lnTo>
                    <a:pt x="353" y="144"/>
                  </a:lnTo>
                  <a:lnTo>
                    <a:pt x="358" y="146"/>
                  </a:lnTo>
                  <a:lnTo>
                    <a:pt x="363" y="147"/>
                  </a:lnTo>
                  <a:lnTo>
                    <a:pt x="370" y="149"/>
                  </a:lnTo>
                  <a:lnTo>
                    <a:pt x="371" y="149"/>
                  </a:lnTo>
                  <a:lnTo>
                    <a:pt x="371" y="149"/>
                  </a:lnTo>
                  <a:lnTo>
                    <a:pt x="373" y="149"/>
                  </a:lnTo>
                  <a:lnTo>
                    <a:pt x="377" y="151"/>
                  </a:lnTo>
                  <a:lnTo>
                    <a:pt x="380" y="153"/>
                  </a:lnTo>
                  <a:lnTo>
                    <a:pt x="382" y="153"/>
                  </a:lnTo>
                  <a:lnTo>
                    <a:pt x="383" y="154"/>
                  </a:lnTo>
                  <a:lnTo>
                    <a:pt x="385" y="156"/>
                  </a:lnTo>
                  <a:lnTo>
                    <a:pt x="387" y="160"/>
                  </a:lnTo>
                  <a:lnTo>
                    <a:pt x="387" y="165"/>
                  </a:lnTo>
                  <a:lnTo>
                    <a:pt x="387" y="168"/>
                  </a:lnTo>
                  <a:lnTo>
                    <a:pt x="385" y="172"/>
                  </a:lnTo>
                  <a:lnTo>
                    <a:pt x="385" y="173"/>
                  </a:lnTo>
                  <a:lnTo>
                    <a:pt x="385" y="177"/>
                  </a:lnTo>
                  <a:lnTo>
                    <a:pt x="385" y="180"/>
                  </a:lnTo>
                  <a:lnTo>
                    <a:pt x="385" y="182"/>
                  </a:lnTo>
                  <a:lnTo>
                    <a:pt x="385" y="187"/>
                  </a:lnTo>
                  <a:lnTo>
                    <a:pt x="385" y="190"/>
                  </a:lnTo>
                  <a:lnTo>
                    <a:pt x="385" y="192"/>
                  </a:lnTo>
                  <a:lnTo>
                    <a:pt x="385" y="196"/>
                  </a:lnTo>
                  <a:lnTo>
                    <a:pt x="387" y="197"/>
                  </a:lnTo>
                  <a:lnTo>
                    <a:pt x="389" y="201"/>
                  </a:lnTo>
                  <a:lnTo>
                    <a:pt x="389" y="203"/>
                  </a:lnTo>
                  <a:lnTo>
                    <a:pt x="390" y="204"/>
                  </a:lnTo>
                  <a:lnTo>
                    <a:pt x="390" y="208"/>
                  </a:lnTo>
                  <a:lnTo>
                    <a:pt x="394" y="209"/>
                  </a:lnTo>
                  <a:lnTo>
                    <a:pt x="396" y="211"/>
                  </a:lnTo>
                  <a:lnTo>
                    <a:pt x="397" y="213"/>
                  </a:lnTo>
                  <a:lnTo>
                    <a:pt x="397" y="213"/>
                  </a:lnTo>
                  <a:lnTo>
                    <a:pt x="399" y="213"/>
                  </a:lnTo>
                  <a:lnTo>
                    <a:pt x="399" y="215"/>
                  </a:lnTo>
                  <a:lnTo>
                    <a:pt x="401" y="215"/>
                  </a:lnTo>
                  <a:lnTo>
                    <a:pt x="401" y="216"/>
                  </a:lnTo>
                  <a:lnTo>
                    <a:pt x="402" y="218"/>
                  </a:lnTo>
                  <a:lnTo>
                    <a:pt x="404" y="220"/>
                  </a:lnTo>
                  <a:lnTo>
                    <a:pt x="406" y="221"/>
                  </a:lnTo>
                  <a:lnTo>
                    <a:pt x="408" y="225"/>
                  </a:lnTo>
                  <a:lnTo>
                    <a:pt x="409" y="227"/>
                  </a:lnTo>
                  <a:lnTo>
                    <a:pt x="411" y="228"/>
                  </a:lnTo>
                  <a:lnTo>
                    <a:pt x="411" y="230"/>
                  </a:lnTo>
                  <a:lnTo>
                    <a:pt x="411" y="232"/>
                  </a:lnTo>
                  <a:lnTo>
                    <a:pt x="411" y="233"/>
                  </a:lnTo>
                  <a:lnTo>
                    <a:pt x="411" y="237"/>
                  </a:lnTo>
                  <a:lnTo>
                    <a:pt x="409" y="237"/>
                  </a:lnTo>
                  <a:lnTo>
                    <a:pt x="408" y="239"/>
                  </a:lnTo>
                  <a:lnTo>
                    <a:pt x="408" y="240"/>
                  </a:lnTo>
                  <a:lnTo>
                    <a:pt x="406" y="240"/>
                  </a:lnTo>
                  <a:lnTo>
                    <a:pt x="404" y="240"/>
                  </a:lnTo>
                  <a:lnTo>
                    <a:pt x="402" y="242"/>
                  </a:lnTo>
                  <a:lnTo>
                    <a:pt x="401" y="242"/>
                  </a:lnTo>
                  <a:lnTo>
                    <a:pt x="401" y="242"/>
                  </a:lnTo>
                  <a:lnTo>
                    <a:pt x="399" y="240"/>
                  </a:lnTo>
                  <a:lnTo>
                    <a:pt x="397" y="240"/>
                  </a:lnTo>
                  <a:lnTo>
                    <a:pt x="396" y="240"/>
                  </a:lnTo>
                  <a:lnTo>
                    <a:pt x="394" y="240"/>
                  </a:lnTo>
                  <a:lnTo>
                    <a:pt x="394" y="239"/>
                  </a:lnTo>
                  <a:lnTo>
                    <a:pt x="392" y="239"/>
                  </a:lnTo>
                  <a:lnTo>
                    <a:pt x="390" y="239"/>
                  </a:lnTo>
                  <a:lnTo>
                    <a:pt x="389" y="239"/>
                  </a:lnTo>
                  <a:lnTo>
                    <a:pt x="387" y="239"/>
                  </a:lnTo>
                  <a:lnTo>
                    <a:pt x="387" y="239"/>
                  </a:lnTo>
                  <a:lnTo>
                    <a:pt x="385" y="240"/>
                  </a:lnTo>
                  <a:lnTo>
                    <a:pt x="385" y="242"/>
                  </a:lnTo>
                  <a:lnTo>
                    <a:pt x="383" y="242"/>
                  </a:lnTo>
                  <a:lnTo>
                    <a:pt x="383" y="244"/>
                  </a:lnTo>
                  <a:lnTo>
                    <a:pt x="383" y="246"/>
                  </a:lnTo>
                  <a:lnTo>
                    <a:pt x="383" y="247"/>
                  </a:lnTo>
                  <a:lnTo>
                    <a:pt x="383" y="251"/>
                  </a:lnTo>
                  <a:lnTo>
                    <a:pt x="383" y="252"/>
                  </a:lnTo>
                  <a:lnTo>
                    <a:pt x="382" y="252"/>
                  </a:lnTo>
                  <a:lnTo>
                    <a:pt x="380" y="252"/>
                  </a:lnTo>
                  <a:lnTo>
                    <a:pt x="380" y="254"/>
                  </a:lnTo>
                  <a:lnTo>
                    <a:pt x="377" y="252"/>
                  </a:lnTo>
                  <a:lnTo>
                    <a:pt x="377" y="251"/>
                  </a:lnTo>
                  <a:lnTo>
                    <a:pt x="375" y="249"/>
                  </a:lnTo>
                  <a:lnTo>
                    <a:pt x="373" y="247"/>
                  </a:lnTo>
                  <a:lnTo>
                    <a:pt x="373" y="246"/>
                  </a:lnTo>
                  <a:lnTo>
                    <a:pt x="371" y="246"/>
                  </a:lnTo>
                  <a:lnTo>
                    <a:pt x="371" y="247"/>
                  </a:lnTo>
                  <a:lnTo>
                    <a:pt x="371" y="249"/>
                  </a:lnTo>
                  <a:lnTo>
                    <a:pt x="373" y="249"/>
                  </a:lnTo>
                  <a:lnTo>
                    <a:pt x="373" y="251"/>
                  </a:lnTo>
                  <a:lnTo>
                    <a:pt x="371" y="251"/>
                  </a:lnTo>
                  <a:lnTo>
                    <a:pt x="371" y="252"/>
                  </a:lnTo>
                  <a:lnTo>
                    <a:pt x="371" y="252"/>
                  </a:lnTo>
                  <a:lnTo>
                    <a:pt x="370" y="252"/>
                  </a:lnTo>
                  <a:lnTo>
                    <a:pt x="368" y="251"/>
                  </a:lnTo>
                  <a:lnTo>
                    <a:pt x="368" y="249"/>
                  </a:lnTo>
                  <a:lnTo>
                    <a:pt x="366" y="249"/>
                  </a:lnTo>
                  <a:lnTo>
                    <a:pt x="368" y="249"/>
                  </a:lnTo>
                  <a:lnTo>
                    <a:pt x="368" y="247"/>
                  </a:lnTo>
                  <a:lnTo>
                    <a:pt x="366" y="247"/>
                  </a:lnTo>
                  <a:lnTo>
                    <a:pt x="365" y="246"/>
                  </a:lnTo>
                  <a:lnTo>
                    <a:pt x="365" y="244"/>
                  </a:lnTo>
                  <a:lnTo>
                    <a:pt x="363" y="244"/>
                  </a:lnTo>
                  <a:lnTo>
                    <a:pt x="361" y="246"/>
                  </a:lnTo>
                  <a:lnTo>
                    <a:pt x="359" y="246"/>
                  </a:lnTo>
                  <a:lnTo>
                    <a:pt x="358" y="247"/>
                  </a:lnTo>
                  <a:lnTo>
                    <a:pt x="356" y="247"/>
                  </a:lnTo>
                  <a:lnTo>
                    <a:pt x="356" y="247"/>
                  </a:lnTo>
                  <a:lnTo>
                    <a:pt x="353" y="247"/>
                  </a:lnTo>
                  <a:lnTo>
                    <a:pt x="351" y="249"/>
                  </a:lnTo>
                  <a:lnTo>
                    <a:pt x="349" y="249"/>
                  </a:lnTo>
                  <a:lnTo>
                    <a:pt x="347" y="251"/>
                  </a:lnTo>
                  <a:lnTo>
                    <a:pt x="347" y="249"/>
                  </a:lnTo>
                  <a:lnTo>
                    <a:pt x="346" y="249"/>
                  </a:lnTo>
                  <a:lnTo>
                    <a:pt x="346" y="247"/>
                  </a:lnTo>
                  <a:lnTo>
                    <a:pt x="344" y="247"/>
                  </a:lnTo>
                  <a:lnTo>
                    <a:pt x="346" y="246"/>
                  </a:lnTo>
                  <a:lnTo>
                    <a:pt x="346" y="244"/>
                  </a:lnTo>
                  <a:lnTo>
                    <a:pt x="346" y="242"/>
                  </a:lnTo>
                  <a:lnTo>
                    <a:pt x="346" y="242"/>
                  </a:lnTo>
                  <a:lnTo>
                    <a:pt x="344" y="242"/>
                  </a:lnTo>
                  <a:lnTo>
                    <a:pt x="344" y="242"/>
                  </a:lnTo>
                  <a:lnTo>
                    <a:pt x="342" y="242"/>
                  </a:lnTo>
                  <a:lnTo>
                    <a:pt x="340" y="244"/>
                  </a:lnTo>
                  <a:lnTo>
                    <a:pt x="340" y="246"/>
                  </a:lnTo>
                  <a:lnTo>
                    <a:pt x="340" y="247"/>
                  </a:lnTo>
                  <a:lnTo>
                    <a:pt x="340" y="247"/>
                  </a:lnTo>
                  <a:lnTo>
                    <a:pt x="340" y="246"/>
                  </a:lnTo>
                  <a:lnTo>
                    <a:pt x="339" y="244"/>
                  </a:lnTo>
                  <a:lnTo>
                    <a:pt x="339" y="242"/>
                  </a:lnTo>
                  <a:lnTo>
                    <a:pt x="340" y="242"/>
                  </a:lnTo>
                  <a:lnTo>
                    <a:pt x="340" y="242"/>
                  </a:lnTo>
                  <a:lnTo>
                    <a:pt x="340" y="240"/>
                  </a:lnTo>
                  <a:lnTo>
                    <a:pt x="339" y="239"/>
                  </a:lnTo>
                  <a:lnTo>
                    <a:pt x="337" y="239"/>
                  </a:lnTo>
                  <a:lnTo>
                    <a:pt x="335" y="237"/>
                  </a:lnTo>
                  <a:lnTo>
                    <a:pt x="335" y="235"/>
                  </a:lnTo>
                  <a:lnTo>
                    <a:pt x="334" y="235"/>
                  </a:lnTo>
                  <a:lnTo>
                    <a:pt x="334" y="233"/>
                  </a:lnTo>
                  <a:lnTo>
                    <a:pt x="334" y="232"/>
                  </a:lnTo>
                  <a:lnTo>
                    <a:pt x="334" y="230"/>
                  </a:lnTo>
                  <a:lnTo>
                    <a:pt x="334" y="228"/>
                  </a:lnTo>
                  <a:lnTo>
                    <a:pt x="334" y="228"/>
                  </a:lnTo>
                  <a:lnTo>
                    <a:pt x="334" y="227"/>
                  </a:lnTo>
                  <a:lnTo>
                    <a:pt x="332" y="227"/>
                  </a:lnTo>
                  <a:lnTo>
                    <a:pt x="330" y="227"/>
                  </a:lnTo>
                  <a:lnTo>
                    <a:pt x="330" y="228"/>
                  </a:lnTo>
                  <a:lnTo>
                    <a:pt x="330" y="228"/>
                  </a:lnTo>
                  <a:lnTo>
                    <a:pt x="330" y="230"/>
                  </a:lnTo>
                  <a:lnTo>
                    <a:pt x="328" y="230"/>
                  </a:lnTo>
                  <a:lnTo>
                    <a:pt x="327" y="230"/>
                  </a:lnTo>
                  <a:lnTo>
                    <a:pt x="327" y="232"/>
                  </a:lnTo>
                  <a:lnTo>
                    <a:pt x="327" y="233"/>
                  </a:lnTo>
                  <a:lnTo>
                    <a:pt x="325" y="233"/>
                  </a:lnTo>
                  <a:lnTo>
                    <a:pt x="325" y="235"/>
                  </a:lnTo>
                  <a:lnTo>
                    <a:pt x="325" y="233"/>
                  </a:lnTo>
                  <a:lnTo>
                    <a:pt x="323" y="232"/>
                  </a:lnTo>
                  <a:lnTo>
                    <a:pt x="323" y="233"/>
                  </a:lnTo>
                  <a:lnTo>
                    <a:pt x="320" y="233"/>
                  </a:lnTo>
                  <a:lnTo>
                    <a:pt x="320" y="235"/>
                  </a:lnTo>
                  <a:lnTo>
                    <a:pt x="320" y="237"/>
                  </a:lnTo>
                  <a:lnTo>
                    <a:pt x="320" y="239"/>
                  </a:lnTo>
                  <a:lnTo>
                    <a:pt x="318" y="239"/>
                  </a:lnTo>
                  <a:lnTo>
                    <a:pt x="318" y="237"/>
                  </a:lnTo>
                  <a:lnTo>
                    <a:pt x="315" y="237"/>
                  </a:lnTo>
                  <a:lnTo>
                    <a:pt x="315" y="235"/>
                  </a:lnTo>
                  <a:lnTo>
                    <a:pt x="313" y="235"/>
                  </a:lnTo>
                  <a:lnTo>
                    <a:pt x="313" y="237"/>
                  </a:lnTo>
                  <a:lnTo>
                    <a:pt x="313" y="239"/>
                  </a:lnTo>
                  <a:lnTo>
                    <a:pt x="311" y="239"/>
                  </a:lnTo>
                  <a:lnTo>
                    <a:pt x="311" y="239"/>
                  </a:lnTo>
                  <a:lnTo>
                    <a:pt x="311" y="237"/>
                  </a:lnTo>
                  <a:lnTo>
                    <a:pt x="311" y="235"/>
                  </a:lnTo>
                  <a:lnTo>
                    <a:pt x="311" y="233"/>
                  </a:lnTo>
                  <a:lnTo>
                    <a:pt x="311" y="232"/>
                  </a:lnTo>
                  <a:lnTo>
                    <a:pt x="311" y="232"/>
                  </a:lnTo>
                  <a:lnTo>
                    <a:pt x="311" y="230"/>
                  </a:lnTo>
                  <a:lnTo>
                    <a:pt x="311" y="228"/>
                  </a:lnTo>
                  <a:lnTo>
                    <a:pt x="311" y="227"/>
                  </a:lnTo>
                  <a:lnTo>
                    <a:pt x="310" y="227"/>
                  </a:lnTo>
                  <a:lnTo>
                    <a:pt x="310" y="228"/>
                  </a:lnTo>
                  <a:lnTo>
                    <a:pt x="308" y="228"/>
                  </a:lnTo>
                  <a:lnTo>
                    <a:pt x="308" y="230"/>
                  </a:lnTo>
                  <a:lnTo>
                    <a:pt x="306" y="230"/>
                  </a:lnTo>
                  <a:lnTo>
                    <a:pt x="304" y="230"/>
                  </a:lnTo>
                  <a:lnTo>
                    <a:pt x="303" y="230"/>
                  </a:lnTo>
                  <a:lnTo>
                    <a:pt x="301" y="230"/>
                  </a:lnTo>
                  <a:lnTo>
                    <a:pt x="299" y="230"/>
                  </a:lnTo>
                  <a:lnTo>
                    <a:pt x="296" y="230"/>
                  </a:lnTo>
                  <a:lnTo>
                    <a:pt x="296" y="232"/>
                  </a:lnTo>
                  <a:lnTo>
                    <a:pt x="296" y="235"/>
                  </a:lnTo>
                  <a:lnTo>
                    <a:pt x="296" y="237"/>
                  </a:lnTo>
                  <a:lnTo>
                    <a:pt x="296" y="239"/>
                  </a:lnTo>
                  <a:lnTo>
                    <a:pt x="294" y="240"/>
                  </a:lnTo>
                  <a:lnTo>
                    <a:pt x="292" y="242"/>
                  </a:lnTo>
                  <a:lnTo>
                    <a:pt x="292" y="242"/>
                  </a:lnTo>
                  <a:lnTo>
                    <a:pt x="291" y="242"/>
                  </a:lnTo>
                  <a:lnTo>
                    <a:pt x="291" y="242"/>
                  </a:lnTo>
                  <a:lnTo>
                    <a:pt x="291" y="240"/>
                  </a:lnTo>
                  <a:lnTo>
                    <a:pt x="291" y="239"/>
                  </a:lnTo>
                  <a:lnTo>
                    <a:pt x="289" y="237"/>
                  </a:lnTo>
                  <a:lnTo>
                    <a:pt x="287" y="237"/>
                  </a:lnTo>
                  <a:lnTo>
                    <a:pt x="287" y="239"/>
                  </a:lnTo>
                  <a:lnTo>
                    <a:pt x="287" y="240"/>
                  </a:lnTo>
                  <a:lnTo>
                    <a:pt x="287" y="242"/>
                  </a:lnTo>
                  <a:lnTo>
                    <a:pt x="285" y="242"/>
                  </a:lnTo>
                  <a:lnTo>
                    <a:pt x="284" y="242"/>
                  </a:lnTo>
                  <a:lnTo>
                    <a:pt x="284" y="240"/>
                  </a:lnTo>
                  <a:lnTo>
                    <a:pt x="282" y="239"/>
                  </a:lnTo>
                  <a:lnTo>
                    <a:pt x="282" y="237"/>
                  </a:lnTo>
                  <a:lnTo>
                    <a:pt x="284" y="235"/>
                  </a:lnTo>
                  <a:lnTo>
                    <a:pt x="282" y="235"/>
                  </a:lnTo>
                  <a:lnTo>
                    <a:pt x="282" y="233"/>
                  </a:lnTo>
                  <a:lnTo>
                    <a:pt x="280" y="233"/>
                  </a:lnTo>
                  <a:lnTo>
                    <a:pt x="280" y="232"/>
                  </a:lnTo>
                  <a:lnTo>
                    <a:pt x="280" y="233"/>
                  </a:lnTo>
                  <a:lnTo>
                    <a:pt x="279" y="233"/>
                  </a:lnTo>
                  <a:lnTo>
                    <a:pt x="277" y="235"/>
                  </a:lnTo>
                  <a:lnTo>
                    <a:pt x="273" y="233"/>
                  </a:lnTo>
                  <a:lnTo>
                    <a:pt x="272" y="233"/>
                  </a:lnTo>
                  <a:lnTo>
                    <a:pt x="270" y="233"/>
                  </a:lnTo>
                  <a:lnTo>
                    <a:pt x="268" y="232"/>
                  </a:lnTo>
                  <a:lnTo>
                    <a:pt x="268" y="230"/>
                  </a:lnTo>
                  <a:lnTo>
                    <a:pt x="267" y="230"/>
                  </a:lnTo>
                  <a:lnTo>
                    <a:pt x="267" y="232"/>
                  </a:lnTo>
                  <a:lnTo>
                    <a:pt x="267" y="233"/>
                  </a:lnTo>
                  <a:lnTo>
                    <a:pt x="265" y="233"/>
                  </a:lnTo>
                  <a:lnTo>
                    <a:pt x="267" y="233"/>
                  </a:lnTo>
                  <a:lnTo>
                    <a:pt x="265" y="233"/>
                  </a:lnTo>
                  <a:lnTo>
                    <a:pt x="265" y="235"/>
                  </a:lnTo>
                  <a:lnTo>
                    <a:pt x="265" y="237"/>
                  </a:lnTo>
                  <a:lnTo>
                    <a:pt x="265" y="239"/>
                  </a:lnTo>
                  <a:lnTo>
                    <a:pt x="267" y="239"/>
                  </a:lnTo>
                  <a:lnTo>
                    <a:pt x="265" y="239"/>
                  </a:lnTo>
                  <a:lnTo>
                    <a:pt x="265" y="240"/>
                  </a:lnTo>
                  <a:lnTo>
                    <a:pt x="263" y="240"/>
                  </a:lnTo>
                  <a:lnTo>
                    <a:pt x="261" y="239"/>
                  </a:lnTo>
                  <a:lnTo>
                    <a:pt x="261" y="237"/>
                  </a:lnTo>
                  <a:lnTo>
                    <a:pt x="261" y="235"/>
                  </a:lnTo>
                  <a:lnTo>
                    <a:pt x="260" y="233"/>
                  </a:lnTo>
                  <a:lnTo>
                    <a:pt x="258" y="232"/>
                  </a:lnTo>
                  <a:lnTo>
                    <a:pt x="256" y="232"/>
                  </a:lnTo>
                  <a:lnTo>
                    <a:pt x="256" y="230"/>
                  </a:lnTo>
                  <a:lnTo>
                    <a:pt x="253" y="230"/>
                  </a:lnTo>
                  <a:lnTo>
                    <a:pt x="251" y="230"/>
                  </a:lnTo>
                  <a:lnTo>
                    <a:pt x="251" y="230"/>
                  </a:lnTo>
                  <a:lnTo>
                    <a:pt x="249" y="230"/>
                  </a:lnTo>
                  <a:lnTo>
                    <a:pt x="249" y="232"/>
                  </a:lnTo>
                  <a:lnTo>
                    <a:pt x="249" y="233"/>
                  </a:lnTo>
                  <a:lnTo>
                    <a:pt x="251" y="233"/>
                  </a:lnTo>
                  <a:lnTo>
                    <a:pt x="251" y="237"/>
                  </a:lnTo>
                  <a:lnTo>
                    <a:pt x="251" y="239"/>
                  </a:lnTo>
                  <a:lnTo>
                    <a:pt x="251" y="239"/>
                  </a:lnTo>
                  <a:lnTo>
                    <a:pt x="249" y="239"/>
                  </a:lnTo>
                  <a:lnTo>
                    <a:pt x="249" y="237"/>
                  </a:lnTo>
                  <a:lnTo>
                    <a:pt x="248" y="237"/>
                  </a:lnTo>
                  <a:lnTo>
                    <a:pt x="244" y="239"/>
                  </a:lnTo>
                  <a:lnTo>
                    <a:pt x="241" y="239"/>
                  </a:lnTo>
                  <a:lnTo>
                    <a:pt x="241" y="237"/>
                  </a:lnTo>
                  <a:lnTo>
                    <a:pt x="239" y="237"/>
                  </a:lnTo>
                  <a:lnTo>
                    <a:pt x="237" y="239"/>
                  </a:lnTo>
                  <a:lnTo>
                    <a:pt x="237" y="240"/>
                  </a:lnTo>
                  <a:lnTo>
                    <a:pt x="237" y="242"/>
                  </a:lnTo>
                  <a:lnTo>
                    <a:pt x="236" y="242"/>
                  </a:lnTo>
                  <a:lnTo>
                    <a:pt x="236" y="240"/>
                  </a:lnTo>
                  <a:lnTo>
                    <a:pt x="236" y="240"/>
                  </a:lnTo>
                  <a:lnTo>
                    <a:pt x="236" y="239"/>
                  </a:lnTo>
                  <a:lnTo>
                    <a:pt x="234" y="239"/>
                  </a:lnTo>
                  <a:lnTo>
                    <a:pt x="232" y="239"/>
                  </a:lnTo>
                  <a:lnTo>
                    <a:pt x="230" y="239"/>
                  </a:lnTo>
                  <a:lnTo>
                    <a:pt x="227" y="239"/>
                  </a:lnTo>
                  <a:lnTo>
                    <a:pt x="225" y="239"/>
                  </a:lnTo>
                  <a:lnTo>
                    <a:pt x="224" y="239"/>
                  </a:lnTo>
                  <a:lnTo>
                    <a:pt x="222" y="237"/>
                  </a:lnTo>
                  <a:lnTo>
                    <a:pt x="222" y="233"/>
                  </a:lnTo>
                  <a:lnTo>
                    <a:pt x="220" y="233"/>
                  </a:lnTo>
                  <a:lnTo>
                    <a:pt x="220" y="237"/>
                  </a:lnTo>
                  <a:lnTo>
                    <a:pt x="218" y="239"/>
                  </a:lnTo>
                  <a:lnTo>
                    <a:pt x="217" y="239"/>
                  </a:lnTo>
                  <a:lnTo>
                    <a:pt x="215" y="239"/>
                  </a:lnTo>
                  <a:lnTo>
                    <a:pt x="213" y="237"/>
                  </a:lnTo>
                  <a:lnTo>
                    <a:pt x="213" y="239"/>
                  </a:lnTo>
                  <a:lnTo>
                    <a:pt x="211" y="239"/>
                  </a:lnTo>
                  <a:lnTo>
                    <a:pt x="211" y="237"/>
                  </a:lnTo>
                  <a:lnTo>
                    <a:pt x="211" y="235"/>
                  </a:lnTo>
                  <a:lnTo>
                    <a:pt x="213" y="233"/>
                  </a:lnTo>
                  <a:lnTo>
                    <a:pt x="213" y="232"/>
                  </a:lnTo>
                  <a:lnTo>
                    <a:pt x="215" y="230"/>
                  </a:lnTo>
                  <a:lnTo>
                    <a:pt x="213" y="228"/>
                  </a:lnTo>
                  <a:lnTo>
                    <a:pt x="211" y="228"/>
                  </a:lnTo>
                  <a:lnTo>
                    <a:pt x="211" y="228"/>
                  </a:lnTo>
                  <a:lnTo>
                    <a:pt x="211" y="230"/>
                  </a:lnTo>
                  <a:lnTo>
                    <a:pt x="210" y="230"/>
                  </a:lnTo>
                  <a:lnTo>
                    <a:pt x="208" y="230"/>
                  </a:lnTo>
                  <a:lnTo>
                    <a:pt x="205" y="232"/>
                  </a:lnTo>
                  <a:lnTo>
                    <a:pt x="203" y="232"/>
                  </a:lnTo>
                  <a:lnTo>
                    <a:pt x="193" y="233"/>
                  </a:lnTo>
                  <a:lnTo>
                    <a:pt x="191" y="233"/>
                  </a:lnTo>
                  <a:lnTo>
                    <a:pt x="191" y="233"/>
                  </a:lnTo>
                  <a:lnTo>
                    <a:pt x="189" y="233"/>
                  </a:lnTo>
                  <a:lnTo>
                    <a:pt x="187" y="233"/>
                  </a:lnTo>
                  <a:lnTo>
                    <a:pt x="184" y="233"/>
                  </a:lnTo>
                  <a:lnTo>
                    <a:pt x="181" y="233"/>
                  </a:lnTo>
                  <a:lnTo>
                    <a:pt x="177" y="233"/>
                  </a:lnTo>
                  <a:lnTo>
                    <a:pt x="175" y="233"/>
                  </a:lnTo>
                  <a:lnTo>
                    <a:pt x="175" y="233"/>
                  </a:lnTo>
                  <a:lnTo>
                    <a:pt x="170" y="235"/>
                  </a:lnTo>
                  <a:lnTo>
                    <a:pt x="167" y="235"/>
                  </a:lnTo>
                  <a:lnTo>
                    <a:pt x="165" y="235"/>
                  </a:lnTo>
                  <a:lnTo>
                    <a:pt x="163" y="235"/>
                  </a:lnTo>
                  <a:lnTo>
                    <a:pt x="158" y="235"/>
                  </a:lnTo>
                  <a:lnTo>
                    <a:pt x="136" y="235"/>
                  </a:lnTo>
                  <a:lnTo>
                    <a:pt x="132" y="237"/>
                  </a:lnTo>
                  <a:lnTo>
                    <a:pt x="129" y="237"/>
                  </a:lnTo>
                  <a:lnTo>
                    <a:pt x="124" y="237"/>
                  </a:lnTo>
                  <a:lnTo>
                    <a:pt x="122" y="237"/>
                  </a:lnTo>
                  <a:lnTo>
                    <a:pt x="115" y="237"/>
                  </a:lnTo>
                  <a:lnTo>
                    <a:pt x="108" y="237"/>
                  </a:lnTo>
                  <a:lnTo>
                    <a:pt x="107" y="237"/>
                  </a:lnTo>
                  <a:lnTo>
                    <a:pt x="100" y="237"/>
                  </a:lnTo>
                  <a:lnTo>
                    <a:pt x="96" y="239"/>
                  </a:lnTo>
                  <a:lnTo>
                    <a:pt x="95" y="239"/>
                  </a:lnTo>
                  <a:lnTo>
                    <a:pt x="93" y="239"/>
                  </a:lnTo>
                  <a:lnTo>
                    <a:pt x="89" y="239"/>
                  </a:lnTo>
                  <a:lnTo>
                    <a:pt x="81" y="239"/>
                  </a:lnTo>
                  <a:lnTo>
                    <a:pt x="72" y="239"/>
                  </a:lnTo>
                  <a:lnTo>
                    <a:pt x="70" y="239"/>
                  </a:lnTo>
                  <a:lnTo>
                    <a:pt x="69" y="239"/>
                  </a:lnTo>
                  <a:lnTo>
                    <a:pt x="65" y="239"/>
                  </a:lnTo>
                  <a:lnTo>
                    <a:pt x="57" y="239"/>
                  </a:lnTo>
                  <a:lnTo>
                    <a:pt x="46" y="240"/>
                  </a:lnTo>
                  <a:lnTo>
                    <a:pt x="34" y="240"/>
                  </a:lnTo>
                  <a:lnTo>
                    <a:pt x="33" y="240"/>
                  </a:lnTo>
                  <a:lnTo>
                    <a:pt x="29" y="240"/>
                  </a:lnTo>
                  <a:lnTo>
                    <a:pt x="24" y="240"/>
                  </a:lnTo>
                  <a:lnTo>
                    <a:pt x="22" y="240"/>
                  </a:lnTo>
                  <a:lnTo>
                    <a:pt x="14" y="242"/>
                  </a:lnTo>
                  <a:lnTo>
                    <a:pt x="5" y="242"/>
                  </a:lnTo>
                  <a:lnTo>
                    <a:pt x="0" y="242"/>
                  </a:lnTo>
                  <a:lnTo>
                    <a:pt x="0" y="237"/>
                  </a:lnTo>
                  <a:lnTo>
                    <a:pt x="0" y="235"/>
                  </a:lnTo>
                  <a:lnTo>
                    <a:pt x="0" y="228"/>
                  </a:lnTo>
                  <a:lnTo>
                    <a:pt x="0" y="220"/>
                  </a:lnTo>
                  <a:lnTo>
                    <a:pt x="0" y="216"/>
                  </a:lnTo>
                  <a:lnTo>
                    <a:pt x="0" y="209"/>
                  </a:lnTo>
                  <a:lnTo>
                    <a:pt x="0" y="208"/>
                  </a:lnTo>
                  <a:lnTo>
                    <a:pt x="5" y="201"/>
                  </a:lnTo>
                  <a:lnTo>
                    <a:pt x="12" y="194"/>
                  </a:lnTo>
                  <a:lnTo>
                    <a:pt x="19" y="187"/>
                  </a:lnTo>
                  <a:lnTo>
                    <a:pt x="22" y="184"/>
                  </a:lnTo>
                  <a:lnTo>
                    <a:pt x="22" y="182"/>
                  </a:lnTo>
                  <a:lnTo>
                    <a:pt x="27" y="172"/>
                  </a:lnTo>
                  <a:lnTo>
                    <a:pt x="33" y="165"/>
                  </a:lnTo>
                  <a:lnTo>
                    <a:pt x="36" y="156"/>
                  </a:lnTo>
                  <a:lnTo>
                    <a:pt x="39" y="151"/>
                  </a:lnTo>
                  <a:lnTo>
                    <a:pt x="41" y="146"/>
                  </a:lnTo>
                  <a:lnTo>
                    <a:pt x="43" y="142"/>
                  </a:lnTo>
                  <a:lnTo>
                    <a:pt x="46" y="137"/>
                  </a:lnTo>
                  <a:lnTo>
                    <a:pt x="48" y="135"/>
                  </a:lnTo>
                  <a:lnTo>
                    <a:pt x="53" y="125"/>
                  </a:lnTo>
                  <a:lnTo>
                    <a:pt x="55" y="122"/>
                  </a:lnTo>
                  <a:lnTo>
                    <a:pt x="57" y="122"/>
                  </a:lnTo>
                  <a:lnTo>
                    <a:pt x="57" y="118"/>
                  </a:lnTo>
                  <a:lnTo>
                    <a:pt x="58" y="115"/>
                  </a:lnTo>
                  <a:lnTo>
                    <a:pt x="60" y="111"/>
                  </a:lnTo>
                  <a:lnTo>
                    <a:pt x="64" y="106"/>
                  </a:lnTo>
                  <a:lnTo>
                    <a:pt x="65" y="106"/>
                  </a:lnTo>
                  <a:lnTo>
                    <a:pt x="65" y="104"/>
                  </a:lnTo>
                  <a:lnTo>
                    <a:pt x="69" y="99"/>
                  </a:lnTo>
                  <a:lnTo>
                    <a:pt x="69" y="98"/>
                  </a:lnTo>
                  <a:lnTo>
                    <a:pt x="76" y="82"/>
                  </a:lnTo>
                  <a:lnTo>
                    <a:pt x="79" y="77"/>
                  </a:lnTo>
                  <a:lnTo>
                    <a:pt x="81" y="77"/>
                  </a:lnTo>
                  <a:lnTo>
                    <a:pt x="84" y="70"/>
                  </a:lnTo>
                  <a:lnTo>
                    <a:pt x="84" y="67"/>
                  </a:lnTo>
                  <a:lnTo>
                    <a:pt x="84" y="65"/>
                  </a:lnTo>
                  <a:lnTo>
                    <a:pt x="89" y="61"/>
                  </a:lnTo>
                  <a:lnTo>
                    <a:pt x="93" y="56"/>
                  </a:lnTo>
                  <a:lnTo>
                    <a:pt x="96" y="53"/>
                  </a:lnTo>
                  <a:lnTo>
                    <a:pt x="98" y="51"/>
                  </a:lnTo>
                  <a:lnTo>
                    <a:pt x="100" y="48"/>
                  </a:lnTo>
                  <a:lnTo>
                    <a:pt x="108" y="39"/>
                  </a:lnTo>
                  <a:lnTo>
                    <a:pt x="115" y="32"/>
                  </a:lnTo>
                  <a:lnTo>
                    <a:pt x="115" y="30"/>
                  </a:lnTo>
                  <a:lnTo>
                    <a:pt x="119" y="27"/>
                  </a:lnTo>
                  <a:lnTo>
                    <a:pt x="119" y="25"/>
                  </a:lnTo>
                  <a:lnTo>
                    <a:pt x="120" y="25"/>
                  </a:lnTo>
                  <a:lnTo>
                    <a:pt x="120" y="24"/>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8" name="Freeform 217"/>
            <p:cNvSpPr>
              <a:spLocks/>
            </p:cNvSpPr>
            <p:nvPr/>
          </p:nvSpPr>
          <p:spPr bwMode="auto">
            <a:xfrm>
              <a:off x="7511346" y="4468606"/>
              <a:ext cx="401638" cy="406400"/>
            </a:xfrm>
            <a:custGeom>
              <a:avLst/>
              <a:gdLst/>
              <a:ahLst/>
              <a:cxnLst>
                <a:cxn ang="0">
                  <a:pos x="244" y="12"/>
                </a:cxn>
                <a:cxn ang="0">
                  <a:pos x="244" y="34"/>
                </a:cxn>
                <a:cxn ang="0">
                  <a:pos x="251" y="72"/>
                </a:cxn>
                <a:cxn ang="0">
                  <a:pos x="251" y="87"/>
                </a:cxn>
                <a:cxn ang="0">
                  <a:pos x="251" y="110"/>
                </a:cxn>
                <a:cxn ang="0">
                  <a:pos x="249" y="120"/>
                </a:cxn>
                <a:cxn ang="0">
                  <a:pos x="251" y="134"/>
                </a:cxn>
                <a:cxn ang="0">
                  <a:pos x="251" y="146"/>
                </a:cxn>
                <a:cxn ang="0">
                  <a:pos x="251" y="168"/>
                </a:cxn>
                <a:cxn ang="0">
                  <a:pos x="251" y="185"/>
                </a:cxn>
                <a:cxn ang="0">
                  <a:pos x="251" y="203"/>
                </a:cxn>
                <a:cxn ang="0">
                  <a:pos x="251" y="216"/>
                </a:cxn>
                <a:cxn ang="0">
                  <a:pos x="253" y="230"/>
                </a:cxn>
                <a:cxn ang="0">
                  <a:pos x="253" y="246"/>
                </a:cxn>
                <a:cxn ang="0">
                  <a:pos x="230" y="253"/>
                </a:cxn>
                <a:cxn ang="0">
                  <a:pos x="208" y="251"/>
                </a:cxn>
                <a:cxn ang="0">
                  <a:pos x="196" y="251"/>
                </a:cxn>
                <a:cxn ang="0">
                  <a:pos x="179" y="251"/>
                </a:cxn>
                <a:cxn ang="0">
                  <a:pos x="168" y="253"/>
                </a:cxn>
                <a:cxn ang="0">
                  <a:pos x="153" y="253"/>
                </a:cxn>
                <a:cxn ang="0">
                  <a:pos x="132" y="254"/>
                </a:cxn>
                <a:cxn ang="0">
                  <a:pos x="111" y="254"/>
                </a:cxn>
                <a:cxn ang="0">
                  <a:pos x="98" y="254"/>
                </a:cxn>
                <a:cxn ang="0">
                  <a:pos x="74" y="254"/>
                </a:cxn>
                <a:cxn ang="0">
                  <a:pos x="67" y="254"/>
                </a:cxn>
                <a:cxn ang="0">
                  <a:pos x="58" y="254"/>
                </a:cxn>
                <a:cxn ang="0">
                  <a:pos x="39" y="256"/>
                </a:cxn>
                <a:cxn ang="0">
                  <a:pos x="22" y="256"/>
                </a:cxn>
                <a:cxn ang="0">
                  <a:pos x="12" y="256"/>
                </a:cxn>
                <a:cxn ang="0">
                  <a:pos x="3" y="242"/>
                </a:cxn>
                <a:cxn ang="0">
                  <a:pos x="3" y="228"/>
                </a:cxn>
                <a:cxn ang="0">
                  <a:pos x="3" y="210"/>
                </a:cxn>
                <a:cxn ang="0">
                  <a:pos x="3" y="187"/>
                </a:cxn>
                <a:cxn ang="0">
                  <a:pos x="3" y="156"/>
                </a:cxn>
                <a:cxn ang="0">
                  <a:pos x="1" y="106"/>
                </a:cxn>
                <a:cxn ang="0">
                  <a:pos x="1" y="84"/>
                </a:cxn>
                <a:cxn ang="0">
                  <a:pos x="1" y="74"/>
                </a:cxn>
                <a:cxn ang="0">
                  <a:pos x="0" y="62"/>
                </a:cxn>
                <a:cxn ang="0">
                  <a:pos x="8" y="39"/>
                </a:cxn>
                <a:cxn ang="0">
                  <a:pos x="7" y="22"/>
                </a:cxn>
                <a:cxn ang="0">
                  <a:pos x="7" y="15"/>
                </a:cxn>
                <a:cxn ang="0">
                  <a:pos x="10" y="5"/>
                </a:cxn>
                <a:cxn ang="0">
                  <a:pos x="27" y="5"/>
                </a:cxn>
                <a:cxn ang="0">
                  <a:pos x="56" y="5"/>
                </a:cxn>
                <a:cxn ang="0">
                  <a:pos x="75" y="3"/>
                </a:cxn>
                <a:cxn ang="0">
                  <a:pos x="84" y="3"/>
                </a:cxn>
                <a:cxn ang="0">
                  <a:pos x="93" y="3"/>
                </a:cxn>
                <a:cxn ang="0">
                  <a:pos x="103" y="3"/>
                </a:cxn>
                <a:cxn ang="0">
                  <a:pos x="118" y="3"/>
                </a:cxn>
                <a:cxn ang="0">
                  <a:pos x="129" y="3"/>
                </a:cxn>
                <a:cxn ang="0">
                  <a:pos x="137" y="3"/>
                </a:cxn>
                <a:cxn ang="0">
                  <a:pos x="151" y="3"/>
                </a:cxn>
                <a:cxn ang="0">
                  <a:pos x="163" y="1"/>
                </a:cxn>
                <a:cxn ang="0">
                  <a:pos x="180" y="1"/>
                </a:cxn>
                <a:cxn ang="0">
                  <a:pos x="197" y="1"/>
                </a:cxn>
                <a:cxn ang="0">
                  <a:pos x="211" y="1"/>
                </a:cxn>
              </a:cxnLst>
              <a:rect l="0" t="0" r="r" b="b"/>
              <a:pathLst>
                <a:path w="253" h="256">
                  <a:moveTo>
                    <a:pt x="244" y="0"/>
                  </a:moveTo>
                  <a:lnTo>
                    <a:pt x="244" y="1"/>
                  </a:lnTo>
                  <a:lnTo>
                    <a:pt x="244" y="8"/>
                  </a:lnTo>
                  <a:lnTo>
                    <a:pt x="244" y="12"/>
                  </a:lnTo>
                  <a:lnTo>
                    <a:pt x="244" y="20"/>
                  </a:lnTo>
                  <a:lnTo>
                    <a:pt x="244" y="27"/>
                  </a:lnTo>
                  <a:lnTo>
                    <a:pt x="244" y="29"/>
                  </a:lnTo>
                  <a:lnTo>
                    <a:pt x="244" y="34"/>
                  </a:lnTo>
                  <a:lnTo>
                    <a:pt x="246" y="34"/>
                  </a:lnTo>
                  <a:lnTo>
                    <a:pt x="247" y="48"/>
                  </a:lnTo>
                  <a:lnTo>
                    <a:pt x="249" y="63"/>
                  </a:lnTo>
                  <a:lnTo>
                    <a:pt x="251" y="72"/>
                  </a:lnTo>
                  <a:lnTo>
                    <a:pt x="251" y="77"/>
                  </a:lnTo>
                  <a:lnTo>
                    <a:pt x="251" y="82"/>
                  </a:lnTo>
                  <a:lnTo>
                    <a:pt x="251" y="84"/>
                  </a:lnTo>
                  <a:lnTo>
                    <a:pt x="251" y="87"/>
                  </a:lnTo>
                  <a:lnTo>
                    <a:pt x="251" y="93"/>
                  </a:lnTo>
                  <a:lnTo>
                    <a:pt x="251" y="94"/>
                  </a:lnTo>
                  <a:lnTo>
                    <a:pt x="251" y="108"/>
                  </a:lnTo>
                  <a:lnTo>
                    <a:pt x="251" y="110"/>
                  </a:lnTo>
                  <a:lnTo>
                    <a:pt x="249" y="110"/>
                  </a:lnTo>
                  <a:lnTo>
                    <a:pt x="249" y="115"/>
                  </a:lnTo>
                  <a:lnTo>
                    <a:pt x="249" y="118"/>
                  </a:lnTo>
                  <a:lnTo>
                    <a:pt x="249" y="120"/>
                  </a:lnTo>
                  <a:lnTo>
                    <a:pt x="249" y="124"/>
                  </a:lnTo>
                  <a:lnTo>
                    <a:pt x="249" y="125"/>
                  </a:lnTo>
                  <a:lnTo>
                    <a:pt x="251" y="132"/>
                  </a:lnTo>
                  <a:lnTo>
                    <a:pt x="251" y="134"/>
                  </a:lnTo>
                  <a:lnTo>
                    <a:pt x="251" y="136"/>
                  </a:lnTo>
                  <a:lnTo>
                    <a:pt x="251" y="137"/>
                  </a:lnTo>
                  <a:lnTo>
                    <a:pt x="251" y="141"/>
                  </a:lnTo>
                  <a:lnTo>
                    <a:pt x="251" y="146"/>
                  </a:lnTo>
                  <a:lnTo>
                    <a:pt x="251" y="153"/>
                  </a:lnTo>
                  <a:lnTo>
                    <a:pt x="251" y="156"/>
                  </a:lnTo>
                  <a:lnTo>
                    <a:pt x="251" y="165"/>
                  </a:lnTo>
                  <a:lnTo>
                    <a:pt x="251" y="168"/>
                  </a:lnTo>
                  <a:lnTo>
                    <a:pt x="251" y="170"/>
                  </a:lnTo>
                  <a:lnTo>
                    <a:pt x="251" y="180"/>
                  </a:lnTo>
                  <a:lnTo>
                    <a:pt x="251" y="182"/>
                  </a:lnTo>
                  <a:lnTo>
                    <a:pt x="251" y="185"/>
                  </a:lnTo>
                  <a:lnTo>
                    <a:pt x="251" y="187"/>
                  </a:lnTo>
                  <a:lnTo>
                    <a:pt x="251" y="196"/>
                  </a:lnTo>
                  <a:lnTo>
                    <a:pt x="251" y="201"/>
                  </a:lnTo>
                  <a:lnTo>
                    <a:pt x="251" y="203"/>
                  </a:lnTo>
                  <a:lnTo>
                    <a:pt x="251" y="208"/>
                  </a:lnTo>
                  <a:lnTo>
                    <a:pt x="251" y="211"/>
                  </a:lnTo>
                  <a:lnTo>
                    <a:pt x="251" y="213"/>
                  </a:lnTo>
                  <a:lnTo>
                    <a:pt x="251" y="216"/>
                  </a:lnTo>
                  <a:lnTo>
                    <a:pt x="251" y="218"/>
                  </a:lnTo>
                  <a:lnTo>
                    <a:pt x="253" y="220"/>
                  </a:lnTo>
                  <a:lnTo>
                    <a:pt x="253" y="225"/>
                  </a:lnTo>
                  <a:lnTo>
                    <a:pt x="253" y="230"/>
                  </a:lnTo>
                  <a:lnTo>
                    <a:pt x="253" y="234"/>
                  </a:lnTo>
                  <a:lnTo>
                    <a:pt x="253" y="241"/>
                  </a:lnTo>
                  <a:lnTo>
                    <a:pt x="253" y="244"/>
                  </a:lnTo>
                  <a:lnTo>
                    <a:pt x="253" y="246"/>
                  </a:lnTo>
                  <a:lnTo>
                    <a:pt x="253" y="249"/>
                  </a:lnTo>
                  <a:lnTo>
                    <a:pt x="253" y="253"/>
                  </a:lnTo>
                  <a:lnTo>
                    <a:pt x="235" y="253"/>
                  </a:lnTo>
                  <a:lnTo>
                    <a:pt x="230" y="253"/>
                  </a:lnTo>
                  <a:lnTo>
                    <a:pt x="220" y="253"/>
                  </a:lnTo>
                  <a:lnTo>
                    <a:pt x="218" y="253"/>
                  </a:lnTo>
                  <a:lnTo>
                    <a:pt x="210" y="251"/>
                  </a:lnTo>
                  <a:lnTo>
                    <a:pt x="208" y="251"/>
                  </a:lnTo>
                  <a:lnTo>
                    <a:pt x="208" y="251"/>
                  </a:lnTo>
                  <a:lnTo>
                    <a:pt x="206" y="251"/>
                  </a:lnTo>
                  <a:lnTo>
                    <a:pt x="204" y="251"/>
                  </a:lnTo>
                  <a:lnTo>
                    <a:pt x="196" y="251"/>
                  </a:lnTo>
                  <a:lnTo>
                    <a:pt x="191" y="251"/>
                  </a:lnTo>
                  <a:lnTo>
                    <a:pt x="189" y="251"/>
                  </a:lnTo>
                  <a:lnTo>
                    <a:pt x="184" y="251"/>
                  </a:lnTo>
                  <a:lnTo>
                    <a:pt x="179" y="251"/>
                  </a:lnTo>
                  <a:lnTo>
                    <a:pt x="175" y="251"/>
                  </a:lnTo>
                  <a:lnTo>
                    <a:pt x="173" y="251"/>
                  </a:lnTo>
                  <a:lnTo>
                    <a:pt x="170" y="253"/>
                  </a:lnTo>
                  <a:lnTo>
                    <a:pt x="168" y="253"/>
                  </a:lnTo>
                  <a:lnTo>
                    <a:pt x="167" y="253"/>
                  </a:lnTo>
                  <a:lnTo>
                    <a:pt x="161" y="253"/>
                  </a:lnTo>
                  <a:lnTo>
                    <a:pt x="156" y="253"/>
                  </a:lnTo>
                  <a:lnTo>
                    <a:pt x="153" y="253"/>
                  </a:lnTo>
                  <a:lnTo>
                    <a:pt x="151" y="253"/>
                  </a:lnTo>
                  <a:lnTo>
                    <a:pt x="144" y="253"/>
                  </a:lnTo>
                  <a:lnTo>
                    <a:pt x="141" y="253"/>
                  </a:lnTo>
                  <a:lnTo>
                    <a:pt x="132" y="254"/>
                  </a:lnTo>
                  <a:lnTo>
                    <a:pt x="130" y="254"/>
                  </a:lnTo>
                  <a:lnTo>
                    <a:pt x="129" y="254"/>
                  </a:lnTo>
                  <a:lnTo>
                    <a:pt x="122" y="254"/>
                  </a:lnTo>
                  <a:lnTo>
                    <a:pt x="111" y="254"/>
                  </a:lnTo>
                  <a:lnTo>
                    <a:pt x="108" y="254"/>
                  </a:lnTo>
                  <a:lnTo>
                    <a:pt x="106" y="254"/>
                  </a:lnTo>
                  <a:lnTo>
                    <a:pt x="99" y="254"/>
                  </a:lnTo>
                  <a:lnTo>
                    <a:pt x="98" y="254"/>
                  </a:lnTo>
                  <a:lnTo>
                    <a:pt x="89" y="254"/>
                  </a:lnTo>
                  <a:lnTo>
                    <a:pt x="86" y="254"/>
                  </a:lnTo>
                  <a:lnTo>
                    <a:pt x="77" y="254"/>
                  </a:lnTo>
                  <a:lnTo>
                    <a:pt x="74" y="254"/>
                  </a:lnTo>
                  <a:lnTo>
                    <a:pt x="72" y="254"/>
                  </a:lnTo>
                  <a:lnTo>
                    <a:pt x="72" y="254"/>
                  </a:lnTo>
                  <a:lnTo>
                    <a:pt x="68" y="254"/>
                  </a:lnTo>
                  <a:lnTo>
                    <a:pt x="67" y="254"/>
                  </a:lnTo>
                  <a:lnTo>
                    <a:pt x="65" y="254"/>
                  </a:lnTo>
                  <a:lnTo>
                    <a:pt x="63" y="254"/>
                  </a:lnTo>
                  <a:lnTo>
                    <a:pt x="62" y="254"/>
                  </a:lnTo>
                  <a:lnTo>
                    <a:pt x="58" y="254"/>
                  </a:lnTo>
                  <a:lnTo>
                    <a:pt x="53" y="254"/>
                  </a:lnTo>
                  <a:lnTo>
                    <a:pt x="46" y="256"/>
                  </a:lnTo>
                  <a:lnTo>
                    <a:pt x="43" y="256"/>
                  </a:lnTo>
                  <a:lnTo>
                    <a:pt x="39" y="256"/>
                  </a:lnTo>
                  <a:lnTo>
                    <a:pt x="34" y="256"/>
                  </a:lnTo>
                  <a:lnTo>
                    <a:pt x="27" y="256"/>
                  </a:lnTo>
                  <a:lnTo>
                    <a:pt x="24" y="256"/>
                  </a:lnTo>
                  <a:lnTo>
                    <a:pt x="22" y="256"/>
                  </a:lnTo>
                  <a:lnTo>
                    <a:pt x="20" y="256"/>
                  </a:lnTo>
                  <a:lnTo>
                    <a:pt x="17" y="256"/>
                  </a:lnTo>
                  <a:lnTo>
                    <a:pt x="15" y="256"/>
                  </a:lnTo>
                  <a:lnTo>
                    <a:pt x="12" y="256"/>
                  </a:lnTo>
                  <a:lnTo>
                    <a:pt x="8" y="256"/>
                  </a:lnTo>
                  <a:lnTo>
                    <a:pt x="3" y="256"/>
                  </a:lnTo>
                  <a:lnTo>
                    <a:pt x="3" y="246"/>
                  </a:lnTo>
                  <a:lnTo>
                    <a:pt x="3" y="242"/>
                  </a:lnTo>
                  <a:lnTo>
                    <a:pt x="3" y="234"/>
                  </a:lnTo>
                  <a:lnTo>
                    <a:pt x="3" y="232"/>
                  </a:lnTo>
                  <a:lnTo>
                    <a:pt x="3" y="230"/>
                  </a:lnTo>
                  <a:lnTo>
                    <a:pt x="3" y="228"/>
                  </a:lnTo>
                  <a:lnTo>
                    <a:pt x="3" y="227"/>
                  </a:lnTo>
                  <a:lnTo>
                    <a:pt x="3" y="222"/>
                  </a:lnTo>
                  <a:lnTo>
                    <a:pt x="3" y="211"/>
                  </a:lnTo>
                  <a:lnTo>
                    <a:pt x="3" y="210"/>
                  </a:lnTo>
                  <a:lnTo>
                    <a:pt x="3" y="206"/>
                  </a:lnTo>
                  <a:lnTo>
                    <a:pt x="3" y="204"/>
                  </a:lnTo>
                  <a:lnTo>
                    <a:pt x="3" y="194"/>
                  </a:lnTo>
                  <a:lnTo>
                    <a:pt x="3" y="187"/>
                  </a:lnTo>
                  <a:lnTo>
                    <a:pt x="3" y="185"/>
                  </a:lnTo>
                  <a:lnTo>
                    <a:pt x="3" y="182"/>
                  </a:lnTo>
                  <a:lnTo>
                    <a:pt x="3" y="170"/>
                  </a:lnTo>
                  <a:lnTo>
                    <a:pt x="3" y="156"/>
                  </a:lnTo>
                  <a:lnTo>
                    <a:pt x="3" y="149"/>
                  </a:lnTo>
                  <a:lnTo>
                    <a:pt x="1" y="115"/>
                  </a:lnTo>
                  <a:lnTo>
                    <a:pt x="1" y="108"/>
                  </a:lnTo>
                  <a:lnTo>
                    <a:pt x="1" y="106"/>
                  </a:lnTo>
                  <a:lnTo>
                    <a:pt x="1" y="96"/>
                  </a:lnTo>
                  <a:lnTo>
                    <a:pt x="1" y="94"/>
                  </a:lnTo>
                  <a:lnTo>
                    <a:pt x="1" y="87"/>
                  </a:lnTo>
                  <a:lnTo>
                    <a:pt x="1" y="84"/>
                  </a:lnTo>
                  <a:lnTo>
                    <a:pt x="1" y="82"/>
                  </a:lnTo>
                  <a:lnTo>
                    <a:pt x="1" y="79"/>
                  </a:lnTo>
                  <a:lnTo>
                    <a:pt x="1" y="77"/>
                  </a:lnTo>
                  <a:lnTo>
                    <a:pt x="1" y="74"/>
                  </a:lnTo>
                  <a:lnTo>
                    <a:pt x="1" y="72"/>
                  </a:lnTo>
                  <a:lnTo>
                    <a:pt x="0" y="70"/>
                  </a:lnTo>
                  <a:lnTo>
                    <a:pt x="0" y="63"/>
                  </a:lnTo>
                  <a:lnTo>
                    <a:pt x="0" y="62"/>
                  </a:lnTo>
                  <a:lnTo>
                    <a:pt x="0" y="41"/>
                  </a:lnTo>
                  <a:lnTo>
                    <a:pt x="0" y="39"/>
                  </a:lnTo>
                  <a:lnTo>
                    <a:pt x="7" y="39"/>
                  </a:lnTo>
                  <a:lnTo>
                    <a:pt x="8" y="39"/>
                  </a:lnTo>
                  <a:lnTo>
                    <a:pt x="8" y="38"/>
                  </a:lnTo>
                  <a:lnTo>
                    <a:pt x="7" y="36"/>
                  </a:lnTo>
                  <a:lnTo>
                    <a:pt x="7" y="32"/>
                  </a:lnTo>
                  <a:lnTo>
                    <a:pt x="7" y="22"/>
                  </a:lnTo>
                  <a:lnTo>
                    <a:pt x="7" y="20"/>
                  </a:lnTo>
                  <a:lnTo>
                    <a:pt x="7" y="19"/>
                  </a:lnTo>
                  <a:lnTo>
                    <a:pt x="7" y="17"/>
                  </a:lnTo>
                  <a:lnTo>
                    <a:pt x="7" y="15"/>
                  </a:lnTo>
                  <a:lnTo>
                    <a:pt x="7" y="13"/>
                  </a:lnTo>
                  <a:lnTo>
                    <a:pt x="7" y="5"/>
                  </a:lnTo>
                  <a:lnTo>
                    <a:pt x="8" y="5"/>
                  </a:lnTo>
                  <a:lnTo>
                    <a:pt x="10" y="5"/>
                  </a:lnTo>
                  <a:lnTo>
                    <a:pt x="17" y="5"/>
                  </a:lnTo>
                  <a:lnTo>
                    <a:pt x="19" y="5"/>
                  </a:lnTo>
                  <a:lnTo>
                    <a:pt x="27" y="5"/>
                  </a:lnTo>
                  <a:lnTo>
                    <a:pt x="27" y="5"/>
                  </a:lnTo>
                  <a:lnTo>
                    <a:pt x="34" y="5"/>
                  </a:lnTo>
                  <a:lnTo>
                    <a:pt x="36" y="5"/>
                  </a:lnTo>
                  <a:lnTo>
                    <a:pt x="50" y="5"/>
                  </a:lnTo>
                  <a:lnTo>
                    <a:pt x="56" y="5"/>
                  </a:lnTo>
                  <a:lnTo>
                    <a:pt x="63" y="5"/>
                  </a:lnTo>
                  <a:lnTo>
                    <a:pt x="65" y="5"/>
                  </a:lnTo>
                  <a:lnTo>
                    <a:pt x="67" y="5"/>
                  </a:lnTo>
                  <a:lnTo>
                    <a:pt x="75" y="3"/>
                  </a:lnTo>
                  <a:lnTo>
                    <a:pt x="77" y="3"/>
                  </a:lnTo>
                  <a:lnTo>
                    <a:pt x="81" y="3"/>
                  </a:lnTo>
                  <a:lnTo>
                    <a:pt x="82" y="3"/>
                  </a:lnTo>
                  <a:lnTo>
                    <a:pt x="84" y="3"/>
                  </a:lnTo>
                  <a:lnTo>
                    <a:pt x="87" y="3"/>
                  </a:lnTo>
                  <a:lnTo>
                    <a:pt x="89" y="3"/>
                  </a:lnTo>
                  <a:lnTo>
                    <a:pt x="91" y="3"/>
                  </a:lnTo>
                  <a:lnTo>
                    <a:pt x="93" y="3"/>
                  </a:lnTo>
                  <a:lnTo>
                    <a:pt x="94" y="3"/>
                  </a:lnTo>
                  <a:lnTo>
                    <a:pt x="98" y="3"/>
                  </a:lnTo>
                  <a:lnTo>
                    <a:pt x="99" y="3"/>
                  </a:lnTo>
                  <a:lnTo>
                    <a:pt x="103" y="3"/>
                  </a:lnTo>
                  <a:lnTo>
                    <a:pt x="103" y="3"/>
                  </a:lnTo>
                  <a:lnTo>
                    <a:pt x="113" y="3"/>
                  </a:lnTo>
                  <a:lnTo>
                    <a:pt x="117" y="3"/>
                  </a:lnTo>
                  <a:lnTo>
                    <a:pt x="118" y="3"/>
                  </a:lnTo>
                  <a:lnTo>
                    <a:pt x="118" y="3"/>
                  </a:lnTo>
                  <a:lnTo>
                    <a:pt x="120" y="3"/>
                  </a:lnTo>
                  <a:lnTo>
                    <a:pt x="125" y="3"/>
                  </a:lnTo>
                  <a:lnTo>
                    <a:pt x="129" y="3"/>
                  </a:lnTo>
                  <a:lnTo>
                    <a:pt x="130" y="3"/>
                  </a:lnTo>
                  <a:lnTo>
                    <a:pt x="132" y="3"/>
                  </a:lnTo>
                  <a:lnTo>
                    <a:pt x="136" y="3"/>
                  </a:lnTo>
                  <a:lnTo>
                    <a:pt x="137" y="3"/>
                  </a:lnTo>
                  <a:lnTo>
                    <a:pt x="144" y="3"/>
                  </a:lnTo>
                  <a:lnTo>
                    <a:pt x="146" y="3"/>
                  </a:lnTo>
                  <a:lnTo>
                    <a:pt x="149" y="3"/>
                  </a:lnTo>
                  <a:lnTo>
                    <a:pt x="151" y="3"/>
                  </a:lnTo>
                  <a:lnTo>
                    <a:pt x="158" y="1"/>
                  </a:lnTo>
                  <a:lnTo>
                    <a:pt x="160" y="1"/>
                  </a:lnTo>
                  <a:lnTo>
                    <a:pt x="161" y="1"/>
                  </a:lnTo>
                  <a:lnTo>
                    <a:pt x="163" y="1"/>
                  </a:lnTo>
                  <a:lnTo>
                    <a:pt x="165" y="1"/>
                  </a:lnTo>
                  <a:lnTo>
                    <a:pt x="168" y="1"/>
                  </a:lnTo>
                  <a:lnTo>
                    <a:pt x="179" y="1"/>
                  </a:lnTo>
                  <a:lnTo>
                    <a:pt x="180" y="1"/>
                  </a:lnTo>
                  <a:lnTo>
                    <a:pt x="187" y="1"/>
                  </a:lnTo>
                  <a:lnTo>
                    <a:pt x="189" y="1"/>
                  </a:lnTo>
                  <a:lnTo>
                    <a:pt x="192" y="1"/>
                  </a:lnTo>
                  <a:lnTo>
                    <a:pt x="197" y="1"/>
                  </a:lnTo>
                  <a:lnTo>
                    <a:pt x="199" y="1"/>
                  </a:lnTo>
                  <a:lnTo>
                    <a:pt x="206" y="1"/>
                  </a:lnTo>
                  <a:lnTo>
                    <a:pt x="208" y="1"/>
                  </a:lnTo>
                  <a:lnTo>
                    <a:pt x="211" y="1"/>
                  </a:lnTo>
                  <a:lnTo>
                    <a:pt x="215" y="1"/>
                  </a:lnTo>
                  <a:lnTo>
                    <a:pt x="232" y="0"/>
                  </a:lnTo>
                  <a:lnTo>
                    <a:pt x="244" y="0"/>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39" name="Freeform 219"/>
            <p:cNvSpPr>
              <a:spLocks/>
            </p:cNvSpPr>
            <p:nvPr/>
          </p:nvSpPr>
          <p:spPr bwMode="auto">
            <a:xfrm>
              <a:off x="8176508" y="4498769"/>
              <a:ext cx="438150" cy="588963"/>
            </a:xfrm>
            <a:custGeom>
              <a:avLst/>
              <a:gdLst/>
              <a:ahLst/>
              <a:cxnLst>
                <a:cxn ang="0">
                  <a:pos x="16" y="6"/>
                </a:cxn>
                <a:cxn ang="0">
                  <a:pos x="38" y="1"/>
                </a:cxn>
                <a:cxn ang="0">
                  <a:pos x="40" y="12"/>
                </a:cxn>
                <a:cxn ang="0">
                  <a:pos x="52" y="12"/>
                </a:cxn>
                <a:cxn ang="0">
                  <a:pos x="62" y="13"/>
                </a:cxn>
                <a:cxn ang="0">
                  <a:pos x="76" y="12"/>
                </a:cxn>
                <a:cxn ang="0">
                  <a:pos x="78" y="3"/>
                </a:cxn>
                <a:cxn ang="0">
                  <a:pos x="90" y="13"/>
                </a:cxn>
                <a:cxn ang="0">
                  <a:pos x="92" y="6"/>
                </a:cxn>
                <a:cxn ang="0">
                  <a:pos x="104" y="6"/>
                </a:cxn>
                <a:cxn ang="0">
                  <a:pos x="109" y="13"/>
                </a:cxn>
                <a:cxn ang="0">
                  <a:pos x="116" y="13"/>
                </a:cxn>
                <a:cxn ang="0">
                  <a:pos x="121" y="5"/>
                </a:cxn>
                <a:cxn ang="0">
                  <a:pos x="135" y="1"/>
                </a:cxn>
                <a:cxn ang="0">
                  <a:pos x="136" y="10"/>
                </a:cxn>
                <a:cxn ang="0">
                  <a:pos x="143" y="12"/>
                </a:cxn>
                <a:cxn ang="0">
                  <a:pos x="150" y="6"/>
                </a:cxn>
                <a:cxn ang="0">
                  <a:pos x="157" y="0"/>
                </a:cxn>
                <a:cxn ang="0">
                  <a:pos x="160" y="10"/>
                </a:cxn>
                <a:cxn ang="0">
                  <a:pos x="165" y="20"/>
                </a:cxn>
                <a:cxn ang="0">
                  <a:pos x="171" y="17"/>
                </a:cxn>
                <a:cxn ang="0">
                  <a:pos x="178" y="20"/>
                </a:cxn>
                <a:cxn ang="0">
                  <a:pos x="191" y="20"/>
                </a:cxn>
                <a:cxn ang="0">
                  <a:pos x="196" y="24"/>
                </a:cxn>
                <a:cxn ang="0">
                  <a:pos x="202" y="24"/>
                </a:cxn>
                <a:cxn ang="0">
                  <a:pos x="210" y="34"/>
                </a:cxn>
                <a:cxn ang="0">
                  <a:pos x="214" y="51"/>
                </a:cxn>
                <a:cxn ang="0">
                  <a:pos x="222" y="63"/>
                </a:cxn>
                <a:cxn ang="0">
                  <a:pos x="227" y="79"/>
                </a:cxn>
                <a:cxn ang="0">
                  <a:pos x="236" y="91"/>
                </a:cxn>
                <a:cxn ang="0">
                  <a:pos x="245" y="105"/>
                </a:cxn>
                <a:cxn ang="0">
                  <a:pos x="258" y="117"/>
                </a:cxn>
                <a:cxn ang="0">
                  <a:pos x="267" y="132"/>
                </a:cxn>
                <a:cxn ang="0">
                  <a:pos x="272" y="146"/>
                </a:cxn>
                <a:cxn ang="0">
                  <a:pos x="276" y="160"/>
                </a:cxn>
                <a:cxn ang="0">
                  <a:pos x="272" y="187"/>
                </a:cxn>
                <a:cxn ang="0">
                  <a:pos x="258" y="197"/>
                </a:cxn>
                <a:cxn ang="0">
                  <a:pos x="241" y="199"/>
                </a:cxn>
                <a:cxn ang="0">
                  <a:pos x="231" y="211"/>
                </a:cxn>
                <a:cxn ang="0">
                  <a:pos x="221" y="230"/>
                </a:cxn>
                <a:cxn ang="0">
                  <a:pos x="221" y="242"/>
                </a:cxn>
                <a:cxn ang="0">
                  <a:pos x="231" y="258"/>
                </a:cxn>
                <a:cxn ang="0">
                  <a:pos x="233" y="271"/>
                </a:cxn>
                <a:cxn ang="0">
                  <a:pos x="222" y="271"/>
                </a:cxn>
                <a:cxn ang="0">
                  <a:pos x="205" y="271"/>
                </a:cxn>
                <a:cxn ang="0">
                  <a:pos x="193" y="277"/>
                </a:cxn>
                <a:cxn ang="0">
                  <a:pos x="157" y="283"/>
                </a:cxn>
                <a:cxn ang="0">
                  <a:pos x="140" y="304"/>
                </a:cxn>
                <a:cxn ang="0">
                  <a:pos x="117" y="323"/>
                </a:cxn>
                <a:cxn ang="0">
                  <a:pos x="98" y="357"/>
                </a:cxn>
                <a:cxn ang="0">
                  <a:pos x="76" y="368"/>
                </a:cxn>
                <a:cxn ang="0">
                  <a:pos x="43" y="369"/>
                </a:cxn>
                <a:cxn ang="0">
                  <a:pos x="16" y="371"/>
                </a:cxn>
                <a:cxn ang="0">
                  <a:pos x="7" y="347"/>
                </a:cxn>
                <a:cxn ang="0">
                  <a:pos x="7" y="302"/>
                </a:cxn>
                <a:cxn ang="0">
                  <a:pos x="9" y="275"/>
                </a:cxn>
                <a:cxn ang="0">
                  <a:pos x="7" y="242"/>
                </a:cxn>
                <a:cxn ang="0">
                  <a:pos x="6" y="203"/>
                </a:cxn>
                <a:cxn ang="0">
                  <a:pos x="4" y="154"/>
                </a:cxn>
                <a:cxn ang="0">
                  <a:pos x="2" y="118"/>
                </a:cxn>
                <a:cxn ang="0">
                  <a:pos x="2" y="91"/>
                </a:cxn>
                <a:cxn ang="0">
                  <a:pos x="2" y="72"/>
                </a:cxn>
                <a:cxn ang="0">
                  <a:pos x="0" y="46"/>
                </a:cxn>
              </a:cxnLst>
              <a:rect l="0" t="0" r="r" b="b"/>
              <a:pathLst>
                <a:path w="276" h="371">
                  <a:moveTo>
                    <a:pt x="0" y="6"/>
                  </a:moveTo>
                  <a:lnTo>
                    <a:pt x="0" y="6"/>
                  </a:lnTo>
                  <a:lnTo>
                    <a:pt x="2" y="6"/>
                  </a:lnTo>
                  <a:lnTo>
                    <a:pt x="6" y="6"/>
                  </a:lnTo>
                  <a:lnTo>
                    <a:pt x="9" y="6"/>
                  </a:lnTo>
                  <a:lnTo>
                    <a:pt x="12" y="6"/>
                  </a:lnTo>
                  <a:lnTo>
                    <a:pt x="14" y="6"/>
                  </a:lnTo>
                  <a:lnTo>
                    <a:pt x="16" y="6"/>
                  </a:lnTo>
                  <a:lnTo>
                    <a:pt x="16" y="6"/>
                  </a:lnTo>
                  <a:lnTo>
                    <a:pt x="18" y="6"/>
                  </a:lnTo>
                  <a:lnTo>
                    <a:pt x="28" y="5"/>
                  </a:lnTo>
                  <a:lnTo>
                    <a:pt x="30" y="5"/>
                  </a:lnTo>
                  <a:lnTo>
                    <a:pt x="33" y="3"/>
                  </a:lnTo>
                  <a:lnTo>
                    <a:pt x="35" y="3"/>
                  </a:lnTo>
                  <a:lnTo>
                    <a:pt x="36" y="3"/>
                  </a:lnTo>
                  <a:lnTo>
                    <a:pt x="36" y="1"/>
                  </a:lnTo>
                  <a:lnTo>
                    <a:pt x="36" y="1"/>
                  </a:lnTo>
                  <a:lnTo>
                    <a:pt x="38" y="1"/>
                  </a:lnTo>
                  <a:lnTo>
                    <a:pt x="40" y="3"/>
                  </a:lnTo>
                  <a:lnTo>
                    <a:pt x="38" y="5"/>
                  </a:lnTo>
                  <a:lnTo>
                    <a:pt x="38" y="6"/>
                  </a:lnTo>
                  <a:lnTo>
                    <a:pt x="36" y="8"/>
                  </a:lnTo>
                  <a:lnTo>
                    <a:pt x="36" y="10"/>
                  </a:lnTo>
                  <a:lnTo>
                    <a:pt x="36" y="12"/>
                  </a:lnTo>
                  <a:lnTo>
                    <a:pt x="38" y="12"/>
                  </a:lnTo>
                  <a:lnTo>
                    <a:pt x="38" y="10"/>
                  </a:lnTo>
                  <a:lnTo>
                    <a:pt x="40" y="12"/>
                  </a:lnTo>
                  <a:lnTo>
                    <a:pt x="42" y="12"/>
                  </a:lnTo>
                  <a:lnTo>
                    <a:pt x="43" y="12"/>
                  </a:lnTo>
                  <a:lnTo>
                    <a:pt x="45" y="10"/>
                  </a:lnTo>
                  <a:lnTo>
                    <a:pt x="45" y="6"/>
                  </a:lnTo>
                  <a:lnTo>
                    <a:pt x="47" y="6"/>
                  </a:lnTo>
                  <a:lnTo>
                    <a:pt x="47" y="10"/>
                  </a:lnTo>
                  <a:lnTo>
                    <a:pt x="49" y="12"/>
                  </a:lnTo>
                  <a:lnTo>
                    <a:pt x="50" y="12"/>
                  </a:lnTo>
                  <a:lnTo>
                    <a:pt x="52" y="12"/>
                  </a:lnTo>
                  <a:lnTo>
                    <a:pt x="55" y="12"/>
                  </a:lnTo>
                  <a:lnTo>
                    <a:pt x="57" y="12"/>
                  </a:lnTo>
                  <a:lnTo>
                    <a:pt x="59" y="12"/>
                  </a:lnTo>
                  <a:lnTo>
                    <a:pt x="61" y="12"/>
                  </a:lnTo>
                  <a:lnTo>
                    <a:pt x="61" y="13"/>
                  </a:lnTo>
                  <a:lnTo>
                    <a:pt x="61" y="13"/>
                  </a:lnTo>
                  <a:lnTo>
                    <a:pt x="61" y="15"/>
                  </a:lnTo>
                  <a:lnTo>
                    <a:pt x="62" y="15"/>
                  </a:lnTo>
                  <a:lnTo>
                    <a:pt x="62" y="13"/>
                  </a:lnTo>
                  <a:lnTo>
                    <a:pt x="62" y="12"/>
                  </a:lnTo>
                  <a:lnTo>
                    <a:pt x="64" y="10"/>
                  </a:lnTo>
                  <a:lnTo>
                    <a:pt x="66" y="10"/>
                  </a:lnTo>
                  <a:lnTo>
                    <a:pt x="66" y="12"/>
                  </a:lnTo>
                  <a:lnTo>
                    <a:pt x="69" y="12"/>
                  </a:lnTo>
                  <a:lnTo>
                    <a:pt x="73" y="10"/>
                  </a:lnTo>
                  <a:lnTo>
                    <a:pt x="74" y="10"/>
                  </a:lnTo>
                  <a:lnTo>
                    <a:pt x="74" y="12"/>
                  </a:lnTo>
                  <a:lnTo>
                    <a:pt x="76" y="12"/>
                  </a:lnTo>
                  <a:lnTo>
                    <a:pt x="76" y="12"/>
                  </a:lnTo>
                  <a:lnTo>
                    <a:pt x="76" y="10"/>
                  </a:lnTo>
                  <a:lnTo>
                    <a:pt x="76" y="6"/>
                  </a:lnTo>
                  <a:lnTo>
                    <a:pt x="74" y="6"/>
                  </a:lnTo>
                  <a:lnTo>
                    <a:pt x="74" y="5"/>
                  </a:lnTo>
                  <a:lnTo>
                    <a:pt x="74" y="3"/>
                  </a:lnTo>
                  <a:lnTo>
                    <a:pt x="76" y="3"/>
                  </a:lnTo>
                  <a:lnTo>
                    <a:pt x="76" y="3"/>
                  </a:lnTo>
                  <a:lnTo>
                    <a:pt x="78" y="3"/>
                  </a:lnTo>
                  <a:lnTo>
                    <a:pt x="81" y="3"/>
                  </a:lnTo>
                  <a:lnTo>
                    <a:pt x="81" y="5"/>
                  </a:lnTo>
                  <a:lnTo>
                    <a:pt x="83" y="5"/>
                  </a:lnTo>
                  <a:lnTo>
                    <a:pt x="85" y="6"/>
                  </a:lnTo>
                  <a:lnTo>
                    <a:pt x="86" y="8"/>
                  </a:lnTo>
                  <a:lnTo>
                    <a:pt x="86" y="10"/>
                  </a:lnTo>
                  <a:lnTo>
                    <a:pt x="86" y="12"/>
                  </a:lnTo>
                  <a:lnTo>
                    <a:pt x="88" y="13"/>
                  </a:lnTo>
                  <a:lnTo>
                    <a:pt x="90" y="13"/>
                  </a:lnTo>
                  <a:lnTo>
                    <a:pt x="90" y="12"/>
                  </a:lnTo>
                  <a:lnTo>
                    <a:pt x="92" y="12"/>
                  </a:lnTo>
                  <a:lnTo>
                    <a:pt x="90" y="12"/>
                  </a:lnTo>
                  <a:lnTo>
                    <a:pt x="90" y="10"/>
                  </a:lnTo>
                  <a:lnTo>
                    <a:pt x="90" y="8"/>
                  </a:lnTo>
                  <a:lnTo>
                    <a:pt x="90" y="6"/>
                  </a:lnTo>
                  <a:lnTo>
                    <a:pt x="92" y="6"/>
                  </a:lnTo>
                  <a:lnTo>
                    <a:pt x="90" y="6"/>
                  </a:lnTo>
                  <a:lnTo>
                    <a:pt x="92" y="6"/>
                  </a:lnTo>
                  <a:lnTo>
                    <a:pt x="92" y="5"/>
                  </a:lnTo>
                  <a:lnTo>
                    <a:pt x="92" y="3"/>
                  </a:lnTo>
                  <a:lnTo>
                    <a:pt x="93" y="3"/>
                  </a:lnTo>
                  <a:lnTo>
                    <a:pt x="93" y="5"/>
                  </a:lnTo>
                  <a:lnTo>
                    <a:pt x="95" y="6"/>
                  </a:lnTo>
                  <a:lnTo>
                    <a:pt x="97" y="6"/>
                  </a:lnTo>
                  <a:lnTo>
                    <a:pt x="98" y="6"/>
                  </a:lnTo>
                  <a:lnTo>
                    <a:pt x="102" y="8"/>
                  </a:lnTo>
                  <a:lnTo>
                    <a:pt x="104" y="6"/>
                  </a:lnTo>
                  <a:lnTo>
                    <a:pt x="105" y="6"/>
                  </a:lnTo>
                  <a:lnTo>
                    <a:pt x="105" y="5"/>
                  </a:lnTo>
                  <a:lnTo>
                    <a:pt x="105" y="6"/>
                  </a:lnTo>
                  <a:lnTo>
                    <a:pt x="107" y="6"/>
                  </a:lnTo>
                  <a:lnTo>
                    <a:pt x="107" y="8"/>
                  </a:lnTo>
                  <a:lnTo>
                    <a:pt x="109" y="8"/>
                  </a:lnTo>
                  <a:lnTo>
                    <a:pt x="107" y="10"/>
                  </a:lnTo>
                  <a:lnTo>
                    <a:pt x="107" y="12"/>
                  </a:lnTo>
                  <a:lnTo>
                    <a:pt x="109" y="13"/>
                  </a:lnTo>
                  <a:lnTo>
                    <a:pt x="109" y="15"/>
                  </a:lnTo>
                  <a:lnTo>
                    <a:pt x="110" y="15"/>
                  </a:lnTo>
                  <a:lnTo>
                    <a:pt x="112" y="15"/>
                  </a:lnTo>
                  <a:lnTo>
                    <a:pt x="112" y="13"/>
                  </a:lnTo>
                  <a:lnTo>
                    <a:pt x="112" y="12"/>
                  </a:lnTo>
                  <a:lnTo>
                    <a:pt x="112" y="10"/>
                  </a:lnTo>
                  <a:lnTo>
                    <a:pt x="114" y="10"/>
                  </a:lnTo>
                  <a:lnTo>
                    <a:pt x="116" y="12"/>
                  </a:lnTo>
                  <a:lnTo>
                    <a:pt x="116" y="13"/>
                  </a:lnTo>
                  <a:lnTo>
                    <a:pt x="116" y="15"/>
                  </a:lnTo>
                  <a:lnTo>
                    <a:pt x="116" y="15"/>
                  </a:lnTo>
                  <a:lnTo>
                    <a:pt x="117" y="15"/>
                  </a:lnTo>
                  <a:lnTo>
                    <a:pt x="117" y="15"/>
                  </a:lnTo>
                  <a:lnTo>
                    <a:pt x="119" y="13"/>
                  </a:lnTo>
                  <a:lnTo>
                    <a:pt x="121" y="12"/>
                  </a:lnTo>
                  <a:lnTo>
                    <a:pt x="121" y="10"/>
                  </a:lnTo>
                  <a:lnTo>
                    <a:pt x="121" y="8"/>
                  </a:lnTo>
                  <a:lnTo>
                    <a:pt x="121" y="5"/>
                  </a:lnTo>
                  <a:lnTo>
                    <a:pt x="121" y="3"/>
                  </a:lnTo>
                  <a:lnTo>
                    <a:pt x="124" y="3"/>
                  </a:lnTo>
                  <a:lnTo>
                    <a:pt x="126" y="3"/>
                  </a:lnTo>
                  <a:lnTo>
                    <a:pt x="128" y="3"/>
                  </a:lnTo>
                  <a:lnTo>
                    <a:pt x="129" y="3"/>
                  </a:lnTo>
                  <a:lnTo>
                    <a:pt x="131" y="3"/>
                  </a:lnTo>
                  <a:lnTo>
                    <a:pt x="133" y="3"/>
                  </a:lnTo>
                  <a:lnTo>
                    <a:pt x="133" y="1"/>
                  </a:lnTo>
                  <a:lnTo>
                    <a:pt x="135" y="1"/>
                  </a:lnTo>
                  <a:lnTo>
                    <a:pt x="135" y="0"/>
                  </a:lnTo>
                  <a:lnTo>
                    <a:pt x="136" y="0"/>
                  </a:lnTo>
                  <a:lnTo>
                    <a:pt x="136" y="1"/>
                  </a:lnTo>
                  <a:lnTo>
                    <a:pt x="136" y="3"/>
                  </a:lnTo>
                  <a:lnTo>
                    <a:pt x="136" y="5"/>
                  </a:lnTo>
                  <a:lnTo>
                    <a:pt x="136" y="5"/>
                  </a:lnTo>
                  <a:lnTo>
                    <a:pt x="136" y="6"/>
                  </a:lnTo>
                  <a:lnTo>
                    <a:pt x="136" y="8"/>
                  </a:lnTo>
                  <a:lnTo>
                    <a:pt x="136" y="10"/>
                  </a:lnTo>
                  <a:lnTo>
                    <a:pt x="136" y="12"/>
                  </a:lnTo>
                  <a:lnTo>
                    <a:pt x="136" y="12"/>
                  </a:lnTo>
                  <a:lnTo>
                    <a:pt x="138" y="12"/>
                  </a:lnTo>
                  <a:lnTo>
                    <a:pt x="138" y="10"/>
                  </a:lnTo>
                  <a:lnTo>
                    <a:pt x="138" y="8"/>
                  </a:lnTo>
                  <a:lnTo>
                    <a:pt x="140" y="8"/>
                  </a:lnTo>
                  <a:lnTo>
                    <a:pt x="140" y="10"/>
                  </a:lnTo>
                  <a:lnTo>
                    <a:pt x="143" y="10"/>
                  </a:lnTo>
                  <a:lnTo>
                    <a:pt x="143" y="12"/>
                  </a:lnTo>
                  <a:lnTo>
                    <a:pt x="145" y="12"/>
                  </a:lnTo>
                  <a:lnTo>
                    <a:pt x="145" y="10"/>
                  </a:lnTo>
                  <a:lnTo>
                    <a:pt x="145" y="8"/>
                  </a:lnTo>
                  <a:lnTo>
                    <a:pt x="145" y="6"/>
                  </a:lnTo>
                  <a:lnTo>
                    <a:pt x="148" y="6"/>
                  </a:lnTo>
                  <a:lnTo>
                    <a:pt x="148" y="5"/>
                  </a:lnTo>
                  <a:lnTo>
                    <a:pt x="150" y="6"/>
                  </a:lnTo>
                  <a:lnTo>
                    <a:pt x="150" y="8"/>
                  </a:lnTo>
                  <a:lnTo>
                    <a:pt x="150" y="6"/>
                  </a:lnTo>
                  <a:lnTo>
                    <a:pt x="152" y="6"/>
                  </a:lnTo>
                  <a:lnTo>
                    <a:pt x="152" y="5"/>
                  </a:lnTo>
                  <a:lnTo>
                    <a:pt x="152" y="3"/>
                  </a:lnTo>
                  <a:lnTo>
                    <a:pt x="153" y="3"/>
                  </a:lnTo>
                  <a:lnTo>
                    <a:pt x="155" y="3"/>
                  </a:lnTo>
                  <a:lnTo>
                    <a:pt x="155" y="1"/>
                  </a:lnTo>
                  <a:lnTo>
                    <a:pt x="155" y="1"/>
                  </a:lnTo>
                  <a:lnTo>
                    <a:pt x="155" y="0"/>
                  </a:lnTo>
                  <a:lnTo>
                    <a:pt x="157" y="0"/>
                  </a:lnTo>
                  <a:lnTo>
                    <a:pt x="159" y="0"/>
                  </a:lnTo>
                  <a:lnTo>
                    <a:pt x="159" y="1"/>
                  </a:lnTo>
                  <a:lnTo>
                    <a:pt x="159" y="1"/>
                  </a:lnTo>
                  <a:lnTo>
                    <a:pt x="159" y="3"/>
                  </a:lnTo>
                  <a:lnTo>
                    <a:pt x="159" y="5"/>
                  </a:lnTo>
                  <a:lnTo>
                    <a:pt x="159" y="6"/>
                  </a:lnTo>
                  <a:lnTo>
                    <a:pt x="159" y="8"/>
                  </a:lnTo>
                  <a:lnTo>
                    <a:pt x="160" y="8"/>
                  </a:lnTo>
                  <a:lnTo>
                    <a:pt x="160" y="10"/>
                  </a:lnTo>
                  <a:lnTo>
                    <a:pt x="162" y="12"/>
                  </a:lnTo>
                  <a:lnTo>
                    <a:pt x="164" y="12"/>
                  </a:lnTo>
                  <a:lnTo>
                    <a:pt x="165" y="13"/>
                  </a:lnTo>
                  <a:lnTo>
                    <a:pt x="165" y="15"/>
                  </a:lnTo>
                  <a:lnTo>
                    <a:pt x="165" y="15"/>
                  </a:lnTo>
                  <a:lnTo>
                    <a:pt x="164" y="15"/>
                  </a:lnTo>
                  <a:lnTo>
                    <a:pt x="164" y="17"/>
                  </a:lnTo>
                  <a:lnTo>
                    <a:pt x="165" y="19"/>
                  </a:lnTo>
                  <a:lnTo>
                    <a:pt x="165" y="20"/>
                  </a:lnTo>
                  <a:lnTo>
                    <a:pt x="165" y="20"/>
                  </a:lnTo>
                  <a:lnTo>
                    <a:pt x="165" y="19"/>
                  </a:lnTo>
                  <a:lnTo>
                    <a:pt x="165" y="17"/>
                  </a:lnTo>
                  <a:lnTo>
                    <a:pt x="167" y="15"/>
                  </a:lnTo>
                  <a:lnTo>
                    <a:pt x="169" y="15"/>
                  </a:lnTo>
                  <a:lnTo>
                    <a:pt x="169" y="15"/>
                  </a:lnTo>
                  <a:lnTo>
                    <a:pt x="171" y="15"/>
                  </a:lnTo>
                  <a:lnTo>
                    <a:pt x="171" y="15"/>
                  </a:lnTo>
                  <a:lnTo>
                    <a:pt x="171" y="17"/>
                  </a:lnTo>
                  <a:lnTo>
                    <a:pt x="171" y="19"/>
                  </a:lnTo>
                  <a:lnTo>
                    <a:pt x="169" y="20"/>
                  </a:lnTo>
                  <a:lnTo>
                    <a:pt x="171" y="20"/>
                  </a:lnTo>
                  <a:lnTo>
                    <a:pt x="171" y="22"/>
                  </a:lnTo>
                  <a:lnTo>
                    <a:pt x="172" y="22"/>
                  </a:lnTo>
                  <a:lnTo>
                    <a:pt x="172" y="24"/>
                  </a:lnTo>
                  <a:lnTo>
                    <a:pt x="174" y="22"/>
                  </a:lnTo>
                  <a:lnTo>
                    <a:pt x="176" y="22"/>
                  </a:lnTo>
                  <a:lnTo>
                    <a:pt x="178" y="20"/>
                  </a:lnTo>
                  <a:lnTo>
                    <a:pt x="181" y="20"/>
                  </a:lnTo>
                  <a:lnTo>
                    <a:pt x="181" y="20"/>
                  </a:lnTo>
                  <a:lnTo>
                    <a:pt x="183" y="20"/>
                  </a:lnTo>
                  <a:lnTo>
                    <a:pt x="184" y="19"/>
                  </a:lnTo>
                  <a:lnTo>
                    <a:pt x="186" y="19"/>
                  </a:lnTo>
                  <a:lnTo>
                    <a:pt x="188" y="17"/>
                  </a:lnTo>
                  <a:lnTo>
                    <a:pt x="190" y="17"/>
                  </a:lnTo>
                  <a:lnTo>
                    <a:pt x="190" y="19"/>
                  </a:lnTo>
                  <a:lnTo>
                    <a:pt x="191" y="20"/>
                  </a:lnTo>
                  <a:lnTo>
                    <a:pt x="193" y="20"/>
                  </a:lnTo>
                  <a:lnTo>
                    <a:pt x="193" y="22"/>
                  </a:lnTo>
                  <a:lnTo>
                    <a:pt x="191" y="22"/>
                  </a:lnTo>
                  <a:lnTo>
                    <a:pt x="193" y="22"/>
                  </a:lnTo>
                  <a:lnTo>
                    <a:pt x="193" y="24"/>
                  </a:lnTo>
                  <a:lnTo>
                    <a:pt x="195" y="25"/>
                  </a:lnTo>
                  <a:lnTo>
                    <a:pt x="196" y="25"/>
                  </a:lnTo>
                  <a:lnTo>
                    <a:pt x="196" y="25"/>
                  </a:lnTo>
                  <a:lnTo>
                    <a:pt x="196" y="24"/>
                  </a:lnTo>
                  <a:lnTo>
                    <a:pt x="198" y="24"/>
                  </a:lnTo>
                  <a:lnTo>
                    <a:pt x="198" y="22"/>
                  </a:lnTo>
                  <a:lnTo>
                    <a:pt x="196" y="22"/>
                  </a:lnTo>
                  <a:lnTo>
                    <a:pt x="196" y="20"/>
                  </a:lnTo>
                  <a:lnTo>
                    <a:pt x="196" y="19"/>
                  </a:lnTo>
                  <a:lnTo>
                    <a:pt x="198" y="19"/>
                  </a:lnTo>
                  <a:lnTo>
                    <a:pt x="198" y="20"/>
                  </a:lnTo>
                  <a:lnTo>
                    <a:pt x="200" y="22"/>
                  </a:lnTo>
                  <a:lnTo>
                    <a:pt x="202" y="24"/>
                  </a:lnTo>
                  <a:lnTo>
                    <a:pt x="202" y="25"/>
                  </a:lnTo>
                  <a:lnTo>
                    <a:pt x="205" y="27"/>
                  </a:lnTo>
                  <a:lnTo>
                    <a:pt x="205" y="25"/>
                  </a:lnTo>
                  <a:lnTo>
                    <a:pt x="207" y="25"/>
                  </a:lnTo>
                  <a:lnTo>
                    <a:pt x="208" y="25"/>
                  </a:lnTo>
                  <a:lnTo>
                    <a:pt x="208" y="27"/>
                  </a:lnTo>
                  <a:lnTo>
                    <a:pt x="210" y="31"/>
                  </a:lnTo>
                  <a:lnTo>
                    <a:pt x="210" y="31"/>
                  </a:lnTo>
                  <a:lnTo>
                    <a:pt x="210" y="34"/>
                  </a:lnTo>
                  <a:lnTo>
                    <a:pt x="210" y="36"/>
                  </a:lnTo>
                  <a:lnTo>
                    <a:pt x="212" y="39"/>
                  </a:lnTo>
                  <a:lnTo>
                    <a:pt x="212" y="41"/>
                  </a:lnTo>
                  <a:lnTo>
                    <a:pt x="212" y="44"/>
                  </a:lnTo>
                  <a:lnTo>
                    <a:pt x="212" y="46"/>
                  </a:lnTo>
                  <a:lnTo>
                    <a:pt x="212" y="46"/>
                  </a:lnTo>
                  <a:lnTo>
                    <a:pt x="212" y="48"/>
                  </a:lnTo>
                  <a:lnTo>
                    <a:pt x="214" y="49"/>
                  </a:lnTo>
                  <a:lnTo>
                    <a:pt x="214" y="51"/>
                  </a:lnTo>
                  <a:lnTo>
                    <a:pt x="215" y="53"/>
                  </a:lnTo>
                  <a:lnTo>
                    <a:pt x="215" y="55"/>
                  </a:lnTo>
                  <a:lnTo>
                    <a:pt x="217" y="55"/>
                  </a:lnTo>
                  <a:lnTo>
                    <a:pt x="219" y="56"/>
                  </a:lnTo>
                  <a:lnTo>
                    <a:pt x="219" y="58"/>
                  </a:lnTo>
                  <a:lnTo>
                    <a:pt x="219" y="60"/>
                  </a:lnTo>
                  <a:lnTo>
                    <a:pt x="221" y="62"/>
                  </a:lnTo>
                  <a:lnTo>
                    <a:pt x="222" y="62"/>
                  </a:lnTo>
                  <a:lnTo>
                    <a:pt x="222" y="63"/>
                  </a:lnTo>
                  <a:lnTo>
                    <a:pt x="224" y="65"/>
                  </a:lnTo>
                  <a:lnTo>
                    <a:pt x="224" y="67"/>
                  </a:lnTo>
                  <a:lnTo>
                    <a:pt x="224" y="68"/>
                  </a:lnTo>
                  <a:lnTo>
                    <a:pt x="226" y="70"/>
                  </a:lnTo>
                  <a:lnTo>
                    <a:pt x="226" y="72"/>
                  </a:lnTo>
                  <a:lnTo>
                    <a:pt x="226" y="74"/>
                  </a:lnTo>
                  <a:lnTo>
                    <a:pt x="226" y="75"/>
                  </a:lnTo>
                  <a:lnTo>
                    <a:pt x="227" y="77"/>
                  </a:lnTo>
                  <a:lnTo>
                    <a:pt x="227" y="79"/>
                  </a:lnTo>
                  <a:lnTo>
                    <a:pt x="229" y="80"/>
                  </a:lnTo>
                  <a:lnTo>
                    <a:pt x="229" y="82"/>
                  </a:lnTo>
                  <a:lnTo>
                    <a:pt x="231" y="82"/>
                  </a:lnTo>
                  <a:lnTo>
                    <a:pt x="231" y="84"/>
                  </a:lnTo>
                  <a:lnTo>
                    <a:pt x="233" y="86"/>
                  </a:lnTo>
                  <a:lnTo>
                    <a:pt x="234" y="87"/>
                  </a:lnTo>
                  <a:lnTo>
                    <a:pt x="234" y="89"/>
                  </a:lnTo>
                  <a:lnTo>
                    <a:pt x="234" y="91"/>
                  </a:lnTo>
                  <a:lnTo>
                    <a:pt x="236" y="91"/>
                  </a:lnTo>
                  <a:lnTo>
                    <a:pt x="238" y="91"/>
                  </a:lnTo>
                  <a:lnTo>
                    <a:pt x="238" y="92"/>
                  </a:lnTo>
                  <a:lnTo>
                    <a:pt x="239" y="94"/>
                  </a:lnTo>
                  <a:lnTo>
                    <a:pt x="241" y="98"/>
                  </a:lnTo>
                  <a:lnTo>
                    <a:pt x="241" y="99"/>
                  </a:lnTo>
                  <a:lnTo>
                    <a:pt x="241" y="101"/>
                  </a:lnTo>
                  <a:lnTo>
                    <a:pt x="243" y="101"/>
                  </a:lnTo>
                  <a:lnTo>
                    <a:pt x="243" y="103"/>
                  </a:lnTo>
                  <a:lnTo>
                    <a:pt x="245" y="105"/>
                  </a:lnTo>
                  <a:lnTo>
                    <a:pt x="246" y="106"/>
                  </a:lnTo>
                  <a:lnTo>
                    <a:pt x="248" y="106"/>
                  </a:lnTo>
                  <a:lnTo>
                    <a:pt x="250" y="106"/>
                  </a:lnTo>
                  <a:lnTo>
                    <a:pt x="251" y="108"/>
                  </a:lnTo>
                  <a:lnTo>
                    <a:pt x="253" y="110"/>
                  </a:lnTo>
                  <a:lnTo>
                    <a:pt x="255" y="111"/>
                  </a:lnTo>
                  <a:lnTo>
                    <a:pt x="257" y="113"/>
                  </a:lnTo>
                  <a:lnTo>
                    <a:pt x="257" y="115"/>
                  </a:lnTo>
                  <a:lnTo>
                    <a:pt x="258" y="117"/>
                  </a:lnTo>
                  <a:lnTo>
                    <a:pt x="258" y="118"/>
                  </a:lnTo>
                  <a:lnTo>
                    <a:pt x="260" y="120"/>
                  </a:lnTo>
                  <a:lnTo>
                    <a:pt x="262" y="122"/>
                  </a:lnTo>
                  <a:lnTo>
                    <a:pt x="262" y="122"/>
                  </a:lnTo>
                  <a:lnTo>
                    <a:pt x="264" y="123"/>
                  </a:lnTo>
                  <a:lnTo>
                    <a:pt x="265" y="125"/>
                  </a:lnTo>
                  <a:lnTo>
                    <a:pt x="265" y="129"/>
                  </a:lnTo>
                  <a:lnTo>
                    <a:pt x="267" y="130"/>
                  </a:lnTo>
                  <a:lnTo>
                    <a:pt x="267" y="132"/>
                  </a:lnTo>
                  <a:lnTo>
                    <a:pt x="269" y="134"/>
                  </a:lnTo>
                  <a:lnTo>
                    <a:pt x="269" y="136"/>
                  </a:lnTo>
                  <a:lnTo>
                    <a:pt x="269" y="136"/>
                  </a:lnTo>
                  <a:lnTo>
                    <a:pt x="270" y="137"/>
                  </a:lnTo>
                  <a:lnTo>
                    <a:pt x="270" y="139"/>
                  </a:lnTo>
                  <a:lnTo>
                    <a:pt x="272" y="141"/>
                  </a:lnTo>
                  <a:lnTo>
                    <a:pt x="272" y="142"/>
                  </a:lnTo>
                  <a:lnTo>
                    <a:pt x="272" y="144"/>
                  </a:lnTo>
                  <a:lnTo>
                    <a:pt x="272" y="146"/>
                  </a:lnTo>
                  <a:lnTo>
                    <a:pt x="272" y="148"/>
                  </a:lnTo>
                  <a:lnTo>
                    <a:pt x="272" y="149"/>
                  </a:lnTo>
                  <a:lnTo>
                    <a:pt x="272" y="151"/>
                  </a:lnTo>
                  <a:lnTo>
                    <a:pt x="274" y="151"/>
                  </a:lnTo>
                  <a:lnTo>
                    <a:pt x="274" y="153"/>
                  </a:lnTo>
                  <a:lnTo>
                    <a:pt x="274" y="154"/>
                  </a:lnTo>
                  <a:lnTo>
                    <a:pt x="276" y="156"/>
                  </a:lnTo>
                  <a:lnTo>
                    <a:pt x="276" y="158"/>
                  </a:lnTo>
                  <a:lnTo>
                    <a:pt x="276" y="160"/>
                  </a:lnTo>
                  <a:lnTo>
                    <a:pt x="276" y="161"/>
                  </a:lnTo>
                  <a:lnTo>
                    <a:pt x="276" y="163"/>
                  </a:lnTo>
                  <a:lnTo>
                    <a:pt x="276" y="166"/>
                  </a:lnTo>
                  <a:lnTo>
                    <a:pt x="274" y="166"/>
                  </a:lnTo>
                  <a:lnTo>
                    <a:pt x="274" y="170"/>
                  </a:lnTo>
                  <a:lnTo>
                    <a:pt x="274" y="172"/>
                  </a:lnTo>
                  <a:lnTo>
                    <a:pt x="272" y="179"/>
                  </a:lnTo>
                  <a:lnTo>
                    <a:pt x="272" y="184"/>
                  </a:lnTo>
                  <a:lnTo>
                    <a:pt x="272" y="187"/>
                  </a:lnTo>
                  <a:lnTo>
                    <a:pt x="272" y="189"/>
                  </a:lnTo>
                  <a:lnTo>
                    <a:pt x="270" y="191"/>
                  </a:lnTo>
                  <a:lnTo>
                    <a:pt x="270" y="192"/>
                  </a:lnTo>
                  <a:lnTo>
                    <a:pt x="269" y="194"/>
                  </a:lnTo>
                  <a:lnTo>
                    <a:pt x="267" y="194"/>
                  </a:lnTo>
                  <a:lnTo>
                    <a:pt x="264" y="196"/>
                  </a:lnTo>
                  <a:lnTo>
                    <a:pt x="262" y="196"/>
                  </a:lnTo>
                  <a:lnTo>
                    <a:pt x="260" y="196"/>
                  </a:lnTo>
                  <a:lnTo>
                    <a:pt x="258" y="197"/>
                  </a:lnTo>
                  <a:lnTo>
                    <a:pt x="257" y="197"/>
                  </a:lnTo>
                  <a:lnTo>
                    <a:pt x="257" y="197"/>
                  </a:lnTo>
                  <a:lnTo>
                    <a:pt x="255" y="197"/>
                  </a:lnTo>
                  <a:lnTo>
                    <a:pt x="253" y="197"/>
                  </a:lnTo>
                  <a:lnTo>
                    <a:pt x="250" y="197"/>
                  </a:lnTo>
                  <a:lnTo>
                    <a:pt x="248" y="199"/>
                  </a:lnTo>
                  <a:lnTo>
                    <a:pt x="246" y="199"/>
                  </a:lnTo>
                  <a:lnTo>
                    <a:pt x="243" y="199"/>
                  </a:lnTo>
                  <a:lnTo>
                    <a:pt x="241" y="199"/>
                  </a:lnTo>
                  <a:lnTo>
                    <a:pt x="241" y="201"/>
                  </a:lnTo>
                  <a:lnTo>
                    <a:pt x="239" y="201"/>
                  </a:lnTo>
                  <a:lnTo>
                    <a:pt x="238" y="203"/>
                  </a:lnTo>
                  <a:lnTo>
                    <a:pt x="236" y="203"/>
                  </a:lnTo>
                  <a:lnTo>
                    <a:pt x="234" y="204"/>
                  </a:lnTo>
                  <a:lnTo>
                    <a:pt x="234" y="206"/>
                  </a:lnTo>
                  <a:lnTo>
                    <a:pt x="233" y="208"/>
                  </a:lnTo>
                  <a:lnTo>
                    <a:pt x="233" y="209"/>
                  </a:lnTo>
                  <a:lnTo>
                    <a:pt x="231" y="211"/>
                  </a:lnTo>
                  <a:lnTo>
                    <a:pt x="231" y="211"/>
                  </a:lnTo>
                  <a:lnTo>
                    <a:pt x="229" y="211"/>
                  </a:lnTo>
                  <a:lnTo>
                    <a:pt x="229" y="213"/>
                  </a:lnTo>
                  <a:lnTo>
                    <a:pt x="224" y="218"/>
                  </a:lnTo>
                  <a:lnTo>
                    <a:pt x="224" y="220"/>
                  </a:lnTo>
                  <a:lnTo>
                    <a:pt x="222" y="222"/>
                  </a:lnTo>
                  <a:lnTo>
                    <a:pt x="222" y="223"/>
                  </a:lnTo>
                  <a:lnTo>
                    <a:pt x="221" y="227"/>
                  </a:lnTo>
                  <a:lnTo>
                    <a:pt x="221" y="230"/>
                  </a:lnTo>
                  <a:lnTo>
                    <a:pt x="221" y="232"/>
                  </a:lnTo>
                  <a:lnTo>
                    <a:pt x="221" y="234"/>
                  </a:lnTo>
                  <a:lnTo>
                    <a:pt x="219" y="235"/>
                  </a:lnTo>
                  <a:lnTo>
                    <a:pt x="219" y="237"/>
                  </a:lnTo>
                  <a:lnTo>
                    <a:pt x="219" y="239"/>
                  </a:lnTo>
                  <a:lnTo>
                    <a:pt x="219" y="240"/>
                  </a:lnTo>
                  <a:lnTo>
                    <a:pt x="219" y="242"/>
                  </a:lnTo>
                  <a:lnTo>
                    <a:pt x="219" y="242"/>
                  </a:lnTo>
                  <a:lnTo>
                    <a:pt x="221" y="242"/>
                  </a:lnTo>
                  <a:lnTo>
                    <a:pt x="221" y="244"/>
                  </a:lnTo>
                  <a:lnTo>
                    <a:pt x="221" y="246"/>
                  </a:lnTo>
                  <a:lnTo>
                    <a:pt x="222" y="247"/>
                  </a:lnTo>
                  <a:lnTo>
                    <a:pt x="224" y="249"/>
                  </a:lnTo>
                  <a:lnTo>
                    <a:pt x="226" y="252"/>
                  </a:lnTo>
                  <a:lnTo>
                    <a:pt x="226" y="254"/>
                  </a:lnTo>
                  <a:lnTo>
                    <a:pt x="227" y="256"/>
                  </a:lnTo>
                  <a:lnTo>
                    <a:pt x="229" y="256"/>
                  </a:lnTo>
                  <a:lnTo>
                    <a:pt x="231" y="258"/>
                  </a:lnTo>
                  <a:lnTo>
                    <a:pt x="233" y="261"/>
                  </a:lnTo>
                  <a:lnTo>
                    <a:pt x="236" y="265"/>
                  </a:lnTo>
                  <a:lnTo>
                    <a:pt x="238" y="266"/>
                  </a:lnTo>
                  <a:lnTo>
                    <a:pt x="238" y="268"/>
                  </a:lnTo>
                  <a:lnTo>
                    <a:pt x="238" y="270"/>
                  </a:lnTo>
                  <a:lnTo>
                    <a:pt x="238" y="271"/>
                  </a:lnTo>
                  <a:lnTo>
                    <a:pt x="236" y="271"/>
                  </a:lnTo>
                  <a:lnTo>
                    <a:pt x="234" y="271"/>
                  </a:lnTo>
                  <a:lnTo>
                    <a:pt x="233" y="271"/>
                  </a:lnTo>
                  <a:lnTo>
                    <a:pt x="231" y="271"/>
                  </a:lnTo>
                  <a:lnTo>
                    <a:pt x="229" y="270"/>
                  </a:lnTo>
                  <a:lnTo>
                    <a:pt x="227" y="270"/>
                  </a:lnTo>
                  <a:lnTo>
                    <a:pt x="227" y="271"/>
                  </a:lnTo>
                  <a:lnTo>
                    <a:pt x="226" y="271"/>
                  </a:lnTo>
                  <a:lnTo>
                    <a:pt x="226" y="271"/>
                  </a:lnTo>
                  <a:lnTo>
                    <a:pt x="226" y="271"/>
                  </a:lnTo>
                  <a:lnTo>
                    <a:pt x="224" y="271"/>
                  </a:lnTo>
                  <a:lnTo>
                    <a:pt x="222" y="271"/>
                  </a:lnTo>
                  <a:lnTo>
                    <a:pt x="221" y="271"/>
                  </a:lnTo>
                  <a:lnTo>
                    <a:pt x="221" y="273"/>
                  </a:lnTo>
                  <a:lnTo>
                    <a:pt x="221" y="271"/>
                  </a:lnTo>
                  <a:lnTo>
                    <a:pt x="219" y="271"/>
                  </a:lnTo>
                  <a:lnTo>
                    <a:pt x="217" y="271"/>
                  </a:lnTo>
                  <a:lnTo>
                    <a:pt x="215" y="271"/>
                  </a:lnTo>
                  <a:lnTo>
                    <a:pt x="212" y="271"/>
                  </a:lnTo>
                  <a:lnTo>
                    <a:pt x="210" y="271"/>
                  </a:lnTo>
                  <a:lnTo>
                    <a:pt x="205" y="271"/>
                  </a:lnTo>
                  <a:lnTo>
                    <a:pt x="203" y="271"/>
                  </a:lnTo>
                  <a:lnTo>
                    <a:pt x="203" y="271"/>
                  </a:lnTo>
                  <a:lnTo>
                    <a:pt x="203" y="277"/>
                  </a:lnTo>
                  <a:lnTo>
                    <a:pt x="202" y="277"/>
                  </a:lnTo>
                  <a:lnTo>
                    <a:pt x="200" y="277"/>
                  </a:lnTo>
                  <a:lnTo>
                    <a:pt x="198" y="277"/>
                  </a:lnTo>
                  <a:lnTo>
                    <a:pt x="196" y="277"/>
                  </a:lnTo>
                  <a:lnTo>
                    <a:pt x="195" y="277"/>
                  </a:lnTo>
                  <a:lnTo>
                    <a:pt x="193" y="277"/>
                  </a:lnTo>
                  <a:lnTo>
                    <a:pt x="191" y="277"/>
                  </a:lnTo>
                  <a:lnTo>
                    <a:pt x="190" y="277"/>
                  </a:lnTo>
                  <a:lnTo>
                    <a:pt x="188" y="277"/>
                  </a:lnTo>
                  <a:lnTo>
                    <a:pt x="186" y="277"/>
                  </a:lnTo>
                  <a:lnTo>
                    <a:pt x="181" y="277"/>
                  </a:lnTo>
                  <a:lnTo>
                    <a:pt x="181" y="283"/>
                  </a:lnTo>
                  <a:lnTo>
                    <a:pt x="174" y="283"/>
                  </a:lnTo>
                  <a:lnTo>
                    <a:pt x="169" y="283"/>
                  </a:lnTo>
                  <a:lnTo>
                    <a:pt x="157" y="283"/>
                  </a:lnTo>
                  <a:lnTo>
                    <a:pt x="157" y="287"/>
                  </a:lnTo>
                  <a:lnTo>
                    <a:pt x="159" y="295"/>
                  </a:lnTo>
                  <a:lnTo>
                    <a:pt x="155" y="295"/>
                  </a:lnTo>
                  <a:lnTo>
                    <a:pt x="152" y="295"/>
                  </a:lnTo>
                  <a:lnTo>
                    <a:pt x="147" y="295"/>
                  </a:lnTo>
                  <a:lnTo>
                    <a:pt x="140" y="295"/>
                  </a:lnTo>
                  <a:lnTo>
                    <a:pt x="140" y="301"/>
                  </a:lnTo>
                  <a:lnTo>
                    <a:pt x="140" y="302"/>
                  </a:lnTo>
                  <a:lnTo>
                    <a:pt x="140" y="304"/>
                  </a:lnTo>
                  <a:lnTo>
                    <a:pt x="129" y="304"/>
                  </a:lnTo>
                  <a:lnTo>
                    <a:pt x="129" y="306"/>
                  </a:lnTo>
                  <a:lnTo>
                    <a:pt x="129" y="311"/>
                  </a:lnTo>
                  <a:lnTo>
                    <a:pt x="121" y="311"/>
                  </a:lnTo>
                  <a:lnTo>
                    <a:pt x="119" y="311"/>
                  </a:lnTo>
                  <a:lnTo>
                    <a:pt x="119" y="320"/>
                  </a:lnTo>
                  <a:lnTo>
                    <a:pt x="119" y="321"/>
                  </a:lnTo>
                  <a:lnTo>
                    <a:pt x="119" y="323"/>
                  </a:lnTo>
                  <a:lnTo>
                    <a:pt x="117" y="323"/>
                  </a:lnTo>
                  <a:lnTo>
                    <a:pt x="112" y="323"/>
                  </a:lnTo>
                  <a:lnTo>
                    <a:pt x="107" y="323"/>
                  </a:lnTo>
                  <a:lnTo>
                    <a:pt x="107" y="330"/>
                  </a:lnTo>
                  <a:lnTo>
                    <a:pt x="107" y="342"/>
                  </a:lnTo>
                  <a:lnTo>
                    <a:pt x="109" y="345"/>
                  </a:lnTo>
                  <a:lnTo>
                    <a:pt x="105" y="345"/>
                  </a:lnTo>
                  <a:lnTo>
                    <a:pt x="100" y="345"/>
                  </a:lnTo>
                  <a:lnTo>
                    <a:pt x="97" y="347"/>
                  </a:lnTo>
                  <a:lnTo>
                    <a:pt x="98" y="357"/>
                  </a:lnTo>
                  <a:lnTo>
                    <a:pt x="95" y="357"/>
                  </a:lnTo>
                  <a:lnTo>
                    <a:pt x="92" y="357"/>
                  </a:lnTo>
                  <a:lnTo>
                    <a:pt x="86" y="357"/>
                  </a:lnTo>
                  <a:lnTo>
                    <a:pt x="79" y="357"/>
                  </a:lnTo>
                  <a:lnTo>
                    <a:pt x="76" y="357"/>
                  </a:lnTo>
                  <a:lnTo>
                    <a:pt x="76" y="357"/>
                  </a:lnTo>
                  <a:lnTo>
                    <a:pt x="76" y="359"/>
                  </a:lnTo>
                  <a:lnTo>
                    <a:pt x="76" y="363"/>
                  </a:lnTo>
                  <a:lnTo>
                    <a:pt x="76" y="368"/>
                  </a:lnTo>
                  <a:lnTo>
                    <a:pt x="74" y="369"/>
                  </a:lnTo>
                  <a:lnTo>
                    <a:pt x="73" y="369"/>
                  </a:lnTo>
                  <a:lnTo>
                    <a:pt x="71" y="369"/>
                  </a:lnTo>
                  <a:lnTo>
                    <a:pt x="64" y="369"/>
                  </a:lnTo>
                  <a:lnTo>
                    <a:pt x="57" y="369"/>
                  </a:lnTo>
                  <a:lnTo>
                    <a:pt x="47" y="369"/>
                  </a:lnTo>
                  <a:lnTo>
                    <a:pt x="45" y="369"/>
                  </a:lnTo>
                  <a:lnTo>
                    <a:pt x="45" y="369"/>
                  </a:lnTo>
                  <a:lnTo>
                    <a:pt x="43" y="369"/>
                  </a:lnTo>
                  <a:lnTo>
                    <a:pt x="40" y="369"/>
                  </a:lnTo>
                  <a:lnTo>
                    <a:pt x="38" y="369"/>
                  </a:lnTo>
                  <a:lnTo>
                    <a:pt x="36" y="369"/>
                  </a:lnTo>
                  <a:lnTo>
                    <a:pt x="35" y="369"/>
                  </a:lnTo>
                  <a:lnTo>
                    <a:pt x="31" y="369"/>
                  </a:lnTo>
                  <a:lnTo>
                    <a:pt x="26" y="371"/>
                  </a:lnTo>
                  <a:lnTo>
                    <a:pt x="21" y="371"/>
                  </a:lnTo>
                  <a:lnTo>
                    <a:pt x="18" y="371"/>
                  </a:lnTo>
                  <a:lnTo>
                    <a:pt x="16" y="371"/>
                  </a:lnTo>
                  <a:lnTo>
                    <a:pt x="14" y="371"/>
                  </a:lnTo>
                  <a:lnTo>
                    <a:pt x="11" y="371"/>
                  </a:lnTo>
                  <a:lnTo>
                    <a:pt x="9" y="371"/>
                  </a:lnTo>
                  <a:lnTo>
                    <a:pt x="9" y="366"/>
                  </a:lnTo>
                  <a:lnTo>
                    <a:pt x="9" y="363"/>
                  </a:lnTo>
                  <a:lnTo>
                    <a:pt x="9" y="361"/>
                  </a:lnTo>
                  <a:lnTo>
                    <a:pt x="9" y="352"/>
                  </a:lnTo>
                  <a:lnTo>
                    <a:pt x="9" y="349"/>
                  </a:lnTo>
                  <a:lnTo>
                    <a:pt x="7" y="347"/>
                  </a:lnTo>
                  <a:lnTo>
                    <a:pt x="7" y="344"/>
                  </a:lnTo>
                  <a:lnTo>
                    <a:pt x="7" y="342"/>
                  </a:lnTo>
                  <a:lnTo>
                    <a:pt x="7" y="332"/>
                  </a:lnTo>
                  <a:lnTo>
                    <a:pt x="7" y="326"/>
                  </a:lnTo>
                  <a:lnTo>
                    <a:pt x="7" y="325"/>
                  </a:lnTo>
                  <a:lnTo>
                    <a:pt x="7" y="318"/>
                  </a:lnTo>
                  <a:lnTo>
                    <a:pt x="7" y="314"/>
                  </a:lnTo>
                  <a:lnTo>
                    <a:pt x="7" y="309"/>
                  </a:lnTo>
                  <a:lnTo>
                    <a:pt x="7" y="302"/>
                  </a:lnTo>
                  <a:lnTo>
                    <a:pt x="7" y="302"/>
                  </a:lnTo>
                  <a:lnTo>
                    <a:pt x="7" y="301"/>
                  </a:lnTo>
                  <a:lnTo>
                    <a:pt x="9" y="301"/>
                  </a:lnTo>
                  <a:lnTo>
                    <a:pt x="9" y="297"/>
                  </a:lnTo>
                  <a:lnTo>
                    <a:pt x="9" y="294"/>
                  </a:lnTo>
                  <a:lnTo>
                    <a:pt x="9" y="282"/>
                  </a:lnTo>
                  <a:lnTo>
                    <a:pt x="9" y="278"/>
                  </a:lnTo>
                  <a:lnTo>
                    <a:pt x="9" y="277"/>
                  </a:lnTo>
                  <a:lnTo>
                    <a:pt x="9" y="275"/>
                  </a:lnTo>
                  <a:lnTo>
                    <a:pt x="9" y="271"/>
                  </a:lnTo>
                  <a:lnTo>
                    <a:pt x="9" y="268"/>
                  </a:lnTo>
                  <a:lnTo>
                    <a:pt x="7" y="259"/>
                  </a:lnTo>
                  <a:lnTo>
                    <a:pt x="7" y="258"/>
                  </a:lnTo>
                  <a:lnTo>
                    <a:pt x="7" y="254"/>
                  </a:lnTo>
                  <a:lnTo>
                    <a:pt x="7" y="251"/>
                  </a:lnTo>
                  <a:lnTo>
                    <a:pt x="7" y="249"/>
                  </a:lnTo>
                  <a:lnTo>
                    <a:pt x="7" y="247"/>
                  </a:lnTo>
                  <a:lnTo>
                    <a:pt x="7" y="242"/>
                  </a:lnTo>
                  <a:lnTo>
                    <a:pt x="7" y="237"/>
                  </a:lnTo>
                  <a:lnTo>
                    <a:pt x="7" y="230"/>
                  </a:lnTo>
                  <a:lnTo>
                    <a:pt x="7" y="228"/>
                  </a:lnTo>
                  <a:lnTo>
                    <a:pt x="6" y="228"/>
                  </a:lnTo>
                  <a:lnTo>
                    <a:pt x="6" y="223"/>
                  </a:lnTo>
                  <a:lnTo>
                    <a:pt x="6" y="222"/>
                  </a:lnTo>
                  <a:lnTo>
                    <a:pt x="6" y="209"/>
                  </a:lnTo>
                  <a:lnTo>
                    <a:pt x="6" y="208"/>
                  </a:lnTo>
                  <a:lnTo>
                    <a:pt x="6" y="203"/>
                  </a:lnTo>
                  <a:lnTo>
                    <a:pt x="6" y="196"/>
                  </a:lnTo>
                  <a:lnTo>
                    <a:pt x="6" y="192"/>
                  </a:lnTo>
                  <a:lnTo>
                    <a:pt x="6" y="184"/>
                  </a:lnTo>
                  <a:lnTo>
                    <a:pt x="6" y="182"/>
                  </a:lnTo>
                  <a:lnTo>
                    <a:pt x="6" y="180"/>
                  </a:lnTo>
                  <a:lnTo>
                    <a:pt x="6" y="172"/>
                  </a:lnTo>
                  <a:lnTo>
                    <a:pt x="4" y="161"/>
                  </a:lnTo>
                  <a:lnTo>
                    <a:pt x="4" y="158"/>
                  </a:lnTo>
                  <a:lnTo>
                    <a:pt x="4" y="154"/>
                  </a:lnTo>
                  <a:lnTo>
                    <a:pt x="4" y="149"/>
                  </a:lnTo>
                  <a:lnTo>
                    <a:pt x="4" y="141"/>
                  </a:lnTo>
                  <a:lnTo>
                    <a:pt x="4" y="136"/>
                  </a:lnTo>
                  <a:lnTo>
                    <a:pt x="4" y="129"/>
                  </a:lnTo>
                  <a:lnTo>
                    <a:pt x="4" y="127"/>
                  </a:lnTo>
                  <a:lnTo>
                    <a:pt x="4" y="125"/>
                  </a:lnTo>
                  <a:lnTo>
                    <a:pt x="4" y="123"/>
                  </a:lnTo>
                  <a:lnTo>
                    <a:pt x="2" y="123"/>
                  </a:lnTo>
                  <a:lnTo>
                    <a:pt x="2" y="118"/>
                  </a:lnTo>
                  <a:lnTo>
                    <a:pt x="2" y="115"/>
                  </a:lnTo>
                  <a:lnTo>
                    <a:pt x="2" y="110"/>
                  </a:lnTo>
                  <a:lnTo>
                    <a:pt x="2" y="105"/>
                  </a:lnTo>
                  <a:lnTo>
                    <a:pt x="2" y="103"/>
                  </a:lnTo>
                  <a:lnTo>
                    <a:pt x="2" y="98"/>
                  </a:lnTo>
                  <a:lnTo>
                    <a:pt x="2" y="96"/>
                  </a:lnTo>
                  <a:lnTo>
                    <a:pt x="2" y="94"/>
                  </a:lnTo>
                  <a:lnTo>
                    <a:pt x="2" y="92"/>
                  </a:lnTo>
                  <a:lnTo>
                    <a:pt x="2" y="91"/>
                  </a:lnTo>
                  <a:lnTo>
                    <a:pt x="2" y="89"/>
                  </a:lnTo>
                  <a:lnTo>
                    <a:pt x="2" y="86"/>
                  </a:lnTo>
                  <a:lnTo>
                    <a:pt x="2" y="84"/>
                  </a:lnTo>
                  <a:lnTo>
                    <a:pt x="2" y="80"/>
                  </a:lnTo>
                  <a:lnTo>
                    <a:pt x="2" y="79"/>
                  </a:lnTo>
                  <a:lnTo>
                    <a:pt x="2" y="77"/>
                  </a:lnTo>
                  <a:lnTo>
                    <a:pt x="2" y="75"/>
                  </a:lnTo>
                  <a:lnTo>
                    <a:pt x="2" y="74"/>
                  </a:lnTo>
                  <a:lnTo>
                    <a:pt x="2" y="72"/>
                  </a:lnTo>
                  <a:lnTo>
                    <a:pt x="2" y="70"/>
                  </a:lnTo>
                  <a:lnTo>
                    <a:pt x="2" y="68"/>
                  </a:lnTo>
                  <a:lnTo>
                    <a:pt x="2" y="63"/>
                  </a:lnTo>
                  <a:lnTo>
                    <a:pt x="2" y="62"/>
                  </a:lnTo>
                  <a:lnTo>
                    <a:pt x="0" y="60"/>
                  </a:lnTo>
                  <a:lnTo>
                    <a:pt x="0" y="55"/>
                  </a:lnTo>
                  <a:lnTo>
                    <a:pt x="0" y="53"/>
                  </a:lnTo>
                  <a:lnTo>
                    <a:pt x="0" y="51"/>
                  </a:lnTo>
                  <a:lnTo>
                    <a:pt x="0" y="46"/>
                  </a:lnTo>
                  <a:lnTo>
                    <a:pt x="0" y="43"/>
                  </a:lnTo>
                  <a:lnTo>
                    <a:pt x="0" y="41"/>
                  </a:lnTo>
                  <a:lnTo>
                    <a:pt x="0" y="39"/>
                  </a:lnTo>
                  <a:lnTo>
                    <a:pt x="0" y="37"/>
                  </a:lnTo>
                  <a:lnTo>
                    <a:pt x="0" y="25"/>
                  </a:lnTo>
                  <a:lnTo>
                    <a:pt x="0" y="20"/>
                  </a:lnTo>
                  <a:lnTo>
                    <a:pt x="0" y="19"/>
                  </a:lnTo>
                  <a:lnTo>
                    <a:pt x="0" y="6"/>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0" name="Freeform 220"/>
            <p:cNvSpPr>
              <a:spLocks/>
            </p:cNvSpPr>
            <p:nvPr/>
          </p:nvSpPr>
          <p:spPr bwMode="auto">
            <a:xfrm>
              <a:off x="7841546" y="4508294"/>
              <a:ext cx="349250" cy="688975"/>
            </a:xfrm>
            <a:custGeom>
              <a:avLst/>
              <a:gdLst/>
              <a:ahLst/>
              <a:cxnLst>
                <a:cxn ang="0">
                  <a:pos x="211" y="33"/>
                </a:cxn>
                <a:cxn ang="0">
                  <a:pos x="211" y="49"/>
                </a:cxn>
                <a:cxn ang="0">
                  <a:pos x="213" y="66"/>
                </a:cxn>
                <a:cxn ang="0">
                  <a:pos x="213" y="78"/>
                </a:cxn>
                <a:cxn ang="0">
                  <a:pos x="213" y="90"/>
                </a:cxn>
                <a:cxn ang="0">
                  <a:pos x="213" y="112"/>
                </a:cxn>
                <a:cxn ang="0">
                  <a:pos x="215" y="130"/>
                </a:cxn>
                <a:cxn ang="0">
                  <a:pos x="217" y="166"/>
                </a:cxn>
                <a:cxn ang="0">
                  <a:pos x="217" y="197"/>
                </a:cxn>
                <a:cxn ang="0">
                  <a:pos x="218" y="222"/>
                </a:cxn>
                <a:cxn ang="0">
                  <a:pos x="218" y="245"/>
                </a:cxn>
                <a:cxn ang="0">
                  <a:pos x="220" y="269"/>
                </a:cxn>
                <a:cxn ang="0">
                  <a:pos x="220" y="295"/>
                </a:cxn>
                <a:cxn ang="0">
                  <a:pos x="218" y="312"/>
                </a:cxn>
                <a:cxn ang="0">
                  <a:pos x="218" y="341"/>
                </a:cxn>
                <a:cxn ang="0">
                  <a:pos x="220" y="365"/>
                </a:cxn>
                <a:cxn ang="0">
                  <a:pos x="192" y="365"/>
                </a:cxn>
                <a:cxn ang="0">
                  <a:pos x="167" y="365"/>
                </a:cxn>
                <a:cxn ang="0">
                  <a:pos x="163" y="377"/>
                </a:cxn>
                <a:cxn ang="0">
                  <a:pos x="165" y="401"/>
                </a:cxn>
                <a:cxn ang="0">
                  <a:pos x="165" y="422"/>
                </a:cxn>
                <a:cxn ang="0">
                  <a:pos x="143" y="425"/>
                </a:cxn>
                <a:cxn ang="0">
                  <a:pos x="139" y="432"/>
                </a:cxn>
                <a:cxn ang="0">
                  <a:pos x="124" y="434"/>
                </a:cxn>
                <a:cxn ang="0">
                  <a:pos x="113" y="434"/>
                </a:cxn>
                <a:cxn ang="0">
                  <a:pos x="94" y="434"/>
                </a:cxn>
                <a:cxn ang="0">
                  <a:pos x="72" y="432"/>
                </a:cxn>
                <a:cxn ang="0">
                  <a:pos x="72" y="417"/>
                </a:cxn>
                <a:cxn ang="0">
                  <a:pos x="72" y="401"/>
                </a:cxn>
                <a:cxn ang="0">
                  <a:pos x="53" y="401"/>
                </a:cxn>
                <a:cxn ang="0">
                  <a:pos x="32" y="401"/>
                </a:cxn>
                <a:cxn ang="0">
                  <a:pos x="3" y="401"/>
                </a:cxn>
                <a:cxn ang="0">
                  <a:pos x="0" y="381"/>
                </a:cxn>
                <a:cxn ang="0">
                  <a:pos x="2" y="360"/>
                </a:cxn>
                <a:cxn ang="0">
                  <a:pos x="0" y="324"/>
                </a:cxn>
                <a:cxn ang="0">
                  <a:pos x="0" y="291"/>
                </a:cxn>
                <a:cxn ang="0">
                  <a:pos x="0" y="272"/>
                </a:cxn>
                <a:cxn ang="0">
                  <a:pos x="0" y="240"/>
                </a:cxn>
                <a:cxn ang="0">
                  <a:pos x="12" y="228"/>
                </a:cxn>
                <a:cxn ang="0">
                  <a:pos x="45" y="219"/>
                </a:cxn>
                <a:cxn ang="0">
                  <a:pos x="43" y="193"/>
                </a:cxn>
                <a:cxn ang="0">
                  <a:pos x="43" y="176"/>
                </a:cxn>
                <a:cxn ang="0">
                  <a:pos x="43" y="145"/>
                </a:cxn>
                <a:cxn ang="0">
                  <a:pos x="43" y="116"/>
                </a:cxn>
                <a:cxn ang="0">
                  <a:pos x="41" y="99"/>
                </a:cxn>
                <a:cxn ang="0">
                  <a:pos x="43" y="83"/>
                </a:cxn>
                <a:cxn ang="0">
                  <a:pos x="43" y="52"/>
                </a:cxn>
                <a:cxn ang="0">
                  <a:pos x="41" y="9"/>
                </a:cxn>
                <a:cxn ang="0">
                  <a:pos x="70" y="7"/>
                </a:cxn>
                <a:cxn ang="0">
                  <a:pos x="108" y="6"/>
                </a:cxn>
                <a:cxn ang="0">
                  <a:pos x="136" y="4"/>
                </a:cxn>
                <a:cxn ang="0">
                  <a:pos x="165" y="4"/>
                </a:cxn>
                <a:cxn ang="0">
                  <a:pos x="203" y="2"/>
                </a:cxn>
              </a:cxnLst>
              <a:rect l="0" t="0" r="r" b="b"/>
              <a:pathLst>
                <a:path w="220" h="434">
                  <a:moveTo>
                    <a:pt x="211" y="0"/>
                  </a:moveTo>
                  <a:lnTo>
                    <a:pt x="211" y="13"/>
                  </a:lnTo>
                  <a:lnTo>
                    <a:pt x="211" y="14"/>
                  </a:lnTo>
                  <a:lnTo>
                    <a:pt x="211" y="19"/>
                  </a:lnTo>
                  <a:lnTo>
                    <a:pt x="211" y="31"/>
                  </a:lnTo>
                  <a:lnTo>
                    <a:pt x="211" y="33"/>
                  </a:lnTo>
                  <a:lnTo>
                    <a:pt x="211" y="35"/>
                  </a:lnTo>
                  <a:lnTo>
                    <a:pt x="211" y="37"/>
                  </a:lnTo>
                  <a:lnTo>
                    <a:pt x="211" y="40"/>
                  </a:lnTo>
                  <a:lnTo>
                    <a:pt x="211" y="45"/>
                  </a:lnTo>
                  <a:lnTo>
                    <a:pt x="211" y="47"/>
                  </a:lnTo>
                  <a:lnTo>
                    <a:pt x="211" y="49"/>
                  </a:lnTo>
                  <a:lnTo>
                    <a:pt x="211" y="54"/>
                  </a:lnTo>
                  <a:lnTo>
                    <a:pt x="213" y="56"/>
                  </a:lnTo>
                  <a:lnTo>
                    <a:pt x="213" y="57"/>
                  </a:lnTo>
                  <a:lnTo>
                    <a:pt x="213" y="62"/>
                  </a:lnTo>
                  <a:lnTo>
                    <a:pt x="213" y="64"/>
                  </a:lnTo>
                  <a:lnTo>
                    <a:pt x="213" y="66"/>
                  </a:lnTo>
                  <a:lnTo>
                    <a:pt x="213" y="68"/>
                  </a:lnTo>
                  <a:lnTo>
                    <a:pt x="213" y="69"/>
                  </a:lnTo>
                  <a:lnTo>
                    <a:pt x="213" y="71"/>
                  </a:lnTo>
                  <a:lnTo>
                    <a:pt x="213" y="73"/>
                  </a:lnTo>
                  <a:lnTo>
                    <a:pt x="213" y="74"/>
                  </a:lnTo>
                  <a:lnTo>
                    <a:pt x="213" y="78"/>
                  </a:lnTo>
                  <a:lnTo>
                    <a:pt x="213" y="80"/>
                  </a:lnTo>
                  <a:lnTo>
                    <a:pt x="213" y="83"/>
                  </a:lnTo>
                  <a:lnTo>
                    <a:pt x="213" y="85"/>
                  </a:lnTo>
                  <a:lnTo>
                    <a:pt x="213" y="86"/>
                  </a:lnTo>
                  <a:lnTo>
                    <a:pt x="213" y="88"/>
                  </a:lnTo>
                  <a:lnTo>
                    <a:pt x="213" y="90"/>
                  </a:lnTo>
                  <a:lnTo>
                    <a:pt x="213" y="92"/>
                  </a:lnTo>
                  <a:lnTo>
                    <a:pt x="213" y="97"/>
                  </a:lnTo>
                  <a:lnTo>
                    <a:pt x="213" y="99"/>
                  </a:lnTo>
                  <a:lnTo>
                    <a:pt x="213" y="104"/>
                  </a:lnTo>
                  <a:lnTo>
                    <a:pt x="213" y="109"/>
                  </a:lnTo>
                  <a:lnTo>
                    <a:pt x="213" y="112"/>
                  </a:lnTo>
                  <a:lnTo>
                    <a:pt x="213" y="117"/>
                  </a:lnTo>
                  <a:lnTo>
                    <a:pt x="215" y="117"/>
                  </a:lnTo>
                  <a:lnTo>
                    <a:pt x="215" y="119"/>
                  </a:lnTo>
                  <a:lnTo>
                    <a:pt x="215" y="121"/>
                  </a:lnTo>
                  <a:lnTo>
                    <a:pt x="215" y="123"/>
                  </a:lnTo>
                  <a:lnTo>
                    <a:pt x="215" y="130"/>
                  </a:lnTo>
                  <a:lnTo>
                    <a:pt x="215" y="135"/>
                  </a:lnTo>
                  <a:lnTo>
                    <a:pt x="215" y="143"/>
                  </a:lnTo>
                  <a:lnTo>
                    <a:pt x="215" y="148"/>
                  </a:lnTo>
                  <a:lnTo>
                    <a:pt x="215" y="152"/>
                  </a:lnTo>
                  <a:lnTo>
                    <a:pt x="215" y="155"/>
                  </a:lnTo>
                  <a:lnTo>
                    <a:pt x="217" y="166"/>
                  </a:lnTo>
                  <a:lnTo>
                    <a:pt x="217" y="174"/>
                  </a:lnTo>
                  <a:lnTo>
                    <a:pt x="217" y="176"/>
                  </a:lnTo>
                  <a:lnTo>
                    <a:pt x="217" y="178"/>
                  </a:lnTo>
                  <a:lnTo>
                    <a:pt x="217" y="186"/>
                  </a:lnTo>
                  <a:lnTo>
                    <a:pt x="217" y="190"/>
                  </a:lnTo>
                  <a:lnTo>
                    <a:pt x="217" y="197"/>
                  </a:lnTo>
                  <a:lnTo>
                    <a:pt x="217" y="202"/>
                  </a:lnTo>
                  <a:lnTo>
                    <a:pt x="217" y="203"/>
                  </a:lnTo>
                  <a:lnTo>
                    <a:pt x="217" y="216"/>
                  </a:lnTo>
                  <a:lnTo>
                    <a:pt x="217" y="217"/>
                  </a:lnTo>
                  <a:lnTo>
                    <a:pt x="217" y="222"/>
                  </a:lnTo>
                  <a:lnTo>
                    <a:pt x="218" y="222"/>
                  </a:lnTo>
                  <a:lnTo>
                    <a:pt x="218" y="224"/>
                  </a:lnTo>
                  <a:lnTo>
                    <a:pt x="218" y="231"/>
                  </a:lnTo>
                  <a:lnTo>
                    <a:pt x="218" y="236"/>
                  </a:lnTo>
                  <a:lnTo>
                    <a:pt x="218" y="241"/>
                  </a:lnTo>
                  <a:lnTo>
                    <a:pt x="218" y="243"/>
                  </a:lnTo>
                  <a:lnTo>
                    <a:pt x="218" y="245"/>
                  </a:lnTo>
                  <a:lnTo>
                    <a:pt x="218" y="248"/>
                  </a:lnTo>
                  <a:lnTo>
                    <a:pt x="218" y="252"/>
                  </a:lnTo>
                  <a:lnTo>
                    <a:pt x="218" y="253"/>
                  </a:lnTo>
                  <a:lnTo>
                    <a:pt x="220" y="262"/>
                  </a:lnTo>
                  <a:lnTo>
                    <a:pt x="220" y="265"/>
                  </a:lnTo>
                  <a:lnTo>
                    <a:pt x="220" y="269"/>
                  </a:lnTo>
                  <a:lnTo>
                    <a:pt x="220" y="271"/>
                  </a:lnTo>
                  <a:lnTo>
                    <a:pt x="220" y="272"/>
                  </a:lnTo>
                  <a:lnTo>
                    <a:pt x="220" y="276"/>
                  </a:lnTo>
                  <a:lnTo>
                    <a:pt x="220" y="288"/>
                  </a:lnTo>
                  <a:lnTo>
                    <a:pt x="220" y="291"/>
                  </a:lnTo>
                  <a:lnTo>
                    <a:pt x="220" y="295"/>
                  </a:lnTo>
                  <a:lnTo>
                    <a:pt x="218" y="295"/>
                  </a:lnTo>
                  <a:lnTo>
                    <a:pt x="218" y="296"/>
                  </a:lnTo>
                  <a:lnTo>
                    <a:pt x="218" y="296"/>
                  </a:lnTo>
                  <a:lnTo>
                    <a:pt x="218" y="303"/>
                  </a:lnTo>
                  <a:lnTo>
                    <a:pt x="218" y="308"/>
                  </a:lnTo>
                  <a:lnTo>
                    <a:pt x="218" y="312"/>
                  </a:lnTo>
                  <a:lnTo>
                    <a:pt x="218" y="319"/>
                  </a:lnTo>
                  <a:lnTo>
                    <a:pt x="218" y="320"/>
                  </a:lnTo>
                  <a:lnTo>
                    <a:pt x="218" y="326"/>
                  </a:lnTo>
                  <a:lnTo>
                    <a:pt x="218" y="336"/>
                  </a:lnTo>
                  <a:lnTo>
                    <a:pt x="218" y="338"/>
                  </a:lnTo>
                  <a:lnTo>
                    <a:pt x="218" y="341"/>
                  </a:lnTo>
                  <a:lnTo>
                    <a:pt x="220" y="343"/>
                  </a:lnTo>
                  <a:lnTo>
                    <a:pt x="220" y="346"/>
                  </a:lnTo>
                  <a:lnTo>
                    <a:pt x="220" y="355"/>
                  </a:lnTo>
                  <a:lnTo>
                    <a:pt x="220" y="357"/>
                  </a:lnTo>
                  <a:lnTo>
                    <a:pt x="220" y="360"/>
                  </a:lnTo>
                  <a:lnTo>
                    <a:pt x="220" y="365"/>
                  </a:lnTo>
                  <a:lnTo>
                    <a:pt x="217" y="365"/>
                  </a:lnTo>
                  <a:lnTo>
                    <a:pt x="215" y="365"/>
                  </a:lnTo>
                  <a:lnTo>
                    <a:pt x="211" y="365"/>
                  </a:lnTo>
                  <a:lnTo>
                    <a:pt x="196" y="365"/>
                  </a:lnTo>
                  <a:lnTo>
                    <a:pt x="194" y="365"/>
                  </a:lnTo>
                  <a:lnTo>
                    <a:pt x="192" y="365"/>
                  </a:lnTo>
                  <a:lnTo>
                    <a:pt x="184" y="365"/>
                  </a:lnTo>
                  <a:lnTo>
                    <a:pt x="180" y="365"/>
                  </a:lnTo>
                  <a:lnTo>
                    <a:pt x="175" y="365"/>
                  </a:lnTo>
                  <a:lnTo>
                    <a:pt x="172" y="365"/>
                  </a:lnTo>
                  <a:lnTo>
                    <a:pt x="170" y="365"/>
                  </a:lnTo>
                  <a:lnTo>
                    <a:pt x="167" y="365"/>
                  </a:lnTo>
                  <a:lnTo>
                    <a:pt x="165" y="365"/>
                  </a:lnTo>
                  <a:lnTo>
                    <a:pt x="163" y="365"/>
                  </a:lnTo>
                  <a:lnTo>
                    <a:pt x="163" y="367"/>
                  </a:lnTo>
                  <a:lnTo>
                    <a:pt x="163" y="369"/>
                  </a:lnTo>
                  <a:lnTo>
                    <a:pt x="163" y="370"/>
                  </a:lnTo>
                  <a:lnTo>
                    <a:pt x="163" y="377"/>
                  </a:lnTo>
                  <a:lnTo>
                    <a:pt x="165" y="388"/>
                  </a:lnTo>
                  <a:lnTo>
                    <a:pt x="165" y="389"/>
                  </a:lnTo>
                  <a:lnTo>
                    <a:pt x="165" y="393"/>
                  </a:lnTo>
                  <a:lnTo>
                    <a:pt x="165" y="400"/>
                  </a:lnTo>
                  <a:lnTo>
                    <a:pt x="165" y="401"/>
                  </a:lnTo>
                  <a:lnTo>
                    <a:pt x="165" y="401"/>
                  </a:lnTo>
                  <a:lnTo>
                    <a:pt x="165" y="403"/>
                  </a:lnTo>
                  <a:lnTo>
                    <a:pt x="165" y="410"/>
                  </a:lnTo>
                  <a:lnTo>
                    <a:pt x="165" y="412"/>
                  </a:lnTo>
                  <a:lnTo>
                    <a:pt x="165" y="417"/>
                  </a:lnTo>
                  <a:lnTo>
                    <a:pt x="165" y="419"/>
                  </a:lnTo>
                  <a:lnTo>
                    <a:pt x="165" y="422"/>
                  </a:lnTo>
                  <a:lnTo>
                    <a:pt x="156" y="422"/>
                  </a:lnTo>
                  <a:lnTo>
                    <a:pt x="153" y="422"/>
                  </a:lnTo>
                  <a:lnTo>
                    <a:pt x="144" y="422"/>
                  </a:lnTo>
                  <a:lnTo>
                    <a:pt x="143" y="422"/>
                  </a:lnTo>
                  <a:lnTo>
                    <a:pt x="143" y="424"/>
                  </a:lnTo>
                  <a:lnTo>
                    <a:pt x="143" y="425"/>
                  </a:lnTo>
                  <a:lnTo>
                    <a:pt x="143" y="429"/>
                  </a:lnTo>
                  <a:lnTo>
                    <a:pt x="143" y="431"/>
                  </a:lnTo>
                  <a:lnTo>
                    <a:pt x="143" y="432"/>
                  </a:lnTo>
                  <a:lnTo>
                    <a:pt x="143" y="432"/>
                  </a:lnTo>
                  <a:lnTo>
                    <a:pt x="141" y="432"/>
                  </a:lnTo>
                  <a:lnTo>
                    <a:pt x="139" y="432"/>
                  </a:lnTo>
                  <a:lnTo>
                    <a:pt x="137" y="432"/>
                  </a:lnTo>
                  <a:lnTo>
                    <a:pt x="136" y="432"/>
                  </a:lnTo>
                  <a:lnTo>
                    <a:pt x="132" y="432"/>
                  </a:lnTo>
                  <a:lnTo>
                    <a:pt x="131" y="434"/>
                  </a:lnTo>
                  <a:lnTo>
                    <a:pt x="129" y="434"/>
                  </a:lnTo>
                  <a:lnTo>
                    <a:pt x="124" y="434"/>
                  </a:lnTo>
                  <a:lnTo>
                    <a:pt x="120" y="434"/>
                  </a:lnTo>
                  <a:lnTo>
                    <a:pt x="120" y="434"/>
                  </a:lnTo>
                  <a:lnTo>
                    <a:pt x="118" y="434"/>
                  </a:lnTo>
                  <a:lnTo>
                    <a:pt x="117" y="434"/>
                  </a:lnTo>
                  <a:lnTo>
                    <a:pt x="115" y="434"/>
                  </a:lnTo>
                  <a:lnTo>
                    <a:pt x="113" y="434"/>
                  </a:lnTo>
                  <a:lnTo>
                    <a:pt x="112" y="434"/>
                  </a:lnTo>
                  <a:lnTo>
                    <a:pt x="108" y="434"/>
                  </a:lnTo>
                  <a:lnTo>
                    <a:pt x="106" y="434"/>
                  </a:lnTo>
                  <a:lnTo>
                    <a:pt x="105" y="434"/>
                  </a:lnTo>
                  <a:lnTo>
                    <a:pt x="98" y="434"/>
                  </a:lnTo>
                  <a:lnTo>
                    <a:pt x="94" y="434"/>
                  </a:lnTo>
                  <a:lnTo>
                    <a:pt x="93" y="434"/>
                  </a:lnTo>
                  <a:lnTo>
                    <a:pt x="84" y="434"/>
                  </a:lnTo>
                  <a:lnTo>
                    <a:pt x="82" y="434"/>
                  </a:lnTo>
                  <a:lnTo>
                    <a:pt x="74" y="434"/>
                  </a:lnTo>
                  <a:lnTo>
                    <a:pt x="72" y="434"/>
                  </a:lnTo>
                  <a:lnTo>
                    <a:pt x="72" y="432"/>
                  </a:lnTo>
                  <a:lnTo>
                    <a:pt x="72" y="432"/>
                  </a:lnTo>
                  <a:lnTo>
                    <a:pt x="72" y="431"/>
                  </a:lnTo>
                  <a:lnTo>
                    <a:pt x="72" y="429"/>
                  </a:lnTo>
                  <a:lnTo>
                    <a:pt x="72" y="427"/>
                  </a:lnTo>
                  <a:lnTo>
                    <a:pt x="72" y="424"/>
                  </a:lnTo>
                  <a:lnTo>
                    <a:pt x="72" y="417"/>
                  </a:lnTo>
                  <a:lnTo>
                    <a:pt x="72" y="417"/>
                  </a:lnTo>
                  <a:lnTo>
                    <a:pt x="72" y="413"/>
                  </a:lnTo>
                  <a:lnTo>
                    <a:pt x="72" y="406"/>
                  </a:lnTo>
                  <a:lnTo>
                    <a:pt x="72" y="405"/>
                  </a:lnTo>
                  <a:lnTo>
                    <a:pt x="72" y="403"/>
                  </a:lnTo>
                  <a:lnTo>
                    <a:pt x="72" y="401"/>
                  </a:lnTo>
                  <a:lnTo>
                    <a:pt x="72" y="401"/>
                  </a:lnTo>
                  <a:lnTo>
                    <a:pt x="67" y="401"/>
                  </a:lnTo>
                  <a:lnTo>
                    <a:pt x="65" y="401"/>
                  </a:lnTo>
                  <a:lnTo>
                    <a:pt x="62" y="401"/>
                  </a:lnTo>
                  <a:lnTo>
                    <a:pt x="60" y="401"/>
                  </a:lnTo>
                  <a:lnTo>
                    <a:pt x="53" y="401"/>
                  </a:lnTo>
                  <a:lnTo>
                    <a:pt x="51" y="401"/>
                  </a:lnTo>
                  <a:lnTo>
                    <a:pt x="50" y="401"/>
                  </a:lnTo>
                  <a:lnTo>
                    <a:pt x="46" y="401"/>
                  </a:lnTo>
                  <a:lnTo>
                    <a:pt x="38" y="401"/>
                  </a:lnTo>
                  <a:lnTo>
                    <a:pt x="34" y="401"/>
                  </a:lnTo>
                  <a:lnTo>
                    <a:pt x="32" y="401"/>
                  </a:lnTo>
                  <a:lnTo>
                    <a:pt x="24" y="401"/>
                  </a:lnTo>
                  <a:lnTo>
                    <a:pt x="20" y="401"/>
                  </a:lnTo>
                  <a:lnTo>
                    <a:pt x="15" y="401"/>
                  </a:lnTo>
                  <a:lnTo>
                    <a:pt x="14" y="401"/>
                  </a:lnTo>
                  <a:lnTo>
                    <a:pt x="8" y="401"/>
                  </a:lnTo>
                  <a:lnTo>
                    <a:pt x="3" y="401"/>
                  </a:lnTo>
                  <a:lnTo>
                    <a:pt x="2" y="401"/>
                  </a:lnTo>
                  <a:lnTo>
                    <a:pt x="2" y="396"/>
                  </a:lnTo>
                  <a:lnTo>
                    <a:pt x="2" y="393"/>
                  </a:lnTo>
                  <a:lnTo>
                    <a:pt x="2" y="391"/>
                  </a:lnTo>
                  <a:lnTo>
                    <a:pt x="0" y="388"/>
                  </a:lnTo>
                  <a:lnTo>
                    <a:pt x="0" y="381"/>
                  </a:lnTo>
                  <a:lnTo>
                    <a:pt x="0" y="379"/>
                  </a:lnTo>
                  <a:lnTo>
                    <a:pt x="0" y="376"/>
                  </a:lnTo>
                  <a:lnTo>
                    <a:pt x="2" y="372"/>
                  </a:lnTo>
                  <a:lnTo>
                    <a:pt x="2" y="370"/>
                  </a:lnTo>
                  <a:lnTo>
                    <a:pt x="2" y="362"/>
                  </a:lnTo>
                  <a:lnTo>
                    <a:pt x="2" y="360"/>
                  </a:lnTo>
                  <a:lnTo>
                    <a:pt x="2" y="357"/>
                  </a:lnTo>
                  <a:lnTo>
                    <a:pt x="0" y="339"/>
                  </a:lnTo>
                  <a:lnTo>
                    <a:pt x="0" y="338"/>
                  </a:lnTo>
                  <a:lnTo>
                    <a:pt x="0" y="334"/>
                  </a:lnTo>
                  <a:lnTo>
                    <a:pt x="0" y="326"/>
                  </a:lnTo>
                  <a:lnTo>
                    <a:pt x="0" y="324"/>
                  </a:lnTo>
                  <a:lnTo>
                    <a:pt x="0" y="322"/>
                  </a:lnTo>
                  <a:lnTo>
                    <a:pt x="0" y="315"/>
                  </a:lnTo>
                  <a:lnTo>
                    <a:pt x="0" y="314"/>
                  </a:lnTo>
                  <a:lnTo>
                    <a:pt x="0" y="307"/>
                  </a:lnTo>
                  <a:lnTo>
                    <a:pt x="0" y="298"/>
                  </a:lnTo>
                  <a:lnTo>
                    <a:pt x="0" y="291"/>
                  </a:lnTo>
                  <a:lnTo>
                    <a:pt x="0" y="288"/>
                  </a:lnTo>
                  <a:lnTo>
                    <a:pt x="0" y="286"/>
                  </a:lnTo>
                  <a:lnTo>
                    <a:pt x="0" y="281"/>
                  </a:lnTo>
                  <a:lnTo>
                    <a:pt x="0" y="279"/>
                  </a:lnTo>
                  <a:lnTo>
                    <a:pt x="0" y="277"/>
                  </a:lnTo>
                  <a:lnTo>
                    <a:pt x="0" y="272"/>
                  </a:lnTo>
                  <a:lnTo>
                    <a:pt x="0" y="271"/>
                  </a:lnTo>
                  <a:lnTo>
                    <a:pt x="0" y="253"/>
                  </a:lnTo>
                  <a:lnTo>
                    <a:pt x="0" y="250"/>
                  </a:lnTo>
                  <a:lnTo>
                    <a:pt x="0" y="246"/>
                  </a:lnTo>
                  <a:lnTo>
                    <a:pt x="0" y="241"/>
                  </a:lnTo>
                  <a:lnTo>
                    <a:pt x="0" y="240"/>
                  </a:lnTo>
                  <a:lnTo>
                    <a:pt x="0" y="231"/>
                  </a:lnTo>
                  <a:lnTo>
                    <a:pt x="0" y="226"/>
                  </a:lnTo>
                  <a:lnTo>
                    <a:pt x="0" y="226"/>
                  </a:lnTo>
                  <a:lnTo>
                    <a:pt x="2" y="226"/>
                  </a:lnTo>
                  <a:lnTo>
                    <a:pt x="10" y="228"/>
                  </a:lnTo>
                  <a:lnTo>
                    <a:pt x="12" y="228"/>
                  </a:lnTo>
                  <a:lnTo>
                    <a:pt x="22" y="228"/>
                  </a:lnTo>
                  <a:lnTo>
                    <a:pt x="27" y="228"/>
                  </a:lnTo>
                  <a:lnTo>
                    <a:pt x="45" y="228"/>
                  </a:lnTo>
                  <a:lnTo>
                    <a:pt x="45" y="224"/>
                  </a:lnTo>
                  <a:lnTo>
                    <a:pt x="45" y="221"/>
                  </a:lnTo>
                  <a:lnTo>
                    <a:pt x="45" y="219"/>
                  </a:lnTo>
                  <a:lnTo>
                    <a:pt x="45" y="216"/>
                  </a:lnTo>
                  <a:lnTo>
                    <a:pt x="45" y="209"/>
                  </a:lnTo>
                  <a:lnTo>
                    <a:pt x="45" y="205"/>
                  </a:lnTo>
                  <a:lnTo>
                    <a:pt x="45" y="200"/>
                  </a:lnTo>
                  <a:lnTo>
                    <a:pt x="45" y="195"/>
                  </a:lnTo>
                  <a:lnTo>
                    <a:pt x="43" y="193"/>
                  </a:lnTo>
                  <a:lnTo>
                    <a:pt x="43" y="191"/>
                  </a:lnTo>
                  <a:lnTo>
                    <a:pt x="43" y="188"/>
                  </a:lnTo>
                  <a:lnTo>
                    <a:pt x="43" y="186"/>
                  </a:lnTo>
                  <a:lnTo>
                    <a:pt x="43" y="183"/>
                  </a:lnTo>
                  <a:lnTo>
                    <a:pt x="43" y="178"/>
                  </a:lnTo>
                  <a:lnTo>
                    <a:pt x="43" y="176"/>
                  </a:lnTo>
                  <a:lnTo>
                    <a:pt x="43" y="171"/>
                  </a:lnTo>
                  <a:lnTo>
                    <a:pt x="43" y="162"/>
                  </a:lnTo>
                  <a:lnTo>
                    <a:pt x="43" y="160"/>
                  </a:lnTo>
                  <a:lnTo>
                    <a:pt x="43" y="157"/>
                  </a:lnTo>
                  <a:lnTo>
                    <a:pt x="43" y="155"/>
                  </a:lnTo>
                  <a:lnTo>
                    <a:pt x="43" y="145"/>
                  </a:lnTo>
                  <a:lnTo>
                    <a:pt x="43" y="143"/>
                  </a:lnTo>
                  <a:lnTo>
                    <a:pt x="43" y="140"/>
                  </a:lnTo>
                  <a:lnTo>
                    <a:pt x="43" y="131"/>
                  </a:lnTo>
                  <a:lnTo>
                    <a:pt x="43" y="128"/>
                  </a:lnTo>
                  <a:lnTo>
                    <a:pt x="43" y="121"/>
                  </a:lnTo>
                  <a:lnTo>
                    <a:pt x="43" y="116"/>
                  </a:lnTo>
                  <a:lnTo>
                    <a:pt x="43" y="112"/>
                  </a:lnTo>
                  <a:lnTo>
                    <a:pt x="43" y="111"/>
                  </a:lnTo>
                  <a:lnTo>
                    <a:pt x="43" y="109"/>
                  </a:lnTo>
                  <a:lnTo>
                    <a:pt x="43" y="107"/>
                  </a:lnTo>
                  <a:lnTo>
                    <a:pt x="41" y="100"/>
                  </a:lnTo>
                  <a:lnTo>
                    <a:pt x="41" y="99"/>
                  </a:lnTo>
                  <a:lnTo>
                    <a:pt x="41" y="95"/>
                  </a:lnTo>
                  <a:lnTo>
                    <a:pt x="41" y="93"/>
                  </a:lnTo>
                  <a:lnTo>
                    <a:pt x="41" y="90"/>
                  </a:lnTo>
                  <a:lnTo>
                    <a:pt x="41" y="85"/>
                  </a:lnTo>
                  <a:lnTo>
                    <a:pt x="43" y="85"/>
                  </a:lnTo>
                  <a:lnTo>
                    <a:pt x="43" y="83"/>
                  </a:lnTo>
                  <a:lnTo>
                    <a:pt x="43" y="69"/>
                  </a:lnTo>
                  <a:lnTo>
                    <a:pt x="43" y="68"/>
                  </a:lnTo>
                  <a:lnTo>
                    <a:pt x="43" y="62"/>
                  </a:lnTo>
                  <a:lnTo>
                    <a:pt x="43" y="59"/>
                  </a:lnTo>
                  <a:lnTo>
                    <a:pt x="43" y="57"/>
                  </a:lnTo>
                  <a:lnTo>
                    <a:pt x="43" y="52"/>
                  </a:lnTo>
                  <a:lnTo>
                    <a:pt x="43" y="47"/>
                  </a:lnTo>
                  <a:lnTo>
                    <a:pt x="41" y="38"/>
                  </a:lnTo>
                  <a:lnTo>
                    <a:pt x="39" y="23"/>
                  </a:lnTo>
                  <a:lnTo>
                    <a:pt x="38" y="9"/>
                  </a:lnTo>
                  <a:lnTo>
                    <a:pt x="36" y="9"/>
                  </a:lnTo>
                  <a:lnTo>
                    <a:pt x="41" y="9"/>
                  </a:lnTo>
                  <a:lnTo>
                    <a:pt x="50" y="9"/>
                  </a:lnTo>
                  <a:lnTo>
                    <a:pt x="58" y="7"/>
                  </a:lnTo>
                  <a:lnTo>
                    <a:pt x="60" y="7"/>
                  </a:lnTo>
                  <a:lnTo>
                    <a:pt x="65" y="7"/>
                  </a:lnTo>
                  <a:lnTo>
                    <a:pt x="69" y="7"/>
                  </a:lnTo>
                  <a:lnTo>
                    <a:pt x="70" y="7"/>
                  </a:lnTo>
                  <a:lnTo>
                    <a:pt x="82" y="7"/>
                  </a:lnTo>
                  <a:lnTo>
                    <a:pt x="93" y="6"/>
                  </a:lnTo>
                  <a:lnTo>
                    <a:pt x="101" y="6"/>
                  </a:lnTo>
                  <a:lnTo>
                    <a:pt x="105" y="6"/>
                  </a:lnTo>
                  <a:lnTo>
                    <a:pt x="106" y="6"/>
                  </a:lnTo>
                  <a:lnTo>
                    <a:pt x="108" y="6"/>
                  </a:lnTo>
                  <a:lnTo>
                    <a:pt x="117" y="6"/>
                  </a:lnTo>
                  <a:lnTo>
                    <a:pt x="125" y="6"/>
                  </a:lnTo>
                  <a:lnTo>
                    <a:pt x="129" y="6"/>
                  </a:lnTo>
                  <a:lnTo>
                    <a:pt x="131" y="6"/>
                  </a:lnTo>
                  <a:lnTo>
                    <a:pt x="132" y="6"/>
                  </a:lnTo>
                  <a:lnTo>
                    <a:pt x="136" y="4"/>
                  </a:lnTo>
                  <a:lnTo>
                    <a:pt x="143" y="4"/>
                  </a:lnTo>
                  <a:lnTo>
                    <a:pt x="144" y="4"/>
                  </a:lnTo>
                  <a:lnTo>
                    <a:pt x="151" y="4"/>
                  </a:lnTo>
                  <a:lnTo>
                    <a:pt x="158" y="4"/>
                  </a:lnTo>
                  <a:lnTo>
                    <a:pt x="160" y="4"/>
                  </a:lnTo>
                  <a:lnTo>
                    <a:pt x="165" y="4"/>
                  </a:lnTo>
                  <a:lnTo>
                    <a:pt x="168" y="4"/>
                  </a:lnTo>
                  <a:lnTo>
                    <a:pt x="172" y="2"/>
                  </a:lnTo>
                  <a:lnTo>
                    <a:pt x="194" y="2"/>
                  </a:lnTo>
                  <a:lnTo>
                    <a:pt x="199" y="2"/>
                  </a:lnTo>
                  <a:lnTo>
                    <a:pt x="201" y="2"/>
                  </a:lnTo>
                  <a:lnTo>
                    <a:pt x="203" y="2"/>
                  </a:lnTo>
                  <a:lnTo>
                    <a:pt x="206" y="2"/>
                  </a:lnTo>
                  <a:lnTo>
                    <a:pt x="211" y="0"/>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1" name="Freeform 221"/>
            <p:cNvSpPr>
              <a:spLocks/>
            </p:cNvSpPr>
            <p:nvPr/>
          </p:nvSpPr>
          <p:spPr bwMode="auto">
            <a:xfrm>
              <a:off x="6768396" y="4530519"/>
              <a:ext cx="569913" cy="674688"/>
            </a:xfrm>
            <a:custGeom>
              <a:avLst/>
              <a:gdLst/>
              <a:ahLst/>
              <a:cxnLst>
                <a:cxn ang="0">
                  <a:pos x="359" y="270"/>
                </a:cxn>
                <a:cxn ang="0">
                  <a:pos x="359" y="301"/>
                </a:cxn>
                <a:cxn ang="0">
                  <a:pos x="359" y="332"/>
                </a:cxn>
                <a:cxn ang="0">
                  <a:pos x="347" y="343"/>
                </a:cxn>
                <a:cxn ang="0">
                  <a:pos x="342" y="358"/>
                </a:cxn>
                <a:cxn ang="0">
                  <a:pos x="334" y="365"/>
                </a:cxn>
                <a:cxn ang="0">
                  <a:pos x="335" y="389"/>
                </a:cxn>
                <a:cxn ang="0">
                  <a:pos x="335" y="425"/>
                </a:cxn>
                <a:cxn ang="0">
                  <a:pos x="284" y="425"/>
                </a:cxn>
                <a:cxn ang="0">
                  <a:pos x="266" y="425"/>
                </a:cxn>
                <a:cxn ang="0">
                  <a:pos x="223" y="425"/>
                </a:cxn>
                <a:cxn ang="0">
                  <a:pos x="222" y="403"/>
                </a:cxn>
                <a:cxn ang="0">
                  <a:pos x="199" y="389"/>
                </a:cxn>
                <a:cxn ang="0">
                  <a:pos x="187" y="372"/>
                </a:cxn>
                <a:cxn ang="0">
                  <a:pos x="186" y="358"/>
                </a:cxn>
                <a:cxn ang="0">
                  <a:pos x="177" y="346"/>
                </a:cxn>
                <a:cxn ang="0">
                  <a:pos x="158" y="343"/>
                </a:cxn>
                <a:cxn ang="0">
                  <a:pos x="149" y="332"/>
                </a:cxn>
                <a:cxn ang="0">
                  <a:pos x="144" y="329"/>
                </a:cxn>
                <a:cxn ang="0">
                  <a:pos x="144" y="315"/>
                </a:cxn>
                <a:cxn ang="0">
                  <a:pos x="131" y="315"/>
                </a:cxn>
                <a:cxn ang="0">
                  <a:pos x="120" y="300"/>
                </a:cxn>
                <a:cxn ang="0">
                  <a:pos x="120" y="282"/>
                </a:cxn>
                <a:cxn ang="0">
                  <a:pos x="117" y="272"/>
                </a:cxn>
                <a:cxn ang="0">
                  <a:pos x="100" y="258"/>
                </a:cxn>
                <a:cxn ang="0">
                  <a:pos x="100" y="236"/>
                </a:cxn>
                <a:cxn ang="0">
                  <a:pos x="88" y="217"/>
                </a:cxn>
                <a:cxn ang="0">
                  <a:pos x="88" y="181"/>
                </a:cxn>
                <a:cxn ang="0">
                  <a:pos x="88" y="162"/>
                </a:cxn>
                <a:cxn ang="0">
                  <a:pos x="67" y="150"/>
                </a:cxn>
                <a:cxn ang="0">
                  <a:pos x="63" y="119"/>
                </a:cxn>
                <a:cxn ang="0">
                  <a:pos x="63" y="98"/>
                </a:cxn>
                <a:cxn ang="0">
                  <a:pos x="50" y="85"/>
                </a:cxn>
                <a:cxn ang="0">
                  <a:pos x="24" y="83"/>
                </a:cxn>
                <a:cxn ang="0">
                  <a:pos x="12" y="83"/>
                </a:cxn>
                <a:cxn ang="0">
                  <a:pos x="0" y="72"/>
                </a:cxn>
                <a:cxn ang="0">
                  <a:pos x="0" y="55"/>
                </a:cxn>
                <a:cxn ang="0">
                  <a:pos x="0" y="35"/>
                </a:cxn>
                <a:cxn ang="0">
                  <a:pos x="0" y="14"/>
                </a:cxn>
                <a:cxn ang="0">
                  <a:pos x="31" y="16"/>
                </a:cxn>
                <a:cxn ang="0">
                  <a:pos x="60" y="17"/>
                </a:cxn>
                <a:cxn ang="0">
                  <a:pos x="79" y="16"/>
                </a:cxn>
                <a:cxn ang="0">
                  <a:pos x="96" y="16"/>
                </a:cxn>
                <a:cxn ang="0">
                  <a:pos x="112" y="16"/>
                </a:cxn>
                <a:cxn ang="0">
                  <a:pos x="131" y="16"/>
                </a:cxn>
                <a:cxn ang="0">
                  <a:pos x="151" y="12"/>
                </a:cxn>
                <a:cxn ang="0">
                  <a:pos x="194" y="4"/>
                </a:cxn>
                <a:cxn ang="0">
                  <a:pos x="210" y="2"/>
                </a:cxn>
                <a:cxn ang="0">
                  <a:pos x="230" y="2"/>
                </a:cxn>
                <a:cxn ang="0">
                  <a:pos x="268" y="2"/>
                </a:cxn>
                <a:cxn ang="0">
                  <a:pos x="313" y="0"/>
                </a:cxn>
                <a:cxn ang="0">
                  <a:pos x="332" y="14"/>
                </a:cxn>
                <a:cxn ang="0">
                  <a:pos x="332" y="71"/>
                </a:cxn>
                <a:cxn ang="0">
                  <a:pos x="334" y="102"/>
                </a:cxn>
                <a:cxn ang="0">
                  <a:pos x="334" y="134"/>
                </a:cxn>
                <a:cxn ang="0">
                  <a:pos x="334" y="167"/>
                </a:cxn>
                <a:cxn ang="0">
                  <a:pos x="347" y="184"/>
                </a:cxn>
                <a:cxn ang="0">
                  <a:pos x="347" y="208"/>
                </a:cxn>
                <a:cxn ang="0">
                  <a:pos x="347" y="253"/>
                </a:cxn>
              </a:cxnLst>
              <a:rect l="0" t="0" r="r" b="b"/>
              <a:pathLst>
                <a:path w="359" h="425">
                  <a:moveTo>
                    <a:pt x="359" y="255"/>
                  </a:moveTo>
                  <a:lnTo>
                    <a:pt x="359" y="262"/>
                  </a:lnTo>
                  <a:lnTo>
                    <a:pt x="359" y="265"/>
                  </a:lnTo>
                  <a:lnTo>
                    <a:pt x="359" y="267"/>
                  </a:lnTo>
                  <a:lnTo>
                    <a:pt x="359" y="269"/>
                  </a:lnTo>
                  <a:lnTo>
                    <a:pt x="359" y="270"/>
                  </a:lnTo>
                  <a:lnTo>
                    <a:pt x="359" y="275"/>
                  </a:lnTo>
                  <a:lnTo>
                    <a:pt x="359" y="279"/>
                  </a:lnTo>
                  <a:lnTo>
                    <a:pt x="359" y="284"/>
                  </a:lnTo>
                  <a:lnTo>
                    <a:pt x="359" y="288"/>
                  </a:lnTo>
                  <a:lnTo>
                    <a:pt x="359" y="288"/>
                  </a:lnTo>
                  <a:lnTo>
                    <a:pt x="359" y="301"/>
                  </a:lnTo>
                  <a:lnTo>
                    <a:pt x="359" y="313"/>
                  </a:lnTo>
                  <a:lnTo>
                    <a:pt x="359" y="319"/>
                  </a:lnTo>
                  <a:lnTo>
                    <a:pt x="359" y="322"/>
                  </a:lnTo>
                  <a:lnTo>
                    <a:pt x="359" y="324"/>
                  </a:lnTo>
                  <a:lnTo>
                    <a:pt x="359" y="327"/>
                  </a:lnTo>
                  <a:lnTo>
                    <a:pt x="359" y="332"/>
                  </a:lnTo>
                  <a:lnTo>
                    <a:pt x="359" y="336"/>
                  </a:lnTo>
                  <a:lnTo>
                    <a:pt x="358" y="336"/>
                  </a:lnTo>
                  <a:lnTo>
                    <a:pt x="356" y="336"/>
                  </a:lnTo>
                  <a:lnTo>
                    <a:pt x="352" y="336"/>
                  </a:lnTo>
                  <a:lnTo>
                    <a:pt x="347" y="336"/>
                  </a:lnTo>
                  <a:lnTo>
                    <a:pt x="347" y="343"/>
                  </a:lnTo>
                  <a:lnTo>
                    <a:pt x="347" y="343"/>
                  </a:lnTo>
                  <a:lnTo>
                    <a:pt x="347" y="348"/>
                  </a:lnTo>
                  <a:lnTo>
                    <a:pt x="347" y="353"/>
                  </a:lnTo>
                  <a:lnTo>
                    <a:pt x="347" y="358"/>
                  </a:lnTo>
                  <a:lnTo>
                    <a:pt x="344" y="358"/>
                  </a:lnTo>
                  <a:lnTo>
                    <a:pt x="342" y="358"/>
                  </a:lnTo>
                  <a:lnTo>
                    <a:pt x="340" y="358"/>
                  </a:lnTo>
                  <a:lnTo>
                    <a:pt x="335" y="358"/>
                  </a:lnTo>
                  <a:lnTo>
                    <a:pt x="334" y="358"/>
                  </a:lnTo>
                  <a:lnTo>
                    <a:pt x="334" y="358"/>
                  </a:lnTo>
                  <a:lnTo>
                    <a:pt x="334" y="363"/>
                  </a:lnTo>
                  <a:lnTo>
                    <a:pt x="334" y="365"/>
                  </a:lnTo>
                  <a:lnTo>
                    <a:pt x="334" y="367"/>
                  </a:lnTo>
                  <a:lnTo>
                    <a:pt x="334" y="368"/>
                  </a:lnTo>
                  <a:lnTo>
                    <a:pt x="335" y="370"/>
                  </a:lnTo>
                  <a:lnTo>
                    <a:pt x="335" y="372"/>
                  </a:lnTo>
                  <a:lnTo>
                    <a:pt x="335" y="380"/>
                  </a:lnTo>
                  <a:lnTo>
                    <a:pt x="335" y="389"/>
                  </a:lnTo>
                  <a:lnTo>
                    <a:pt x="335" y="398"/>
                  </a:lnTo>
                  <a:lnTo>
                    <a:pt x="335" y="399"/>
                  </a:lnTo>
                  <a:lnTo>
                    <a:pt x="335" y="405"/>
                  </a:lnTo>
                  <a:lnTo>
                    <a:pt x="335" y="406"/>
                  </a:lnTo>
                  <a:lnTo>
                    <a:pt x="335" y="422"/>
                  </a:lnTo>
                  <a:lnTo>
                    <a:pt x="335" y="425"/>
                  </a:lnTo>
                  <a:lnTo>
                    <a:pt x="328" y="425"/>
                  </a:lnTo>
                  <a:lnTo>
                    <a:pt x="311" y="425"/>
                  </a:lnTo>
                  <a:lnTo>
                    <a:pt x="297" y="425"/>
                  </a:lnTo>
                  <a:lnTo>
                    <a:pt x="285" y="425"/>
                  </a:lnTo>
                  <a:lnTo>
                    <a:pt x="284" y="425"/>
                  </a:lnTo>
                  <a:lnTo>
                    <a:pt x="284" y="425"/>
                  </a:lnTo>
                  <a:lnTo>
                    <a:pt x="280" y="425"/>
                  </a:lnTo>
                  <a:lnTo>
                    <a:pt x="277" y="425"/>
                  </a:lnTo>
                  <a:lnTo>
                    <a:pt x="275" y="425"/>
                  </a:lnTo>
                  <a:lnTo>
                    <a:pt x="272" y="425"/>
                  </a:lnTo>
                  <a:lnTo>
                    <a:pt x="268" y="425"/>
                  </a:lnTo>
                  <a:lnTo>
                    <a:pt x="266" y="425"/>
                  </a:lnTo>
                  <a:lnTo>
                    <a:pt x="256" y="425"/>
                  </a:lnTo>
                  <a:lnTo>
                    <a:pt x="251" y="425"/>
                  </a:lnTo>
                  <a:lnTo>
                    <a:pt x="246" y="425"/>
                  </a:lnTo>
                  <a:lnTo>
                    <a:pt x="235" y="425"/>
                  </a:lnTo>
                  <a:lnTo>
                    <a:pt x="232" y="425"/>
                  </a:lnTo>
                  <a:lnTo>
                    <a:pt x="223" y="425"/>
                  </a:lnTo>
                  <a:lnTo>
                    <a:pt x="223" y="425"/>
                  </a:lnTo>
                  <a:lnTo>
                    <a:pt x="222" y="425"/>
                  </a:lnTo>
                  <a:lnTo>
                    <a:pt x="223" y="415"/>
                  </a:lnTo>
                  <a:lnTo>
                    <a:pt x="223" y="411"/>
                  </a:lnTo>
                  <a:lnTo>
                    <a:pt x="223" y="410"/>
                  </a:lnTo>
                  <a:lnTo>
                    <a:pt x="222" y="403"/>
                  </a:lnTo>
                  <a:lnTo>
                    <a:pt x="222" y="398"/>
                  </a:lnTo>
                  <a:lnTo>
                    <a:pt x="222" y="391"/>
                  </a:lnTo>
                  <a:lnTo>
                    <a:pt x="218" y="391"/>
                  </a:lnTo>
                  <a:lnTo>
                    <a:pt x="210" y="391"/>
                  </a:lnTo>
                  <a:lnTo>
                    <a:pt x="199" y="391"/>
                  </a:lnTo>
                  <a:lnTo>
                    <a:pt x="199" y="389"/>
                  </a:lnTo>
                  <a:lnTo>
                    <a:pt x="196" y="391"/>
                  </a:lnTo>
                  <a:lnTo>
                    <a:pt x="189" y="392"/>
                  </a:lnTo>
                  <a:lnTo>
                    <a:pt x="189" y="389"/>
                  </a:lnTo>
                  <a:lnTo>
                    <a:pt x="189" y="382"/>
                  </a:lnTo>
                  <a:lnTo>
                    <a:pt x="187" y="375"/>
                  </a:lnTo>
                  <a:lnTo>
                    <a:pt x="187" y="372"/>
                  </a:lnTo>
                  <a:lnTo>
                    <a:pt x="187" y="365"/>
                  </a:lnTo>
                  <a:lnTo>
                    <a:pt x="189" y="360"/>
                  </a:lnTo>
                  <a:lnTo>
                    <a:pt x="189" y="358"/>
                  </a:lnTo>
                  <a:lnTo>
                    <a:pt x="189" y="358"/>
                  </a:lnTo>
                  <a:lnTo>
                    <a:pt x="187" y="358"/>
                  </a:lnTo>
                  <a:lnTo>
                    <a:pt x="186" y="358"/>
                  </a:lnTo>
                  <a:lnTo>
                    <a:pt x="182" y="358"/>
                  </a:lnTo>
                  <a:lnTo>
                    <a:pt x="177" y="358"/>
                  </a:lnTo>
                  <a:lnTo>
                    <a:pt x="177" y="356"/>
                  </a:lnTo>
                  <a:lnTo>
                    <a:pt x="177" y="355"/>
                  </a:lnTo>
                  <a:lnTo>
                    <a:pt x="177" y="353"/>
                  </a:lnTo>
                  <a:lnTo>
                    <a:pt x="177" y="346"/>
                  </a:lnTo>
                  <a:lnTo>
                    <a:pt x="177" y="339"/>
                  </a:lnTo>
                  <a:lnTo>
                    <a:pt x="177" y="337"/>
                  </a:lnTo>
                  <a:lnTo>
                    <a:pt x="167" y="339"/>
                  </a:lnTo>
                  <a:lnTo>
                    <a:pt x="163" y="341"/>
                  </a:lnTo>
                  <a:lnTo>
                    <a:pt x="163" y="341"/>
                  </a:lnTo>
                  <a:lnTo>
                    <a:pt x="158" y="343"/>
                  </a:lnTo>
                  <a:lnTo>
                    <a:pt x="156" y="343"/>
                  </a:lnTo>
                  <a:lnTo>
                    <a:pt x="155" y="343"/>
                  </a:lnTo>
                  <a:lnTo>
                    <a:pt x="155" y="339"/>
                  </a:lnTo>
                  <a:lnTo>
                    <a:pt x="155" y="336"/>
                  </a:lnTo>
                  <a:lnTo>
                    <a:pt x="155" y="331"/>
                  </a:lnTo>
                  <a:lnTo>
                    <a:pt x="149" y="332"/>
                  </a:lnTo>
                  <a:lnTo>
                    <a:pt x="148" y="332"/>
                  </a:lnTo>
                  <a:lnTo>
                    <a:pt x="146" y="334"/>
                  </a:lnTo>
                  <a:lnTo>
                    <a:pt x="144" y="334"/>
                  </a:lnTo>
                  <a:lnTo>
                    <a:pt x="144" y="332"/>
                  </a:lnTo>
                  <a:lnTo>
                    <a:pt x="144" y="331"/>
                  </a:lnTo>
                  <a:lnTo>
                    <a:pt x="144" y="329"/>
                  </a:lnTo>
                  <a:lnTo>
                    <a:pt x="144" y="327"/>
                  </a:lnTo>
                  <a:lnTo>
                    <a:pt x="144" y="325"/>
                  </a:lnTo>
                  <a:lnTo>
                    <a:pt x="144" y="322"/>
                  </a:lnTo>
                  <a:lnTo>
                    <a:pt x="144" y="320"/>
                  </a:lnTo>
                  <a:lnTo>
                    <a:pt x="144" y="319"/>
                  </a:lnTo>
                  <a:lnTo>
                    <a:pt x="144" y="315"/>
                  </a:lnTo>
                  <a:lnTo>
                    <a:pt x="144" y="312"/>
                  </a:lnTo>
                  <a:lnTo>
                    <a:pt x="139" y="312"/>
                  </a:lnTo>
                  <a:lnTo>
                    <a:pt x="134" y="312"/>
                  </a:lnTo>
                  <a:lnTo>
                    <a:pt x="132" y="312"/>
                  </a:lnTo>
                  <a:lnTo>
                    <a:pt x="132" y="315"/>
                  </a:lnTo>
                  <a:lnTo>
                    <a:pt x="131" y="315"/>
                  </a:lnTo>
                  <a:lnTo>
                    <a:pt x="129" y="315"/>
                  </a:lnTo>
                  <a:lnTo>
                    <a:pt x="125" y="315"/>
                  </a:lnTo>
                  <a:lnTo>
                    <a:pt x="120" y="315"/>
                  </a:lnTo>
                  <a:lnTo>
                    <a:pt x="120" y="312"/>
                  </a:lnTo>
                  <a:lnTo>
                    <a:pt x="120" y="312"/>
                  </a:lnTo>
                  <a:lnTo>
                    <a:pt x="120" y="300"/>
                  </a:lnTo>
                  <a:lnTo>
                    <a:pt x="119" y="294"/>
                  </a:lnTo>
                  <a:lnTo>
                    <a:pt x="119" y="288"/>
                  </a:lnTo>
                  <a:lnTo>
                    <a:pt x="119" y="284"/>
                  </a:lnTo>
                  <a:lnTo>
                    <a:pt x="119" y="282"/>
                  </a:lnTo>
                  <a:lnTo>
                    <a:pt x="120" y="282"/>
                  </a:lnTo>
                  <a:lnTo>
                    <a:pt x="120" y="282"/>
                  </a:lnTo>
                  <a:lnTo>
                    <a:pt x="120" y="277"/>
                  </a:lnTo>
                  <a:lnTo>
                    <a:pt x="120" y="275"/>
                  </a:lnTo>
                  <a:lnTo>
                    <a:pt x="120" y="272"/>
                  </a:lnTo>
                  <a:lnTo>
                    <a:pt x="119" y="272"/>
                  </a:lnTo>
                  <a:lnTo>
                    <a:pt x="119" y="272"/>
                  </a:lnTo>
                  <a:lnTo>
                    <a:pt x="117" y="272"/>
                  </a:lnTo>
                  <a:lnTo>
                    <a:pt x="100" y="272"/>
                  </a:lnTo>
                  <a:lnTo>
                    <a:pt x="100" y="267"/>
                  </a:lnTo>
                  <a:lnTo>
                    <a:pt x="100" y="267"/>
                  </a:lnTo>
                  <a:lnTo>
                    <a:pt x="100" y="263"/>
                  </a:lnTo>
                  <a:lnTo>
                    <a:pt x="100" y="262"/>
                  </a:lnTo>
                  <a:lnTo>
                    <a:pt x="100" y="258"/>
                  </a:lnTo>
                  <a:lnTo>
                    <a:pt x="100" y="246"/>
                  </a:lnTo>
                  <a:lnTo>
                    <a:pt x="100" y="243"/>
                  </a:lnTo>
                  <a:lnTo>
                    <a:pt x="100" y="241"/>
                  </a:lnTo>
                  <a:lnTo>
                    <a:pt x="100" y="239"/>
                  </a:lnTo>
                  <a:lnTo>
                    <a:pt x="100" y="238"/>
                  </a:lnTo>
                  <a:lnTo>
                    <a:pt x="100" y="236"/>
                  </a:lnTo>
                  <a:lnTo>
                    <a:pt x="100" y="231"/>
                  </a:lnTo>
                  <a:lnTo>
                    <a:pt x="100" y="227"/>
                  </a:lnTo>
                  <a:lnTo>
                    <a:pt x="88" y="229"/>
                  </a:lnTo>
                  <a:lnTo>
                    <a:pt x="88" y="227"/>
                  </a:lnTo>
                  <a:lnTo>
                    <a:pt x="88" y="219"/>
                  </a:lnTo>
                  <a:lnTo>
                    <a:pt x="88" y="217"/>
                  </a:lnTo>
                  <a:lnTo>
                    <a:pt x="88" y="198"/>
                  </a:lnTo>
                  <a:lnTo>
                    <a:pt x="88" y="196"/>
                  </a:lnTo>
                  <a:lnTo>
                    <a:pt x="88" y="195"/>
                  </a:lnTo>
                  <a:lnTo>
                    <a:pt x="88" y="186"/>
                  </a:lnTo>
                  <a:lnTo>
                    <a:pt x="88" y="183"/>
                  </a:lnTo>
                  <a:lnTo>
                    <a:pt x="88" y="181"/>
                  </a:lnTo>
                  <a:lnTo>
                    <a:pt x="88" y="176"/>
                  </a:lnTo>
                  <a:lnTo>
                    <a:pt x="88" y="176"/>
                  </a:lnTo>
                  <a:lnTo>
                    <a:pt x="88" y="174"/>
                  </a:lnTo>
                  <a:lnTo>
                    <a:pt x="88" y="172"/>
                  </a:lnTo>
                  <a:lnTo>
                    <a:pt x="88" y="171"/>
                  </a:lnTo>
                  <a:lnTo>
                    <a:pt x="88" y="162"/>
                  </a:lnTo>
                  <a:lnTo>
                    <a:pt x="88" y="159"/>
                  </a:lnTo>
                  <a:lnTo>
                    <a:pt x="88" y="150"/>
                  </a:lnTo>
                  <a:lnTo>
                    <a:pt x="86" y="150"/>
                  </a:lnTo>
                  <a:lnTo>
                    <a:pt x="74" y="150"/>
                  </a:lnTo>
                  <a:lnTo>
                    <a:pt x="74" y="150"/>
                  </a:lnTo>
                  <a:lnTo>
                    <a:pt x="67" y="150"/>
                  </a:lnTo>
                  <a:lnTo>
                    <a:pt x="63" y="150"/>
                  </a:lnTo>
                  <a:lnTo>
                    <a:pt x="63" y="146"/>
                  </a:lnTo>
                  <a:lnTo>
                    <a:pt x="63" y="129"/>
                  </a:lnTo>
                  <a:lnTo>
                    <a:pt x="63" y="122"/>
                  </a:lnTo>
                  <a:lnTo>
                    <a:pt x="63" y="121"/>
                  </a:lnTo>
                  <a:lnTo>
                    <a:pt x="63" y="119"/>
                  </a:lnTo>
                  <a:lnTo>
                    <a:pt x="63" y="117"/>
                  </a:lnTo>
                  <a:lnTo>
                    <a:pt x="63" y="116"/>
                  </a:lnTo>
                  <a:lnTo>
                    <a:pt x="63" y="114"/>
                  </a:lnTo>
                  <a:lnTo>
                    <a:pt x="63" y="109"/>
                  </a:lnTo>
                  <a:lnTo>
                    <a:pt x="63" y="103"/>
                  </a:lnTo>
                  <a:lnTo>
                    <a:pt x="63" y="98"/>
                  </a:lnTo>
                  <a:lnTo>
                    <a:pt x="63" y="88"/>
                  </a:lnTo>
                  <a:lnTo>
                    <a:pt x="63" y="86"/>
                  </a:lnTo>
                  <a:lnTo>
                    <a:pt x="63" y="85"/>
                  </a:lnTo>
                  <a:lnTo>
                    <a:pt x="58" y="85"/>
                  </a:lnTo>
                  <a:lnTo>
                    <a:pt x="53" y="85"/>
                  </a:lnTo>
                  <a:lnTo>
                    <a:pt x="50" y="85"/>
                  </a:lnTo>
                  <a:lnTo>
                    <a:pt x="43" y="85"/>
                  </a:lnTo>
                  <a:lnTo>
                    <a:pt x="39" y="83"/>
                  </a:lnTo>
                  <a:lnTo>
                    <a:pt x="38" y="83"/>
                  </a:lnTo>
                  <a:lnTo>
                    <a:pt x="33" y="83"/>
                  </a:lnTo>
                  <a:lnTo>
                    <a:pt x="31" y="83"/>
                  </a:lnTo>
                  <a:lnTo>
                    <a:pt x="24" y="83"/>
                  </a:lnTo>
                  <a:lnTo>
                    <a:pt x="22" y="83"/>
                  </a:lnTo>
                  <a:lnTo>
                    <a:pt x="19" y="83"/>
                  </a:lnTo>
                  <a:lnTo>
                    <a:pt x="17" y="83"/>
                  </a:lnTo>
                  <a:lnTo>
                    <a:pt x="15" y="83"/>
                  </a:lnTo>
                  <a:lnTo>
                    <a:pt x="12" y="83"/>
                  </a:lnTo>
                  <a:lnTo>
                    <a:pt x="12" y="83"/>
                  </a:lnTo>
                  <a:lnTo>
                    <a:pt x="10" y="83"/>
                  </a:lnTo>
                  <a:lnTo>
                    <a:pt x="8" y="83"/>
                  </a:lnTo>
                  <a:lnTo>
                    <a:pt x="5" y="83"/>
                  </a:lnTo>
                  <a:lnTo>
                    <a:pt x="0" y="83"/>
                  </a:lnTo>
                  <a:lnTo>
                    <a:pt x="0" y="78"/>
                  </a:lnTo>
                  <a:lnTo>
                    <a:pt x="0" y="72"/>
                  </a:lnTo>
                  <a:lnTo>
                    <a:pt x="0" y="71"/>
                  </a:lnTo>
                  <a:lnTo>
                    <a:pt x="0" y="67"/>
                  </a:lnTo>
                  <a:lnTo>
                    <a:pt x="0" y="64"/>
                  </a:lnTo>
                  <a:lnTo>
                    <a:pt x="0" y="60"/>
                  </a:lnTo>
                  <a:lnTo>
                    <a:pt x="0" y="59"/>
                  </a:lnTo>
                  <a:lnTo>
                    <a:pt x="0" y="55"/>
                  </a:lnTo>
                  <a:lnTo>
                    <a:pt x="0" y="55"/>
                  </a:lnTo>
                  <a:lnTo>
                    <a:pt x="0" y="47"/>
                  </a:lnTo>
                  <a:lnTo>
                    <a:pt x="0" y="43"/>
                  </a:lnTo>
                  <a:lnTo>
                    <a:pt x="0" y="42"/>
                  </a:lnTo>
                  <a:lnTo>
                    <a:pt x="0" y="40"/>
                  </a:lnTo>
                  <a:lnTo>
                    <a:pt x="0" y="35"/>
                  </a:lnTo>
                  <a:lnTo>
                    <a:pt x="0" y="33"/>
                  </a:lnTo>
                  <a:lnTo>
                    <a:pt x="0" y="29"/>
                  </a:lnTo>
                  <a:lnTo>
                    <a:pt x="0" y="28"/>
                  </a:lnTo>
                  <a:lnTo>
                    <a:pt x="0" y="26"/>
                  </a:lnTo>
                  <a:lnTo>
                    <a:pt x="0" y="26"/>
                  </a:lnTo>
                  <a:lnTo>
                    <a:pt x="0" y="14"/>
                  </a:lnTo>
                  <a:lnTo>
                    <a:pt x="10" y="14"/>
                  </a:lnTo>
                  <a:lnTo>
                    <a:pt x="12" y="14"/>
                  </a:lnTo>
                  <a:lnTo>
                    <a:pt x="19" y="14"/>
                  </a:lnTo>
                  <a:lnTo>
                    <a:pt x="20" y="14"/>
                  </a:lnTo>
                  <a:lnTo>
                    <a:pt x="29" y="16"/>
                  </a:lnTo>
                  <a:lnTo>
                    <a:pt x="31" y="16"/>
                  </a:lnTo>
                  <a:lnTo>
                    <a:pt x="39" y="16"/>
                  </a:lnTo>
                  <a:lnTo>
                    <a:pt x="41" y="16"/>
                  </a:lnTo>
                  <a:lnTo>
                    <a:pt x="45" y="16"/>
                  </a:lnTo>
                  <a:lnTo>
                    <a:pt x="50" y="16"/>
                  </a:lnTo>
                  <a:lnTo>
                    <a:pt x="57" y="16"/>
                  </a:lnTo>
                  <a:lnTo>
                    <a:pt x="60" y="17"/>
                  </a:lnTo>
                  <a:lnTo>
                    <a:pt x="62" y="17"/>
                  </a:lnTo>
                  <a:lnTo>
                    <a:pt x="63" y="17"/>
                  </a:lnTo>
                  <a:lnTo>
                    <a:pt x="69" y="16"/>
                  </a:lnTo>
                  <a:lnTo>
                    <a:pt x="72" y="16"/>
                  </a:lnTo>
                  <a:lnTo>
                    <a:pt x="74" y="16"/>
                  </a:lnTo>
                  <a:lnTo>
                    <a:pt x="79" y="16"/>
                  </a:lnTo>
                  <a:lnTo>
                    <a:pt x="82" y="16"/>
                  </a:lnTo>
                  <a:lnTo>
                    <a:pt x="84" y="16"/>
                  </a:lnTo>
                  <a:lnTo>
                    <a:pt x="86" y="16"/>
                  </a:lnTo>
                  <a:lnTo>
                    <a:pt x="88" y="16"/>
                  </a:lnTo>
                  <a:lnTo>
                    <a:pt x="91" y="16"/>
                  </a:lnTo>
                  <a:lnTo>
                    <a:pt x="96" y="16"/>
                  </a:lnTo>
                  <a:lnTo>
                    <a:pt x="98" y="16"/>
                  </a:lnTo>
                  <a:lnTo>
                    <a:pt x="100" y="16"/>
                  </a:lnTo>
                  <a:lnTo>
                    <a:pt x="103" y="16"/>
                  </a:lnTo>
                  <a:lnTo>
                    <a:pt x="106" y="16"/>
                  </a:lnTo>
                  <a:lnTo>
                    <a:pt x="110" y="16"/>
                  </a:lnTo>
                  <a:lnTo>
                    <a:pt x="112" y="16"/>
                  </a:lnTo>
                  <a:lnTo>
                    <a:pt x="115" y="16"/>
                  </a:lnTo>
                  <a:lnTo>
                    <a:pt x="119" y="16"/>
                  </a:lnTo>
                  <a:lnTo>
                    <a:pt x="119" y="16"/>
                  </a:lnTo>
                  <a:lnTo>
                    <a:pt x="127" y="16"/>
                  </a:lnTo>
                  <a:lnTo>
                    <a:pt x="129" y="16"/>
                  </a:lnTo>
                  <a:lnTo>
                    <a:pt x="131" y="16"/>
                  </a:lnTo>
                  <a:lnTo>
                    <a:pt x="132" y="16"/>
                  </a:lnTo>
                  <a:lnTo>
                    <a:pt x="141" y="14"/>
                  </a:lnTo>
                  <a:lnTo>
                    <a:pt x="143" y="14"/>
                  </a:lnTo>
                  <a:lnTo>
                    <a:pt x="144" y="14"/>
                  </a:lnTo>
                  <a:lnTo>
                    <a:pt x="149" y="12"/>
                  </a:lnTo>
                  <a:lnTo>
                    <a:pt x="151" y="12"/>
                  </a:lnTo>
                  <a:lnTo>
                    <a:pt x="163" y="11"/>
                  </a:lnTo>
                  <a:lnTo>
                    <a:pt x="163" y="11"/>
                  </a:lnTo>
                  <a:lnTo>
                    <a:pt x="170" y="9"/>
                  </a:lnTo>
                  <a:lnTo>
                    <a:pt x="175" y="9"/>
                  </a:lnTo>
                  <a:lnTo>
                    <a:pt x="191" y="4"/>
                  </a:lnTo>
                  <a:lnTo>
                    <a:pt x="194" y="4"/>
                  </a:lnTo>
                  <a:lnTo>
                    <a:pt x="194" y="4"/>
                  </a:lnTo>
                  <a:lnTo>
                    <a:pt x="196" y="4"/>
                  </a:lnTo>
                  <a:lnTo>
                    <a:pt x="198" y="2"/>
                  </a:lnTo>
                  <a:lnTo>
                    <a:pt x="199" y="2"/>
                  </a:lnTo>
                  <a:lnTo>
                    <a:pt x="208" y="2"/>
                  </a:lnTo>
                  <a:lnTo>
                    <a:pt x="210" y="2"/>
                  </a:lnTo>
                  <a:lnTo>
                    <a:pt x="211" y="2"/>
                  </a:lnTo>
                  <a:lnTo>
                    <a:pt x="217" y="2"/>
                  </a:lnTo>
                  <a:lnTo>
                    <a:pt x="220" y="2"/>
                  </a:lnTo>
                  <a:lnTo>
                    <a:pt x="222" y="2"/>
                  </a:lnTo>
                  <a:lnTo>
                    <a:pt x="227" y="2"/>
                  </a:lnTo>
                  <a:lnTo>
                    <a:pt x="230" y="2"/>
                  </a:lnTo>
                  <a:lnTo>
                    <a:pt x="237" y="2"/>
                  </a:lnTo>
                  <a:lnTo>
                    <a:pt x="239" y="2"/>
                  </a:lnTo>
                  <a:lnTo>
                    <a:pt x="239" y="2"/>
                  </a:lnTo>
                  <a:lnTo>
                    <a:pt x="260" y="2"/>
                  </a:lnTo>
                  <a:lnTo>
                    <a:pt x="265" y="2"/>
                  </a:lnTo>
                  <a:lnTo>
                    <a:pt x="268" y="2"/>
                  </a:lnTo>
                  <a:lnTo>
                    <a:pt x="270" y="2"/>
                  </a:lnTo>
                  <a:lnTo>
                    <a:pt x="291" y="0"/>
                  </a:lnTo>
                  <a:lnTo>
                    <a:pt x="292" y="0"/>
                  </a:lnTo>
                  <a:lnTo>
                    <a:pt x="306" y="0"/>
                  </a:lnTo>
                  <a:lnTo>
                    <a:pt x="311" y="0"/>
                  </a:lnTo>
                  <a:lnTo>
                    <a:pt x="313" y="0"/>
                  </a:lnTo>
                  <a:lnTo>
                    <a:pt x="318" y="0"/>
                  </a:lnTo>
                  <a:lnTo>
                    <a:pt x="320" y="0"/>
                  </a:lnTo>
                  <a:lnTo>
                    <a:pt x="323" y="0"/>
                  </a:lnTo>
                  <a:lnTo>
                    <a:pt x="332" y="0"/>
                  </a:lnTo>
                  <a:lnTo>
                    <a:pt x="332" y="11"/>
                  </a:lnTo>
                  <a:lnTo>
                    <a:pt x="332" y="14"/>
                  </a:lnTo>
                  <a:lnTo>
                    <a:pt x="332" y="16"/>
                  </a:lnTo>
                  <a:lnTo>
                    <a:pt x="332" y="42"/>
                  </a:lnTo>
                  <a:lnTo>
                    <a:pt x="332" y="42"/>
                  </a:lnTo>
                  <a:lnTo>
                    <a:pt x="332" y="64"/>
                  </a:lnTo>
                  <a:lnTo>
                    <a:pt x="332" y="69"/>
                  </a:lnTo>
                  <a:lnTo>
                    <a:pt x="332" y="71"/>
                  </a:lnTo>
                  <a:lnTo>
                    <a:pt x="332" y="74"/>
                  </a:lnTo>
                  <a:lnTo>
                    <a:pt x="332" y="76"/>
                  </a:lnTo>
                  <a:lnTo>
                    <a:pt x="332" y="79"/>
                  </a:lnTo>
                  <a:lnTo>
                    <a:pt x="332" y="81"/>
                  </a:lnTo>
                  <a:lnTo>
                    <a:pt x="334" y="98"/>
                  </a:lnTo>
                  <a:lnTo>
                    <a:pt x="334" y="102"/>
                  </a:lnTo>
                  <a:lnTo>
                    <a:pt x="334" y="107"/>
                  </a:lnTo>
                  <a:lnTo>
                    <a:pt x="334" y="109"/>
                  </a:lnTo>
                  <a:lnTo>
                    <a:pt x="334" y="122"/>
                  </a:lnTo>
                  <a:lnTo>
                    <a:pt x="334" y="131"/>
                  </a:lnTo>
                  <a:lnTo>
                    <a:pt x="334" y="133"/>
                  </a:lnTo>
                  <a:lnTo>
                    <a:pt x="334" y="134"/>
                  </a:lnTo>
                  <a:lnTo>
                    <a:pt x="334" y="145"/>
                  </a:lnTo>
                  <a:lnTo>
                    <a:pt x="334" y="146"/>
                  </a:lnTo>
                  <a:lnTo>
                    <a:pt x="334" y="152"/>
                  </a:lnTo>
                  <a:lnTo>
                    <a:pt x="334" y="155"/>
                  </a:lnTo>
                  <a:lnTo>
                    <a:pt x="334" y="162"/>
                  </a:lnTo>
                  <a:lnTo>
                    <a:pt x="334" y="167"/>
                  </a:lnTo>
                  <a:lnTo>
                    <a:pt x="334" y="176"/>
                  </a:lnTo>
                  <a:lnTo>
                    <a:pt x="334" y="176"/>
                  </a:lnTo>
                  <a:lnTo>
                    <a:pt x="337" y="176"/>
                  </a:lnTo>
                  <a:lnTo>
                    <a:pt x="342" y="176"/>
                  </a:lnTo>
                  <a:lnTo>
                    <a:pt x="347" y="176"/>
                  </a:lnTo>
                  <a:lnTo>
                    <a:pt x="347" y="184"/>
                  </a:lnTo>
                  <a:lnTo>
                    <a:pt x="347" y="189"/>
                  </a:lnTo>
                  <a:lnTo>
                    <a:pt x="347" y="191"/>
                  </a:lnTo>
                  <a:lnTo>
                    <a:pt x="347" y="193"/>
                  </a:lnTo>
                  <a:lnTo>
                    <a:pt x="347" y="195"/>
                  </a:lnTo>
                  <a:lnTo>
                    <a:pt x="347" y="196"/>
                  </a:lnTo>
                  <a:lnTo>
                    <a:pt x="347" y="208"/>
                  </a:lnTo>
                  <a:lnTo>
                    <a:pt x="347" y="222"/>
                  </a:lnTo>
                  <a:lnTo>
                    <a:pt x="347" y="227"/>
                  </a:lnTo>
                  <a:lnTo>
                    <a:pt x="347" y="239"/>
                  </a:lnTo>
                  <a:lnTo>
                    <a:pt x="347" y="245"/>
                  </a:lnTo>
                  <a:lnTo>
                    <a:pt x="347" y="250"/>
                  </a:lnTo>
                  <a:lnTo>
                    <a:pt x="347" y="253"/>
                  </a:lnTo>
                  <a:lnTo>
                    <a:pt x="347" y="255"/>
                  </a:lnTo>
                  <a:lnTo>
                    <a:pt x="349" y="255"/>
                  </a:lnTo>
                  <a:lnTo>
                    <a:pt x="359" y="255"/>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2" name="Freeform 226"/>
            <p:cNvSpPr>
              <a:spLocks/>
            </p:cNvSpPr>
            <p:nvPr/>
          </p:nvSpPr>
          <p:spPr bwMode="auto">
            <a:xfrm>
              <a:off x="6446133" y="4765469"/>
              <a:ext cx="622300" cy="652463"/>
            </a:xfrm>
            <a:custGeom>
              <a:avLst/>
              <a:gdLst/>
              <a:ahLst/>
              <a:cxnLst>
                <a:cxn ang="0">
                  <a:pos x="21" y="0"/>
                </a:cxn>
                <a:cxn ang="0">
                  <a:pos x="45" y="0"/>
                </a:cxn>
                <a:cxn ang="0">
                  <a:pos x="62" y="0"/>
                </a:cxn>
                <a:cxn ang="0">
                  <a:pos x="89" y="2"/>
                </a:cxn>
                <a:cxn ang="0">
                  <a:pos x="112" y="2"/>
                </a:cxn>
                <a:cxn ang="0">
                  <a:pos x="129" y="2"/>
                </a:cxn>
                <a:cxn ang="0">
                  <a:pos x="141" y="2"/>
                </a:cxn>
                <a:cxn ang="0">
                  <a:pos x="153" y="2"/>
                </a:cxn>
                <a:cxn ang="0">
                  <a:pos x="170" y="2"/>
                </a:cxn>
                <a:cxn ang="0">
                  <a:pos x="193" y="2"/>
                </a:cxn>
                <a:cxn ang="0">
                  <a:pos x="215" y="2"/>
                </a:cxn>
                <a:cxn ang="0">
                  <a:pos x="239" y="2"/>
                </a:cxn>
                <a:cxn ang="0">
                  <a:pos x="266" y="2"/>
                </a:cxn>
                <a:cxn ang="0">
                  <a:pos x="291" y="14"/>
                </a:cxn>
                <a:cxn ang="0">
                  <a:pos x="291" y="35"/>
                </a:cxn>
                <a:cxn ang="0">
                  <a:pos x="291" y="79"/>
                </a:cxn>
                <a:cxn ang="0">
                  <a:pos x="303" y="93"/>
                </a:cxn>
                <a:cxn ang="0">
                  <a:pos x="303" y="119"/>
                </a:cxn>
                <a:cxn ang="0">
                  <a:pos x="323" y="129"/>
                </a:cxn>
                <a:cxn ang="0">
                  <a:pos x="323" y="152"/>
                </a:cxn>
                <a:cxn ang="0">
                  <a:pos x="335" y="167"/>
                </a:cxn>
                <a:cxn ang="0">
                  <a:pos x="347" y="172"/>
                </a:cxn>
                <a:cxn ang="0">
                  <a:pos x="347" y="186"/>
                </a:cxn>
                <a:cxn ang="0">
                  <a:pos x="358" y="195"/>
                </a:cxn>
                <a:cxn ang="0">
                  <a:pos x="380" y="191"/>
                </a:cxn>
                <a:cxn ang="0">
                  <a:pos x="389" y="210"/>
                </a:cxn>
                <a:cxn ang="0">
                  <a:pos x="390" y="227"/>
                </a:cxn>
                <a:cxn ang="0">
                  <a:pos x="366" y="248"/>
                </a:cxn>
                <a:cxn ang="0">
                  <a:pos x="354" y="253"/>
                </a:cxn>
                <a:cxn ang="0">
                  <a:pos x="335" y="255"/>
                </a:cxn>
                <a:cxn ang="0">
                  <a:pos x="318" y="255"/>
                </a:cxn>
                <a:cxn ang="0">
                  <a:pos x="284" y="255"/>
                </a:cxn>
                <a:cxn ang="0">
                  <a:pos x="268" y="277"/>
                </a:cxn>
                <a:cxn ang="0">
                  <a:pos x="268" y="303"/>
                </a:cxn>
                <a:cxn ang="0">
                  <a:pos x="268" y="336"/>
                </a:cxn>
                <a:cxn ang="0">
                  <a:pos x="268" y="382"/>
                </a:cxn>
                <a:cxn ang="0">
                  <a:pos x="251" y="410"/>
                </a:cxn>
                <a:cxn ang="0">
                  <a:pos x="220" y="410"/>
                </a:cxn>
                <a:cxn ang="0">
                  <a:pos x="193" y="410"/>
                </a:cxn>
                <a:cxn ang="0">
                  <a:pos x="162" y="411"/>
                </a:cxn>
                <a:cxn ang="0">
                  <a:pos x="129" y="411"/>
                </a:cxn>
                <a:cxn ang="0">
                  <a:pos x="103" y="411"/>
                </a:cxn>
                <a:cxn ang="0">
                  <a:pos x="74" y="411"/>
                </a:cxn>
                <a:cxn ang="0">
                  <a:pos x="26" y="411"/>
                </a:cxn>
                <a:cxn ang="0">
                  <a:pos x="0" y="408"/>
                </a:cxn>
                <a:cxn ang="0">
                  <a:pos x="0" y="375"/>
                </a:cxn>
                <a:cxn ang="0">
                  <a:pos x="0" y="344"/>
                </a:cxn>
                <a:cxn ang="0">
                  <a:pos x="0" y="327"/>
                </a:cxn>
                <a:cxn ang="0">
                  <a:pos x="0" y="301"/>
                </a:cxn>
                <a:cxn ang="0">
                  <a:pos x="0" y="281"/>
                </a:cxn>
                <a:cxn ang="0">
                  <a:pos x="0" y="263"/>
                </a:cxn>
                <a:cxn ang="0">
                  <a:pos x="0" y="243"/>
                </a:cxn>
                <a:cxn ang="0">
                  <a:pos x="0" y="220"/>
                </a:cxn>
                <a:cxn ang="0">
                  <a:pos x="0" y="189"/>
                </a:cxn>
                <a:cxn ang="0">
                  <a:pos x="0" y="172"/>
                </a:cxn>
                <a:cxn ang="0">
                  <a:pos x="0" y="150"/>
                </a:cxn>
                <a:cxn ang="0">
                  <a:pos x="2" y="127"/>
                </a:cxn>
                <a:cxn ang="0">
                  <a:pos x="2" y="109"/>
                </a:cxn>
                <a:cxn ang="0">
                  <a:pos x="2" y="90"/>
                </a:cxn>
                <a:cxn ang="0">
                  <a:pos x="2" y="67"/>
                </a:cxn>
                <a:cxn ang="0">
                  <a:pos x="2" y="38"/>
                </a:cxn>
                <a:cxn ang="0">
                  <a:pos x="2" y="4"/>
                </a:cxn>
              </a:cxnLst>
              <a:rect l="0" t="0" r="r" b="b"/>
              <a:pathLst>
                <a:path w="392" h="411">
                  <a:moveTo>
                    <a:pt x="2" y="0"/>
                  </a:moveTo>
                  <a:lnTo>
                    <a:pt x="5" y="0"/>
                  </a:lnTo>
                  <a:lnTo>
                    <a:pt x="5" y="0"/>
                  </a:lnTo>
                  <a:lnTo>
                    <a:pt x="10" y="0"/>
                  </a:lnTo>
                  <a:lnTo>
                    <a:pt x="14" y="0"/>
                  </a:lnTo>
                  <a:lnTo>
                    <a:pt x="21" y="0"/>
                  </a:lnTo>
                  <a:lnTo>
                    <a:pt x="21" y="0"/>
                  </a:lnTo>
                  <a:lnTo>
                    <a:pt x="24" y="0"/>
                  </a:lnTo>
                  <a:lnTo>
                    <a:pt x="26" y="0"/>
                  </a:lnTo>
                  <a:lnTo>
                    <a:pt x="27" y="0"/>
                  </a:lnTo>
                  <a:lnTo>
                    <a:pt x="34" y="0"/>
                  </a:lnTo>
                  <a:lnTo>
                    <a:pt x="34" y="0"/>
                  </a:lnTo>
                  <a:lnTo>
                    <a:pt x="36" y="0"/>
                  </a:lnTo>
                  <a:lnTo>
                    <a:pt x="45" y="0"/>
                  </a:lnTo>
                  <a:lnTo>
                    <a:pt x="48" y="0"/>
                  </a:lnTo>
                  <a:lnTo>
                    <a:pt x="50" y="0"/>
                  </a:lnTo>
                  <a:lnTo>
                    <a:pt x="50" y="0"/>
                  </a:lnTo>
                  <a:lnTo>
                    <a:pt x="53" y="0"/>
                  </a:lnTo>
                  <a:lnTo>
                    <a:pt x="57" y="0"/>
                  </a:lnTo>
                  <a:lnTo>
                    <a:pt x="60" y="0"/>
                  </a:lnTo>
                  <a:lnTo>
                    <a:pt x="62" y="0"/>
                  </a:lnTo>
                  <a:lnTo>
                    <a:pt x="69" y="0"/>
                  </a:lnTo>
                  <a:lnTo>
                    <a:pt x="70" y="0"/>
                  </a:lnTo>
                  <a:lnTo>
                    <a:pt x="72" y="0"/>
                  </a:lnTo>
                  <a:lnTo>
                    <a:pt x="77" y="2"/>
                  </a:lnTo>
                  <a:lnTo>
                    <a:pt x="79" y="2"/>
                  </a:lnTo>
                  <a:lnTo>
                    <a:pt x="86" y="2"/>
                  </a:lnTo>
                  <a:lnTo>
                    <a:pt x="89" y="2"/>
                  </a:lnTo>
                  <a:lnTo>
                    <a:pt x="91" y="2"/>
                  </a:lnTo>
                  <a:lnTo>
                    <a:pt x="94" y="2"/>
                  </a:lnTo>
                  <a:lnTo>
                    <a:pt x="94" y="2"/>
                  </a:lnTo>
                  <a:lnTo>
                    <a:pt x="101" y="2"/>
                  </a:lnTo>
                  <a:lnTo>
                    <a:pt x="108" y="2"/>
                  </a:lnTo>
                  <a:lnTo>
                    <a:pt x="110" y="2"/>
                  </a:lnTo>
                  <a:lnTo>
                    <a:pt x="112" y="2"/>
                  </a:lnTo>
                  <a:lnTo>
                    <a:pt x="113" y="2"/>
                  </a:lnTo>
                  <a:lnTo>
                    <a:pt x="117" y="2"/>
                  </a:lnTo>
                  <a:lnTo>
                    <a:pt x="120" y="2"/>
                  </a:lnTo>
                  <a:lnTo>
                    <a:pt x="124" y="2"/>
                  </a:lnTo>
                  <a:lnTo>
                    <a:pt x="125" y="2"/>
                  </a:lnTo>
                  <a:lnTo>
                    <a:pt x="125" y="2"/>
                  </a:lnTo>
                  <a:lnTo>
                    <a:pt x="129" y="2"/>
                  </a:lnTo>
                  <a:lnTo>
                    <a:pt x="131" y="2"/>
                  </a:lnTo>
                  <a:lnTo>
                    <a:pt x="132" y="2"/>
                  </a:lnTo>
                  <a:lnTo>
                    <a:pt x="134" y="2"/>
                  </a:lnTo>
                  <a:lnTo>
                    <a:pt x="136" y="2"/>
                  </a:lnTo>
                  <a:lnTo>
                    <a:pt x="137" y="2"/>
                  </a:lnTo>
                  <a:lnTo>
                    <a:pt x="139" y="2"/>
                  </a:lnTo>
                  <a:lnTo>
                    <a:pt x="141" y="2"/>
                  </a:lnTo>
                  <a:lnTo>
                    <a:pt x="141" y="2"/>
                  </a:lnTo>
                  <a:lnTo>
                    <a:pt x="143" y="2"/>
                  </a:lnTo>
                  <a:lnTo>
                    <a:pt x="144" y="2"/>
                  </a:lnTo>
                  <a:lnTo>
                    <a:pt x="146" y="2"/>
                  </a:lnTo>
                  <a:lnTo>
                    <a:pt x="148" y="2"/>
                  </a:lnTo>
                  <a:lnTo>
                    <a:pt x="150" y="2"/>
                  </a:lnTo>
                  <a:lnTo>
                    <a:pt x="153" y="2"/>
                  </a:lnTo>
                  <a:lnTo>
                    <a:pt x="155" y="2"/>
                  </a:lnTo>
                  <a:lnTo>
                    <a:pt x="156" y="2"/>
                  </a:lnTo>
                  <a:lnTo>
                    <a:pt x="158" y="2"/>
                  </a:lnTo>
                  <a:lnTo>
                    <a:pt x="163" y="2"/>
                  </a:lnTo>
                  <a:lnTo>
                    <a:pt x="165" y="2"/>
                  </a:lnTo>
                  <a:lnTo>
                    <a:pt x="168" y="2"/>
                  </a:lnTo>
                  <a:lnTo>
                    <a:pt x="170" y="2"/>
                  </a:lnTo>
                  <a:lnTo>
                    <a:pt x="177" y="2"/>
                  </a:lnTo>
                  <a:lnTo>
                    <a:pt x="180" y="2"/>
                  </a:lnTo>
                  <a:lnTo>
                    <a:pt x="182" y="2"/>
                  </a:lnTo>
                  <a:lnTo>
                    <a:pt x="184" y="2"/>
                  </a:lnTo>
                  <a:lnTo>
                    <a:pt x="186" y="2"/>
                  </a:lnTo>
                  <a:lnTo>
                    <a:pt x="189" y="2"/>
                  </a:lnTo>
                  <a:lnTo>
                    <a:pt x="193" y="2"/>
                  </a:lnTo>
                  <a:lnTo>
                    <a:pt x="198" y="2"/>
                  </a:lnTo>
                  <a:lnTo>
                    <a:pt x="203" y="2"/>
                  </a:lnTo>
                  <a:lnTo>
                    <a:pt x="205" y="2"/>
                  </a:lnTo>
                  <a:lnTo>
                    <a:pt x="208" y="2"/>
                  </a:lnTo>
                  <a:lnTo>
                    <a:pt x="210" y="2"/>
                  </a:lnTo>
                  <a:lnTo>
                    <a:pt x="211" y="2"/>
                  </a:lnTo>
                  <a:lnTo>
                    <a:pt x="215" y="2"/>
                  </a:lnTo>
                  <a:lnTo>
                    <a:pt x="218" y="2"/>
                  </a:lnTo>
                  <a:lnTo>
                    <a:pt x="222" y="2"/>
                  </a:lnTo>
                  <a:lnTo>
                    <a:pt x="223" y="2"/>
                  </a:lnTo>
                  <a:lnTo>
                    <a:pt x="227" y="2"/>
                  </a:lnTo>
                  <a:lnTo>
                    <a:pt x="230" y="2"/>
                  </a:lnTo>
                  <a:lnTo>
                    <a:pt x="234" y="2"/>
                  </a:lnTo>
                  <a:lnTo>
                    <a:pt x="239" y="2"/>
                  </a:lnTo>
                  <a:lnTo>
                    <a:pt x="242" y="2"/>
                  </a:lnTo>
                  <a:lnTo>
                    <a:pt x="244" y="2"/>
                  </a:lnTo>
                  <a:lnTo>
                    <a:pt x="249" y="2"/>
                  </a:lnTo>
                  <a:lnTo>
                    <a:pt x="256" y="2"/>
                  </a:lnTo>
                  <a:lnTo>
                    <a:pt x="261" y="2"/>
                  </a:lnTo>
                  <a:lnTo>
                    <a:pt x="263" y="2"/>
                  </a:lnTo>
                  <a:lnTo>
                    <a:pt x="266" y="2"/>
                  </a:lnTo>
                  <a:lnTo>
                    <a:pt x="270" y="2"/>
                  </a:lnTo>
                  <a:lnTo>
                    <a:pt x="277" y="2"/>
                  </a:lnTo>
                  <a:lnTo>
                    <a:pt x="277" y="2"/>
                  </a:lnTo>
                  <a:lnTo>
                    <a:pt x="289" y="2"/>
                  </a:lnTo>
                  <a:lnTo>
                    <a:pt x="291" y="2"/>
                  </a:lnTo>
                  <a:lnTo>
                    <a:pt x="291" y="11"/>
                  </a:lnTo>
                  <a:lnTo>
                    <a:pt x="291" y="14"/>
                  </a:lnTo>
                  <a:lnTo>
                    <a:pt x="291" y="23"/>
                  </a:lnTo>
                  <a:lnTo>
                    <a:pt x="291" y="24"/>
                  </a:lnTo>
                  <a:lnTo>
                    <a:pt x="291" y="26"/>
                  </a:lnTo>
                  <a:lnTo>
                    <a:pt x="291" y="28"/>
                  </a:lnTo>
                  <a:lnTo>
                    <a:pt x="291" y="28"/>
                  </a:lnTo>
                  <a:lnTo>
                    <a:pt x="291" y="33"/>
                  </a:lnTo>
                  <a:lnTo>
                    <a:pt x="291" y="35"/>
                  </a:lnTo>
                  <a:lnTo>
                    <a:pt x="291" y="38"/>
                  </a:lnTo>
                  <a:lnTo>
                    <a:pt x="291" y="47"/>
                  </a:lnTo>
                  <a:lnTo>
                    <a:pt x="291" y="48"/>
                  </a:lnTo>
                  <a:lnTo>
                    <a:pt x="291" y="50"/>
                  </a:lnTo>
                  <a:lnTo>
                    <a:pt x="291" y="69"/>
                  </a:lnTo>
                  <a:lnTo>
                    <a:pt x="291" y="71"/>
                  </a:lnTo>
                  <a:lnTo>
                    <a:pt x="291" y="79"/>
                  </a:lnTo>
                  <a:lnTo>
                    <a:pt x="291" y="81"/>
                  </a:lnTo>
                  <a:lnTo>
                    <a:pt x="303" y="79"/>
                  </a:lnTo>
                  <a:lnTo>
                    <a:pt x="303" y="83"/>
                  </a:lnTo>
                  <a:lnTo>
                    <a:pt x="303" y="88"/>
                  </a:lnTo>
                  <a:lnTo>
                    <a:pt x="303" y="90"/>
                  </a:lnTo>
                  <a:lnTo>
                    <a:pt x="303" y="91"/>
                  </a:lnTo>
                  <a:lnTo>
                    <a:pt x="303" y="93"/>
                  </a:lnTo>
                  <a:lnTo>
                    <a:pt x="303" y="95"/>
                  </a:lnTo>
                  <a:lnTo>
                    <a:pt x="303" y="98"/>
                  </a:lnTo>
                  <a:lnTo>
                    <a:pt x="303" y="110"/>
                  </a:lnTo>
                  <a:lnTo>
                    <a:pt x="303" y="114"/>
                  </a:lnTo>
                  <a:lnTo>
                    <a:pt x="303" y="115"/>
                  </a:lnTo>
                  <a:lnTo>
                    <a:pt x="303" y="119"/>
                  </a:lnTo>
                  <a:lnTo>
                    <a:pt x="303" y="119"/>
                  </a:lnTo>
                  <a:lnTo>
                    <a:pt x="303" y="124"/>
                  </a:lnTo>
                  <a:lnTo>
                    <a:pt x="320" y="124"/>
                  </a:lnTo>
                  <a:lnTo>
                    <a:pt x="322" y="124"/>
                  </a:lnTo>
                  <a:lnTo>
                    <a:pt x="322" y="124"/>
                  </a:lnTo>
                  <a:lnTo>
                    <a:pt x="323" y="124"/>
                  </a:lnTo>
                  <a:lnTo>
                    <a:pt x="323" y="127"/>
                  </a:lnTo>
                  <a:lnTo>
                    <a:pt x="323" y="129"/>
                  </a:lnTo>
                  <a:lnTo>
                    <a:pt x="323" y="134"/>
                  </a:lnTo>
                  <a:lnTo>
                    <a:pt x="323" y="134"/>
                  </a:lnTo>
                  <a:lnTo>
                    <a:pt x="322" y="134"/>
                  </a:lnTo>
                  <a:lnTo>
                    <a:pt x="322" y="136"/>
                  </a:lnTo>
                  <a:lnTo>
                    <a:pt x="322" y="140"/>
                  </a:lnTo>
                  <a:lnTo>
                    <a:pt x="322" y="146"/>
                  </a:lnTo>
                  <a:lnTo>
                    <a:pt x="323" y="152"/>
                  </a:lnTo>
                  <a:lnTo>
                    <a:pt x="323" y="164"/>
                  </a:lnTo>
                  <a:lnTo>
                    <a:pt x="323" y="164"/>
                  </a:lnTo>
                  <a:lnTo>
                    <a:pt x="323" y="167"/>
                  </a:lnTo>
                  <a:lnTo>
                    <a:pt x="328" y="167"/>
                  </a:lnTo>
                  <a:lnTo>
                    <a:pt x="332" y="167"/>
                  </a:lnTo>
                  <a:lnTo>
                    <a:pt x="334" y="167"/>
                  </a:lnTo>
                  <a:lnTo>
                    <a:pt x="335" y="167"/>
                  </a:lnTo>
                  <a:lnTo>
                    <a:pt x="335" y="164"/>
                  </a:lnTo>
                  <a:lnTo>
                    <a:pt x="337" y="164"/>
                  </a:lnTo>
                  <a:lnTo>
                    <a:pt x="342" y="164"/>
                  </a:lnTo>
                  <a:lnTo>
                    <a:pt x="347" y="164"/>
                  </a:lnTo>
                  <a:lnTo>
                    <a:pt x="347" y="167"/>
                  </a:lnTo>
                  <a:lnTo>
                    <a:pt x="347" y="171"/>
                  </a:lnTo>
                  <a:lnTo>
                    <a:pt x="347" y="172"/>
                  </a:lnTo>
                  <a:lnTo>
                    <a:pt x="347" y="174"/>
                  </a:lnTo>
                  <a:lnTo>
                    <a:pt x="347" y="177"/>
                  </a:lnTo>
                  <a:lnTo>
                    <a:pt x="347" y="179"/>
                  </a:lnTo>
                  <a:lnTo>
                    <a:pt x="347" y="181"/>
                  </a:lnTo>
                  <a:lnTo>
                    <a:pt x="347" y="183"/>
                  </a:lnTo>
                  <a:lnTo>
                    <a:pt x="347" y="184"/>
                  </a:lnTo>
                  <a:lnTo>
                    <a:pt x="347" y="186"/>
                  </a:lnTo>
                  <a:lnTo>
                    <a:pt x="349" y="186"/>
                  </a:lnTo>
                  <a:lnTo>
                    <a:pt x="351" y="184"/>
                  </a:lnTo>
                  <a:lnTo>
                    <a:pt x="352" y="184"/>
                  </a:lnTo>
                  <a:lnTo>
                    <a:pt x="358" y="183"/>
                  </a:lnTo>
                  <a:lnTo>
                    <a:pt x="358" y="188"/>
                  </a:lnTo>
                  <a:lnTo>
                    <a:pt x="358" y="191"/>
                  </a:lnTo>
                  <a:lnTo>
                    <a:pt x="358" y="195"/>
                  </a:lnTo>
                  <a:lnTo>
                    <a:pt x="359" y="195"/>
                  </a:lnTo>
                  <a:lnTo>
                    <a:pt x="361" y="195"/>
                  </a:lnTo>
                  <a:lnTo>
                    <a:pt x="366" y="193"/>
                  </a:lnTo>
                  <a:lnTo>
                    <a:pt x="366" y="193"/>
                  </a:lnTo>
                  <a:lnTo>
                    <a:pt x="370" y="191"/>
                  </a:lnTo>
                  <a:lnTo>
                    <a:pt x="380" y="189"/>
                  </a:lnTo>
                  <a:lnTo>
                    <a:pt x="380" y="191"/>
                  </a:lnTo>
                  <a:lnTo>
                    <a:pt x="380" y="198"/>
                  </a:lnTo>
                  <a:lnTo>
                    <a:pt x="380" y="205"/>
                  </a:lnTo>
                  <a:lnTo>
                    <a:pt x="380" y="207"/>
                  </a:lnTo>
                  <a:lnTo>
                    <a:pt x="380" y="208"/>
                  </a:lnTo>
                  <a:lnTo>
                    <a:pt x="380" y="210"/>
                  </a:lnTo>
                  <a:lnTo>
                    <a:pt x="385" y="210"/>
                  </a:lnTo>
                  <a:lnTo>
                    <a:pt x="389" y="210"/>
                  </a:lnTo>
                  <a:lnTo>
                    <a:pt x="390" y="210"/>
                  </a:lnTo>
                  <a:lnTo>
                    <a:pt x="392" y="210"/>
                  </a:lnTo>
                  <a:lnTo>
                    <a:pt x="392" y="210"/>
                  </a:lnTo>
                  <a:lnTo>
                    <a:pt x="392" y="212"/>
                  </a:lnTo>
                  <a:lnTo>
                    <a:pt x="390" y="217"/>
                  </a:lnTo>
                  <a:lnTo>
                    <a:pt x="390" y="224"/>
                  </a:lnTo>
                  <a:lnTo>
                    <a:pt x="390" y="227"/>
                  </a:lnTo>
                  <a:lnTo>
                    <a:pt x="392" y="234"/>
                  </a:lnTo>
                  <a:lnTo>
                    <a:pt x="392" y="241"/>
                  </a:lnTo>
                  <a:lnTo>
                    <a:pt x="392" y="244"/>
                  </a:lnTo>
                  <a:lnTo>
                    <a:pt x="380" y="248"/>
                  </a:lnTo>
                  <a:lnTo>
                    <a:pt x="375" y="248"/>
                  </a:lnTo>
                  <a:lnTo>
                    <a:pt x="373" y="248"/>
                  </a:lnTo>
                  <a:lnTo>
                    <a:pt x="366" y="248"/>
                  </a:lnTo>
                  <a:lnTo>
                    <a:pt x="361" y="248"/>
                  </a:lnTo>
                  <a:lnTo>
                    <a:pt x="361" y="250"/>
                  </a:lnTo>
                  <a:lnTo>
                    <a:pt x="363" y="250"/>
                  </a:lnTo>
                  <a:lnTo>
                    <a:pt x="363" y="251"/>
                  </a:lnTo>
                  <a:lnTo>
                    <a:pt x="358" y="251"/>
                  </a:lnTo>
                  <a:lnTo>
                    <a:pt x="354" y="251"/>
                  </a:lnTo>
                  <a:lnTo>
                    <a:pt x="354" y="253"/>
                  </a:lnTo>
                  <a:lnTo>
                    <a:pt x="352" y="253"/>
                  </a:lnTo>
                  <a:lnTo>
                    <a:pt x="349" y="253"/>
                  </a:lnTo>
                  <a:lnTo>
                    <a:pt x="347" y="253"/>
                  </a:lnTo>
                  <a:lnTo>
                    <a:pt x="344" y="255"/>
                  </a:lnTo>
                  <a:lnTo>
                    <a:pt x="340" y="255"/>
                  </a:lnTo>
                  <a:lnTo>
                    <a:pt x="339" y="255"/>
                  </a:lnTo>
                  <a:lnTo>
                    <a:pt x="335" y="255"/>
                  </a:lnTo>
                  <a:lnTo>
                    <a:pt x="335" y="255"/>
                  </a:lnTo>
                  <a:lnTo>
                    <a:pt x="332" y="255"/>
                  </a:lnTo>
                  <a:lnTo>
                    <a:pt x="327" y="255"/>
                  </a:lnTo>
                  <a:lnTo>
                    <a:pt x="325" y="255"/>
                  </a:lnTo>
                  <a:lnTo>
                    <a:pt x="322" y="255"/>
                  </a:lnTo>
                  <a:lnTo>
                    <a:pt x="320" y="255"/>
                  </a:lnTo>
                  <a:lnTo>
                    <a:pt x="318" y="255"/>
                  </a:lnTo>
                  <a:lnTo>
                    <a:pt x="311" y="255"/>
                  </a:lnTo>
                  <a:lnTo>
                    <a:pt x="306" y="255"/>
                  </a:lnTo>
                  <a:lnTo>
                    <a:pt x="304" y="255"/>
                  </a:lnTo>
                  <a:lnTo>
                    <a:pt x="303" y="255"/>
                  </a:lnTo>
                  <a:lnTo>
                    <a:pt x="301" y="255"/>
                  </a:lnTo>
                  <a:lnTo>
                    <a:pt x="291" y="255"/>
                  </a:lnTo>
                  <a:lnTo>
                    <a:pt x="284" y="255"/>
                  </a:lnTo>
                  <a:lnTo>
                    <a:pt x="275" y="255"/>
                  </a:lnTo>
                  <a:lnTo>
                    <a:pt x="268" y="255"/>
                  </a:lnTo>
                  <a:lnTo>
                    <a:pt x="268" y="258"/>
                  </a:lnTo>
                  <a:lnTo>
                    <a:pt x="268" y="267"/>
                  </a:lnTo>
                  <a:lnTo>
                    <a:pt x="268" y="270"/>
                  </a:lnTo>
                  <a:lnTo>
                    <a:pt x="268" y="272"/>
                  </a:lnTo>
                  <a:lnTo>
                    <a:pt x="268" y="277"/>
                  </a:lnTo>
                  <a:lnTo>
                    <a:pt x="268" y="282"/>
                  </a:lnTo>
                  <a:lnTo>
                    <a:pt x="268" y="284"/>
                  </a:lnTo>
                  <a:lnTo>
                    <a:pt x="268" y="287"/>
                  </a:lnTo>
                  <a:lnTo>
                    <a:pt x="268" y="291"/>
                  </a:lnTo>
                  <a:lnTo>
                    <a:pt x="268" y="298"/>
                  </a:lnTo>
                  <a:lnTo>
                    <a:pt x="268" y="300"/>
                  </a:lnTo>
                  <a:lnTo>
                    <a:pt x="268" y="303"/>
                  </a:lnTo>
                  <a:lnTo>
                    <a:pt x="268" y="308"/>
                  </a:lnTo>
                  <a:lnTo>
                    <a:pt x="268" y="313"/>
                  </a:lnTo>
                  <a:lnTo>
                    <a:pt x="268" y="315"/>
                  </a:lnTo>
                  <a:lnTo>
                    <a:pt x="268" y="322"/>
                  </a:lnTo>
                  <a:lnTo>
                    <a:pt x="268" y="324"/>
                  </a:lnTo>
                  <a:lnTo>
                    <a:pt x="268" y="325"/>
                  </a:lnTo>
                  <a:lnTo>
                    <a:pt x="268" y="336"/>
                  </a:lnTo>
                  <a:lnTo>
                    <a:pt x="268" y="337"/>
                  </a:lnTo>
                  <a:lnTo>
                    <a:pt x="268" y="348"/>
                  </a:lnTo>
                  <a:lnTo>
                    <a:pt x="268" y="358"/>
                  </a:lnTo>
                  <a:lnTo>
                    <a:pt x="268" y="365"/>
                  </a:lnTo>
                  <a:lnTo>
                    <a:pt x="268" y="368"/>
                  </a:lnTo>
                  <a:lnTo>
                    <a:pt x="268" y="377"/>
                  </a:lnTo>
                  <a:lnTo>
                    <a:pt x="268" y="382"/>
                  </a:lnTo>
                  <a:lnTo>
                    <a:pt x="268" y="384"/>
                  </a:lnTo>
                  <a:lnTo>
                    <a:pt x="268" y="399"/>
                  </a:lnTo>
                  <a:lnTo>
                    <a:pt x="268" y="404"/>
                  </a:lnTo>
                  <a:lnTo>
                    <a:pt x="268" y="404"/>
                  </a:lnTo>
                  <a:lnTo>
                    <a:pt x="268" y="410"/>
                  </a:lnTo>
                  <a:lnTo>
                    <a:pt x="261" y="410"/>
                  </a:lnTo>
                  <a:lnTo>
                    <a:pt x="251" y="410"/>
                  </a:lnTo>
                  <a:lnTo>
                    <a:pt x="249" y="410"/>
                  </a:lnTo>
                  <a:lnTo>
                    <a:pt x="248" y="410"/>
                  </a:lnTo>
                  <a:lnTo>
                    <a:pt x="236" y="410"/>
                  </a:lnTo>
                  <a:lnTo>
                    <a:pt x="234" y="410"/>
                  </a:lnTo>
                  <a:lnTo>
                    <a:pt x="230" y="410"/>
                  </a:lnTo>
                  <a:lnTo>
                    <a:pt x="229" y="410"/>
                  </a:lnTo>
                  <a:lnTo>
                    <a:pt x="220" y="410"/>
                  </a:lnTo>
                  <a:lnTo>
                    <a:pt x="215" y="410"/>
                  </a:lnTo>
                  <a:lnTo>
                    <a:pt x="210" y="410"/>
                  </a:lnTo>
                  <a:lnTo>
                    <a:pt x="205" y="410"/>
                  </a:lnTo>
                  <a:lnTo>
                    <a:pt x="201" y="410"/>
                  </a:lnTo>
                  <a:lnTo>
                    <a:pt x="201" y="410"/>
                  </a:lnTo>
                  <a:lnTo>
                    <a:pt x="198" y="410"/>
                  </a:lnTo>
                  <a:lnTo>
                    <a:pt x="193" y="410"/>
                  </a:lnTo>
                  <a:lnTo>
                    <a:pt x="186" y="410"/>
                  </a:lnTo>
                  <a:lnTo>
                    <a:pt x="179" y="411"/>
                  </a:lnTo>
                  <a:lnTo>
                    <a:pt x="177" y="411"/>
                  </a:lnTo>
                  <a:lnTo>
                    <a:pt x="174" y="411"/>
                  </a:lnTo>
                  <a:lnTo>
                    <a:pt x="170" y="411"/>
                  </a:lnTo>
                  <a:lnTo>
                    <a:pt x="167" y="411"/>
                  </a:lnTo>
                  <a:lnTo>
                    <a:pt x="162" y="411"/>
                  </a:lnTo>
                  <a:lnTo>
                    <a:pt x="156" y="411"/>
                  </a:lnTo>
                  <a:lnTo>
                    <a:pt x="151" y="411"/>
                  </a:lnTo>
                  <a:lnTo>
                    <a:pt x="143" y="411"/>
                  </a:lnTo>
                  <a:lnTo>
                    <a:pt x="141" y="411"/>
                  </a:lnTo>
                  <a:lnTo>
                    <a:pt x="139" y="411"/>
                  </a:lnTo>
                  <a:lnTo>
                    <a:pt x="134" y="411"/>
                  </a:lnTo>
                  <a:lnTo>
                    <a:pt x="129" y="411"/>
                  </a:lnTo>
                  <a:lnTo>
                    <a:pt x="122" y="411"/>
                  </a:lnTo>
                  <a:lnTo>
                    <a:pt x="120" y="411"/>
                  </a:lnTo>
                  <a:lnTo>
                    <a:pt x="117" y="411"/>
                  </a:lnTo>
                  <a:lnTo>
                    <a:pt x="113" y="411"/>
                  </a:lnTo>
                  <a:lnTo>
                    <a:pt x="110" y="411"/>
                  </a:lnTo>
                  <a:lnTo>
                    <a:pt x="105" y="411"/>
                  </a:lnTo>
                  <a:lnTo>
                    <a:pt x="103" y="411"/>
                  </a:lnTo>
                  <a:lnTo>
                    <a:pt x="101" y="411"/>
                  </a:lnTo>
                  <a:lnTo>
                    <a:pt x="96" y="411"/>
                  </a:lnTo>
                  <a:lnTo>
                    <a:pt x="89" y="411"/>
                  </a:lnTo>
                  <a:lnTo>
                    <a:pt x="86" y="411"/>
                  </a:lnTo>
                  <a:lnTo>
                    <a:pt x="79" y="411"/>
                  </a:lnTo>
                  <a:lnTo>
                    <a:pt x="76" y="411"/>
                  </a:lnTo>
                  <a:lnTo>
                    <a:pt x="74" y="411"/>
                  </a:lnTo>
                  <a:lnTo>
                    <a:pt x="70" y="411"/>
                  </a:lnTo>
                  <a:lnTo>
                    <a:pt x="55" y="411"/>
                  </a:lnTo>
                  <a:lnTo>
                    <a:pt x="51" y="411"/>
                  </a:lnTo>
                  <a:lnTo>
                    <a:pt x="48" y="411"/>
                  </a:lnTo>
                  <a:lnTo>
                    <a:pt x="46" y="411"/>
                  </a:lnTo>
                  <a:lnTo>
                    <a:pt x="31" y="411"/>
                  </a:lnTo>
                  <a:lnTo>
                    <a:pt x="26" y="411"/>
                  </a:lnTo>
                  <a:lnTo>
                    <a:pt x="21" y="411"/>
                  </a:lnTo>
                  <a:lnTo>
                    <a:pt x="19" y="411"/>
                  </a:lnTo>
                  <a:lnTo>
                    <a:pt x="14" y="411"/>
                  </a:lnTo>
                  <a:lnTo>
                    <a:pt x="5" y="411"/>
                  </a:lnTo>
                  <a:lnTo>
                    <a:pt x="0" y="411"/>
                  </a:lnTo>
                  <a:lnTo>
                    <a:pt x="0" y="410"/>
                  </a:lnTo>
                  <a:lnTo>
                    <a:pt x="0" y="408"/>
                  </a:lnTo>
                  <a:lnTo>
                    <a:pt x="0" y="406"/>
                  </a:lnTo>
                  <a:lnTo>
                    <a:pt x="0" y="404"/>
                  </a:lnTo>
                  <a:lnTo>
                    <a:pt x="0" y="404"/>
                  </a:lnTo>
                  <a:lnTo>
                    <a:pt x="0" y="396"/>
                  </a:lnTo>
                  <a:lnTo>
                    <a:pt x="0" y="394"/>
                  </a:lnTo>
                  <a:lnTo>
                    <a:pt x="0" y="392"/>
                  </a:lnTo>
                  <a:lnTo>
                    <a:pt x="0" y="375"/>
                  </a:lnTo>
                  <a:lnTo>
                    <a:pt x="0" y="372"/>
                  </a:lnTo>
                  <a:lnTo>
                    <a:pt x="0" y="368"/>
                  </a:lnTo>
                  <a:lnTo>
                    <a:pt x="0" y="367"/>
                  </a:lnTo>
                  <a:lnTo>
                    <a:pt x="0" y="360"/>
                  </a:lnTo>
                  <a:lnTo>
                    <a:pt x="0" y="356"/>
                  </a:lnTo>
                  <a:lnTo>
                    <a:pt x="0" y="351"/>
                  </a:lnTo>
                  <a:lnTo>
                    <a:pt x="0" y="344"/>
                  </a:lnTo>
                  <a:lnTo>
                    <a:pt x="0" y="343"/>
                  </a:lnTo>
                  <a:lnTo>
                    <a:pt x="0" y="341"/>
                  </a:lnTo>
                  <a:lnTo>
                    <a:pt x="0" y="339"/>
                  </a:lnTo>
                  <a:lnTo>
                    <a:pt x="0" y="332"/>
                  </a:lnTo>
                  <a:lnTo>
                    <a:pt x="0" y="330"/>
                  </a:lnTo>
                  <a:lnTo>
                    <a:pt x="0" y="330"/>
                  </a:lnTo>
                  <a:lnTo>
                    <a:pt x="0" y="327"/>
                  </a:lnTo>
                  <a:lnTo>
                    <a:pt x="0" y="325"/>
                  </a:lnTo>
                  <a:lnTo>
                    <a:pt x="0" y="322"/>
                  </a:lnTo>
                  <a:lnTo>
                    <a:pt x="0" y="317"/>
                  </a:lnTo>
                  <a:lnTo>
                    <a:pt x="0" y="315"/>
                  </a:lnTo>
                  <a:lnTo>
                    <a:pt x="0" y="313"/>
                  </a:lnTo>
                  <a:lnTo>
                    <a:pt x="0" y="310"/>
                  </a:lnTo>
                  <a:lnTo>
                    <a:pt x="0" y="301"/>
                  </a:lnTo>
                  <a:lnTo>
                    <a:pt x="0" y="296"/>
                  </a:lnTo>
                  <a:lnTo>
                    <a:pt x="0" y="291"/>
                  </a:lnTo>
                  <a:lnTo>
                    <a:pt x="0" y="287"/>
                  </a:lnTo>
                  <a:lnTo>
                    <a:pt x="0" y="286"/>
                  </a:lnTo>
                  <a:lnTo>
                    <a:pt x="0" y="284"/>
                  </a:lnTo>
                  <a:lnTo>
                    <a:pt x="0" y="282"/>
                  </a:lnTo>
                  <a:lnTo>
                    <a:pt x="0" y="281"/>
                  </a:lnTo>
                  <a:lnTo>
                    <a:pt x="0" y="279"/>
                  </a:lnTo>
                  <a:lnTo>
                    <a:pt x="0" y="275"/>
                  </a:lnTo>
                  <a:lnTo>
                    <a:pt x="0" y="274"/>
                  </a:lnTo>
                  <a:lnTo>
                    <a:pt x="0" y="270"/>
                  </a:lnTo>
                  <a:lnTo>
                    <a:pt x="0" y="270"/>
                  </a:lnTo>
                  <a:lnTo>
                    <a:pt x="0" y="265"/>
                  </a:lnTo>
                  <a:lnTo>
                    <a:pt x="0" y="263"/>
                  </a:lnTo>
                  <a:lnTo>
                    <a:pt x="0" y="260"/>
                  </a:lnTo>
                  <a:lnTo>
                    <a:pt x="0" y="258"/>
                  </a:lnTo>
                  <a:lnTo>
                    <a:pt x="0" y="255"/>
                  </a:lnTo>
                  <a:lnTo>
                    <a:pt x="0" y="250"/>
                  </a:lnTo>
                  <a:lnTo>
                    <a:pt x="0" y="248"/>
                  </a:lnTo>
                  <a:lnTo>
                    <a:pt x="0" y="244"/>
                  </a:lnTo>
                  <a:lnTo>
                    <a:pt x="0" y="243"/>
                  </a:lnTo>
                  <a:lnTo>
                    <a:pt x="0" y="241"/>
                  </a:lnTo>
                  <a:lnTo>
                    <a:pt x="0" y="239"/>
                  </a:lnTo>
                  <a:lnTo>
                    <a:pt x="0" y="238"/>
                  </a:lnTo>
                  <a:lnTo>
                    <a:pt x="0" y="234"/>
                  </a:lnTo>
                  <a:lnTo>
                    <a:pt x="0" y="229"/>
                  </a:lnTo>
                  <a:lnTo>
                    <a:pt x="0" y="226"/>
                  </a:lnTo>
                  <a:lnTo>
                    <a:pt x="0" y="220"/>
                  </a:lnTo>
                  <a:lnTo>
                    <a:pt x="0" y="207"/>
                  </a:lnTo>
                  <a:lnTo>
                    <a:pt x="0" y="200"/>
                  </a:lnTo>
                  <a:lnTo>
                    <a:pt x="0" y="198"/>
                  </a:lnTo>
                  <a:lnTo>
                    <a:pt x="0" y="196"/>
                  </a:lnTo>
                  <a:lnTo>
                    <a:pt x="0" y="195"/>
                  </a:lnTo>
                  <a:lnTo>
                    <a:pt x="0" y="195"/>
                  </a:lnTo>
                  <a:lnTo>
                    <a:pt x="0" y="189"/>
                  </a:lnTo>
                  <a:lnTo>
                    <a:pt x="0" y="188"/>
                  </a:lnTo>
                  <a:lnTo>
                    <a:pt x="0" y="184"/>
                  </a:lnTo>
                  <a:lnTo>
                    <a:pt x="0" y="183"/>
                  </a:lnTo>
                  <a:lnTo>
                    <a:pt x="0" y="181"/>
                  </a:lnTo>
                  <a:lnTo>
                    <a:pt x="0" y="179"/>
                  </a:lnTo>
                  <a:lnTo>
                    <a:pt x="0" y="177"/>
                  </a:lnTo>
                  <a:lnTo>
                    <a:pt x="0" y="172"/>
                  </a:lnTo>
                  <a:lnTo>
                    <a:pt x="0" y="169"/>
                  </a:lnTo>
                  <a:lnTo>
                    <a:pt x="0" y="167"/>
                  </a:lnTo>
                  <a:lnTo>
                    <a:pt x="0" y="164"/>
                  </a:lnTo>
                  <a:lnTo>
                    <a:pt x="0" y="164"/>
                  </a:lnTo>
                  <a:lnTo>
                    <a:pt x="0" y="160"/>
                  </a:lnTo>
                  <a:lnTo>
                    <a:pt x="0" y="152"/>
                  </a:lnTo>
                  <a:lnTo>
                    <a:pt x="0" y="150"/>
                  </a:lnTo>
                  <a:lnTo>
                    <a:pt x="0" y="143"/>
                  </a:lnTo>
                  <a:lnTo>
                    <a:pt x="0" y="134"/>
                  </a:lnTo>
                  <a:lnTo>
                    <a:pt x="3" y="134"/>
                  </a:lnTo>
                  <a:lnTo>
                    <a:pt x="3" y="134"/>
                  </a:lnTo>
                  <a:lnTo>
                    <a:pt x="3" y="133"/>
                  </a:lnTo>
                  <a:lnTo>
                    <a:pt x="2" y="131"/>
                  </a:lnTo>
                  <a:lnTo>
                    <a:pt x="2" y="127"/>
                  </a:lnTo>
                  <a:lnTo>
                    <a:pt x="2" y="126"/>
                  </a:lnTo>
                  <a:lnTo>
                    <a:pt x="2" y="124"/>
                  </a:lnTo>
                  <a:lnTo>
                    <a:pt x="2" y="121"/>
                  </a:lnTo>
                  <a:lnTo>
                    <a:pt x="2" y="117"/>
                  </a:lnTo>
                  <a:lnTo>
                    <a:pt x="2" y="115"/>
                  </a:lnTo>
                  <a:lnTo>
                    <a:pt x="2" y="110"/>
                  </a:lnTo>
                  <a:lnTo>
                    <a:pt x="2" y="109"/>
                  </a:lnTo>
                  <a:lnTo>
                    <a:pt x="2" y="107"/>
                  </a:lnTo>
                  <a:lnTo>
                    <a:pt x="2" y="103"/>
                  </a:lnTo>
                  <a:lnTo>
                    <a:pt x="2" y="102"/>
                  </a:lnTo>
                  <a:lnTo>
                    <a:pt x="2" y="95"/>
                  </a:lnTo>
                  <a:lnTo>
                    <a:pt x="2" y="93"/>
                  </a:lnTo>
                  <a:lnTo>
                    <a:pt x="2" y="91"/>
                  </a:lnTo>
                  <a:lnTo>
                    <a:pt x="2" y="90"/>
                  </a:lnTo>
                  <a:lnTo>
                    <a:pt x="2" y="84"/>
                  </a:lnTo>
                  <a:lnTo>
                    <a:pt x="2" y="81"/>
                  </a:lnTo>
                  <a:lnTo>
                    <a:pt x="2" y="76"/>
                  </a:lnTo>
                  <a:lnTo>
                    <a:pt x="2" y="74"/>
                  </a:lnTo>
                  <a:lnTo>
                    <a:pt x="2" y="71"/>
                  </a:lnTo>
                  <a:lnTo>
                    <a:pt x="2" y="69"/>
                  </a:lnTo>
                  <a:lnTo>
                    <a:pt x="2" y="67"/>
                  </a:lnTo>
                  <a:lnTo>
                    <a:pt x="2" y="66"/>
                  </a:lnTo>
                  <a:lnTo>
                    <a:pt x="2" y="62"/>
                  </a:lnTo>
                  <a:lnTo>
                    <a:pt x="2" y="60"/>
                  </a:lnTo>
                  <a:lnTo>
                    <a:pt x="2" y="54"/>
                  </a:lnTo>
                  <a:lnTo>
                    <a:pt x="2" y="47"/>
                  </a:lnTo>
                  <a:lnTo>
                    <a:pt x="2" y="40"/>
                  </a:lnTo>
                  <a:lnTo>
                    <a:pt x="2" y="38"/>
                  </a:lnTo>
                  <a:lnTo>
                    <a:pt x="2" y="35"/>
                  </a:lnTo>
                  <a:lnTo>
                    <a:pt x="2" y="28"/>
                  </a:lnTo>
                  <a:lnTo>
                    <a:pt x="2" y="28"/>
                  </a:lnTo>
                  <a:lnTo>
                    <a:pt x="2" y="24"/>
                  </a:lnTo>
                  <a:lnTo>
                    <a:pt x="2" y="21"/>
                  </a:lnTo>
                  <a:lnTo>
                    <a:pt x="2" y="12"/>
                  </a:lnTo>
                  <a:lnTo>
                    <a:pt x="2" y="4"/>
                  </a:lnTo>
                  <a:lnTo>
                    <a:pt x="2" y="2"/>
                  </a:lnTo>
                  <a:lnTo>
                    <a:pt x="2" y="0"/>
                  </a:lnTo>
                </a:path>
              </a:pathLst>
            </a:custGeom>
            <a:solidFill>
              <a:schemeClr val="tx2">
                <a:lumMod val="60000"/>
                <a:lumOff val="4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3" name="Freeform 229"/>
            <p:cNvSpPr>
              <a:spLocks/>
            </p:cNvSpPr>
            <p:nvPr/>
          </p:nvSpPr>
          <p:spPr bwMode="auto">
            <a:xfrm>
              <a:off x="7298621" y="4867069"/>
              <a:ext cx="657225" cy="488950"/>
            </a:xfrm>
            <a:custGeom>
              <a:avLst/>
              <a:gdLst/>
              <a:ahLst/>
              <a:cxnLst>
                <a:cxn ang="0">
                  <a:pos x="154" y="5"/>
                </a:cxn>
                <a:cxn ang="0">
                  <a:pos x="177" y="5"/>
                </a:cxn>
                <a:cxn ang="0">
                  <a:pos x="199" y="3"/>
                </a:cxn>
                <a:cxn ang="0">
                  <a:pos x="211" y="3"/>
                </a:cxn>
                <a:cxn ang="0">
                  <a:pos x="242" y="3"/>
                </a:cxn>
                <a:cxn ang="0">
                  <a:pos x="275" y="2"/>
                </a:cxn>
                <a:cxn ang="0">
                  <a:pos x="301" y="2"/>
                </a:cxn>
                <a:cxn ang="0">
                  <a:pos x="318" y="0"/>
                </a:cxn>
                <a:cxn ang="0">
                  <a:pos x="342" y="0"/>
                </a:cxn>
                <a:cxn ang="0">
                  <a:pos x="342" y="27"/>
                </a:cxn>
                <a:cxn ang="0">
                  <a:pos x="342" y="60"/>
                </a:cxn>
                <a:cxn ang="0">
                  <a:pos x="342" y="89"/>
                </a:cxn>
                <a:cxn ang="0">
                  <a:pos x="342" y="113"/>
                </a:cxn>
                <a:cxn ang="0">
                  <a:pos x="342" y="150"/>
                </a:cxn>
                <a:cxn ang="0">
                  <a:pos x="344" y="170"/>
                </a:cxn>
                <a:cxn ang="0">
                  <a:pos x="362" y="175"/>
                </a:cxn>
                <a:cxn ang="0">
                  <a:pos x="392" y="175"/>
                </a:cxn>
                <a:cxn ang="0">
                  <a:pos x="409" y="175"/>
                </a:cxn>
                <a:cxn ang="0">
                  <a:pos x="414" y="187"/>
                </a:cxn>
                <a:cxn ang="0">
                  <a:pos x="414" y="205"/>
                </a:cxn>
                <a:cxn ang="0">
                  <a:pos x="402" y="208"/>
                </a:cxn>
                <a:cxn ang="0">
                  <a:pos x="390" y="217"/>
                </a:cxn>
                <a:cxn ang="0">
                  <a:pos x="380" y="236"/>
                </a:cxn>
                <a:cxn ang="0">
                  <a:pos x="369" y="253"/>
                </a:cxn>
                <a:cxn ang="0">
                  <a:pos x="352" y="270"/>
                </a:cxn>
                <a:cxn ang="0">
                  <a:pos x="347" y="282"/>
                </a:cxn>
                <a:cxn ang="0">
                  <a:pos x="335" y="296"/>
                </a:cxn>
                <a:cxn ang="0">
                  <a:pos x="323" y="303"/>
                </a:cxn>
                <a:cxn ang="0">
                  <a:pos x="306" y="303"/>
                </a:cxn>
                <a:cxn ang="0">
                  <a:pos x="288" y="301"/>
                </a:cxn>
                <a:cxn ang="0">
                  <a:pos x="280" y="301"/>
                </a:cxn>
                <a:cxn ang="0">
                  <a:pos x="263" y="301"/>
                </a:cxn>
                <a:cxn ang="0">
                  <a:pos x="228" y="303"/>
                </a:cxn>
                <a:cxn ang="0">
                  <a:pos x="206" y="303"/>
                </a:cxn>
                <a:cxn ang="0">
                  <a:pos x="180" y="303"/>
                </a:cxn>
                <a:cxn ang="0">
                  <a:pos x="168" y="304"/>
                </a:cxn>
                <a:cxn ang="0">
                  <a:pos x="154" y="304"/>
                </a:cxn>
                <a:cxn ang="0">
                  <a:pos x="122" y="306"/>
                </a:cxn>
                <a:cxn ang="0">
                  <a:pos x="91" y="306"/>
                </a:cxn>
                <a:cxn ang="0">
                  <a:pos x="70" y="306"/>
                </a:cxn>
                <a:cxn ang="0">
                  <a:pos x="63" y="306"/>
                </a:cxn>
                <a:cxn ang="0">
                  <a:pos x="56" y="292"/>
                </a:cxn>
                <a:cxn ang="0">
                  <a:pos x="48" y="273"/>
                </a:cxn>
                <a:cxn ang="0">
                  <a:pos x="43" y="256"/>
                </a:cxn>
                <a:cxn ang="0">
                  <a:pos x="32" y="242"/>
                </a:cxn>
                <a:cxn ang="0">
                  <a:pos x="27" y="213"/>
                </a:cxn>
                <a:cxn ang="0">
                  <a:pos x="10" y="213"/>
                </a:cxn>
                <a:cxn ang="0">
                  <a:pos x="1" y="186"/>
                </a:cxn>
                <a:cxn ang="0">
                  <a:pos x="0" y="155"/>
                </a:cxn>
                <a:cxn ang="0">
                  <a:pos x="6" y="146"/>
                </a:cxn>
                <a:cxn ang="0">
                  <a:pos x="13" y="131"/>
                </a:cxn>
                <a:cxn ang="0">
                  <a:pos x="25" y="124"/>
                </a:cxn>
                <a:cxn ang="0">
                  <a:pos x="25" y="101"/>
                </a:cxn>
                <a:cxn ang="0">
                  <a:pos x="25" y="63"/>
                </a:cxn>
                <a:cxn ang="0">
                  <a:pos x="25" y="43"/>
                </a:cxn>
                <a:cxn ang="0">
                  <a:pos x="60" y="39"/>
                </a:cxn>
                <a:cxn ang="0">
                  <a:pos x="82" y="39"/>
                </a:cxn>
                <a:cxn ang="0">
                  <a:pos x="104" y="39"/>
                </a:cxn>
                <a:cxn ang="0">
                  <a:pos x="139" y="27"/>
                </a:cxn>
                <a:cxn ang="0">
                  <a:pos x="137" y="5"/>
                </a:cxn>
              </a:cxnLst>
              <a:rect l="0" t="0" r="r" b="b"/>
              <a:pathLst>
                <a:path w="414" h="308">
                  <a:moveTo>
                    <a:pt x="137" y="5"/>
                  </a:moveTo>
                  <a:lnTo>
                    <a:pt x="142" y="5"/>
                  </a:lnTo>
                  <a:lnTo>
                    <a:pt x="146" y="5"/>
                  </a:lnTo>
                  <a:lnTo>
                    <a:pt x="149" y="5"/>
                  </a:lnTo>
                  <a:lnTo>
                    <a:pt x="151" y="5"/>
                  </a:lnTo>
                  <a:lnTo>
                    <a:pt x="154" y="5"/>
                  </a:lnTo>
                  <a:lnTo>
                    <a:pt x="156" y="5"/>
                  </a:lnTo>
                  <a:lnTo>
                    <a:pt x="158" y="5"/>
                  </a:lnTo>
                  <a:lnTo>
                    <a:pt x="161" y="5"/>
                  </a:lnTo>
                  <a:lnTo>
                    <a:pt x="168" y="5"/>
                  </a:lnTo>
                  <a:lnTo>
                    <a:pt x="173" y="5"/>
                  </a:lnTo>
                  <a:lnTo>
                    <a:pt x="177" y="5"/>
                  </a:lnTo>
                  <a:lnTo>
                    <a:pt x="180" y="5"/>
                  </a:lnTo>
                  <a:lnTo>
                    <a:pt x="187" y="3"/>
                  </a:lnTo>
                  <a:lnTo>
                    <a:pt x="192" y="3"/>
                  </a:lnTo>
                  <a:lnTo>
                    <a:pt x="196" y="3"/>
                  </a:lnTo>
                  <a:lnTo>
                    <a:pt x="197" y="3"/>
                  </a:lnTo>
                  <a:lnTo>
                    <a:pt x="199" y="3"/>
                  </a:lnTo>
                  <a:lnTo>
                    <a:pt x="201" y="3"/>
                  </a:lnTo>
                  <a:lnTo>
                    <a:pt x="202" y="3"/>
                  </a:lnTo>
                  <a:lnTo>
                    <a:pt x="206" y="3"/>
                  </a:lnTo>
                  <a:lnTo>
                    <a:pt x="206" y="3"/>
                  </a:lnTo>
                  <a:lnTo>
                    <a:pt x="208" y="3"/>
                  </a:lnTo>
                  <a:lnTo>
                    <a:pt x="211" y="3"/>
                  </a:lnTo>
                  <a:lnTo>
                    <a:pt x="220" y="3"/>
                  </a:lnTo>
                  <a:lnTo>
                    <a:pt x="223" y="3"/>
                  </a:lnTo>
                  <a:lnTo>
                    <a:pt x="232" y="3"/>
                  </a:lnTo>
                  <a:lnTo>
                    <a:pt x="233" y="3"/>
                  </a:lnTo>
                  <a:lnTo>
                    <a:pt x="240" y="3"/>
                  </a:lnTo>
                  <a:lnTo>
                    <a:pt x="242" y="3"/>
                  </a:lnTo>
                  <a:lnTo>
                    <a:pt x="245" y="3"/>
                  </a:lnTo>
                  <a:lnTo>
                    <a:pt x="256" y="3"/>
                  </a:lnTo>
                  <a:lnTo>
                    <a:pt x="263" y="3"/>
                  </a:lnTo>
                  <a:lnTo>
                    <a:pt x="264" y="3"/>
                  </a:lnTo>
                  <a:lnTo>
                    <a:pt x="266" y="3"/>
                  </a:lnTo>
                  <a:lnTo>
                    <a:pt x="275" y="2"/>
                  </a:lnTo>
                  <a:lnTo>
                    <a:pt x="278" y="2"/>
                  </a:lnTo>
                  <a:lnTo>
                    <a:pt x="285" y="2"/>
                  </a:lnTo>
                  <a:lnTo>
                    <a:pt x="287" y="2"/>
                  </a:lnTo>
                  <a:lnTo>
                    <a:pt x="290" y="2"/>
                  </a:lnTo>
                  <a:lnTo>
                    <a:pt x="295" y="2"/>
                  </a:lnTo>
                  <a:lnTo>
                    <a:pt x="301" y="2"/>
                  </a:lnTo>
                  <a:lnTo>
                    <a:pt x="302" y="2"/>
                  </a:lnTo>
                  <a:lnTo>
                    <a:pt x="304" y="2"/>
                  </a:lnTo>
                  <a:lnTo>
                    <a:pt x="307" y="0"/>
                  </a:lnTo>
                  <a:lnTo>
                    <a:pt x="309" y="0"/>
                  </a:lnTo>
                  <a:lnTo>
                    <a:pt x="313" y="0"/>
                  </a:lnTo>
                  <a:lnTo>
                    <a:pt x="318" y="0"/>
                  </a:lnTo>
                  <a:lnTo>
                    <a:pt x="323" y="0"/>
                  </a:lnTo>
                  <a:lnTo>
                    <a:pt x="325" y="0"/>
                  </a:lnTo>
                  <a:lnTo>
                    <a:pt x="330" y="0"/>
                  </a:lnTo>
                  <a:lnTo>
                    <a:pt x="338" y="0"/>
                  </a:lnTo>
                  <a:lnTo>
                    <a:pt x="340" y="0"/>
                  </a:lnTo>
                  <a:lnTo>
                    <a:pt x="342" y="0"/>
                  </a:lnTo>
                  <a:lnTo>
                    <a:pt x="342" y="5"/>
                  </a:lnTo>
                  <a:lnTo>
                    <a:pt x="342" y="14"/>
                  </a:lnTo>
                  <a:lnTo>
                    <a:pt x="342" y="15"/>
                  </a:lnTo>
                  <a:lnTo>
                    <a:pt x="342" y="20"/>
                  </a:lnTo>
                  <a:lnTo>
                    <a:pt x="342" y="24"/>
                  </a:lnTo>
                  <a:lnTo>
                    <a:pt x="342" y="27"/>
                  </a:lnTo>
                  <a:lnTo>
                    <a:pt x="342" y="45"/>
                  </a:lnTo>
                  <a:lnTo>
                    <a:pt x="342" y="46"/>
                  </a:lnTo>
                  <a:lnTo>
                    <a:pt x="342" y="51"/>
                  </a:lnTo>
                  <a:lnTo>
                    <a:pt x="342" y="53"/>
                  </a:lnTo>
                  <a:lnTo>
                    <a:pt x="342" y="55"/>
                  </a:lnTo>
                  <a:lnTo>
                    <a:pt x="342" y="60"/>
                  </a:lnTo>
                  <a:lnTo>
                    <a:pt x="342" y="62"/>
                  </a:lnTo>
                  <a:lnTo>
                    <a:pt x="342" y="65"/>
                  </a:lnTo>
                  <a:lnTo>
                    <a:pt x="342" y="72"/>
                  </a:lnTo>
                  <a:lnTo>
                    <a:pt x="342" y="81"/>
                  </a:lnTo>
                  <a:lnTo>
                    <a:pt x="342" y="88"/>
                  </a:lnTo>
                  <a:lnTo>
                    <a:pt x="342" y="89"/>
                  </a:lnTo>
                  <a:lnTo>
                    <a:pt x="342" y="96"/>
                  </a:lnTo>
                  <a:lnTo>
                    <a:pt x="342" y="98"/>
                  </a:lnTo>
                  <a:lnTo>
                    <a:pt x="342" y="100"/>
                  </a:lnTo>
                  <a:lnTo>
                    <a:pt x="342" y="108"/>
                  </a:lnTo>
                  <a:lnTo>
                    <a:pt x="342" y="112"/>
                  </a:lnTo>
                  <a:lnTo>
                    <a:pt x="342" y="113"/>
                  </a:lnTo>
                  <a:lnTo>
                    <a:pt x="344" y="131"/>
                  </a:lnTo>
                  <a:lnTo>
                    <a:pt x="344" y="134"/>
                  </a:lnTo>
                  <a:lnTo>
                    <a:pt x="344" y="136"/>
                  </a:lnTo>
                  <a:lnTo>
                    <a:pt x="344" y="144"/>
                  </a:lnTo>
                  <a:lnTo>
                    <a:pt x="344" y="146"/>
                  </a:lnTo>
                  <a:lnTo>
                    <a:pt x="342" y="150"/>
                  </a:lnTo>
                  <a:lnTo>
                    <a:pt x="342" y="153"/>
                  </a:lnTo>
                  <a:lnTo>
                    <a:pt x="342" y="155"/>
                  </a:lnTo>
                  <a:lnTo>
                    <a:pt x="342" y="162"/>
                  </a:lnTo>
                  <a:lnTo>
                    <a:pt x="344" y="165"/>
                  </a:lnTo>
                  <a:lnTo>
                    <a:pt x="344" y="167"/>
                  </a:lnTo>
                  <a:lnTo>
                    <a:pt x="344" y="170"/>
                  </a:lnTo>
                  <a:lnTo>
                    <a:pt x="344" y="175"/>
                  </a:lnTo>
                  <a:lnTo>
                    <a:pt x="345" y="175"/>
                  </a:lnTo>
                  <a:lnTo>
                    <a:pt x="350" y="175"/>
                  </a:lnTo>
                  <a:lnTo>
                    <a:pt x="356" y="175"/>
                  </a:lnTo>
                  <a:lnTo>
                    <a:pt x="357" y="175"/>
                  </a:lnTo>
                  <a:lnTo>
                    <a:pt x="362" y="175"/>
                  </a:lnTo>
                  <a:lnTo>
                    <a:pt x="366" y="175"/>
                  </a:lnTo>
                  <a:lnTo>
                    <a:pt x="374" y="175"/>
                  </a:lnTo>
                  <a:lnTo>
                    <a:pt x="376" y="175"/>
                  </a:lnTo>
                  <a:lnTo>
                    <a:pt x="380" y="175"/>
                  </a:lnTo>
                  <a:lnTo>
                    <a:pt x="388" y="175"/>
                  </a:lnTo>
                  <a:lnTo>
                    <a:pt x="392" y="175"/>
                  </a:lnTo>
                  <a:lnTo>
                    <a:pt x="393" y="175"/>
                  </a:lnTo>
                  <a:lnTo>
                    <a:pt x="395" y="175"/>
                  </a:lnTo>
                  <a:lnTo>
                    <a:pt x="402" y="175"/>
                  </a:lnTo>
                  <a:lnTo>
                    <a:pt x="404" y="175"/>
                  </a:lnTo>
                  <a:lnTo>
                    <a:pt x="407" y="175"/>
                  </a:lnTo>
                  <a:lnTo>
                    <a:pt x="409" y="175"/>
                  </a:lnTo>
                  <a:lnTo>
                    <a:pt x="414" y="175"/>
                  </a:lnTo>
                  <a:lnTo>
                    <a:pt x="414" y="175"/>
                  </a:lnTo>
                  <a:lnTo>
                    <a:pt x="414" y="177"/>
                  </a:lnTo>
                  <a:lnTo>
                    <a:pt x="414" y="179"/>
                  </a:lnTo>
                  <a:lnTo>
                    <a:pt x="414" y="180"/>
                  </a:lnTo>
                  <a:lnTo>
                    <a:pt x="414" y="187"/>
                  </a:lnTo>
                  <a:lnTo>
                    <a:pt x="414" y="191"/>
                  </a:lnTo>
                  <a:lnTo>
                    <a:pt x="414" y="191"/>
                  </a:lnTo>
                  <a:lnTo>
                    <a:pt x="414" y="198"/>
                  </a:lnTo>
                  <a:lnTo>
                    <a:pt x="414" y="201"/>
                  </a:lnTo>
                  <a:lnTo>
                    <a:pt x="414" y="203"/>
                  </a:lnTo>
                  <a:lnTo>
                    <a:pt x="414" y="205"/>
                  </a:lnTo>
                  <a:lnTo>
                    <a:pt x="414" y="206"/>
                  </a:lnTo>
                  <a:lnTo>
                    <a:pt x="414" y="206"/>
                  </a:lnTo>
                  <a:lnTo>
                    <a:pt x="414" y="208"/>
                  </a:lnTo>
                  <a:lnTo>
                    <a:pt x="411" y="208"/>
                  </a:lnTo>
                  <a:lnTo>
                    <a:pt x="404" y="208"/>
                  </a:lnTo>
                  <a:lnTo>
                    <a:pt x="402" y="208"/>
                  </a:lnTo>
                  <a:lnTo>
                    <a:pt x="393" y="208"/>
                  </a:lnTo>
                  <a:lnTo>
                    <a:pt x="392" y="210"/>
                  </a:lnTo>
                  <a:lnTo>
                    <a:pt x="390" y="210"/>
                  </a:lnTo>
                  <a:lnTo>
                    <a:pt x="390" y="211"/>
                  </a:lnTo>
                  <a:lnTo>
                    <a:pt x="390" y="213"/>
                  </a:lnTo>
                  <a:lnTo>
                    <a:pt x="390" y="217"/>
                  </a:lnTo>
                  <a:lnTo>
                    <a:pt x="390" y="223"/>
                  </a:lnTo>
                  <a:lnTo>
                    <a:pt x="390" y="225"/>
                  </a:lnTo>
                  <a:lnTo>
                    <a:pt x="390" y="230"/>
                  </a:lnTo>
                  <a:lnTo>
                    <a:pt x="390" y="234"/>
                  </a:lnTo>
                  <a:lnTo>
                    <a:pt x="390" y="236"/>
                  </a:lnTo>
                  <a:lnTo>
                    <a:pt x="380" y="236"/>
                  </a:lnTo>
                  <a:lnTo>
                    <a:pt x="380" y="241"/>
                  </a:lnTo>
                  <a:lnTo>
                    <a:pt x="380" y="242"/>
                  </a:lnTo>
                  <a:lnTo>
                    <a:pt x="380" y="244"/>
                  </a:lnTo>
                  <a:lnTo>
                    <a:pt x="380" y="248"/>
                  </a:lnTo>
                  <a:lnTo>
                    <a:pt x="369" y="248"/>
                  </a:lnTo>
                  <a:lnTo>
                    <a:pt x="369" y="253"/>
                  </a:lnTo>
                  <a:lnTo>
                    <a:pt x="369" y="254"/>
                  </a:lnTo>
                  <a:lnTo>
                    <a:pt x="369" y="258"/>
                  </a:lnTo>
                  <a:lnTo>
                    <a:pt x="357" y="258"/>
                  </a:lnTo>
                  <a:lnTo>
                    <a:pt x="357" y="268"/>
                  </a:lnTo>
                  <a:lnTo>
                    <a:pt x="357" y="268"/>
                  </a:lnTo>
                  <a:lnTo>
                    <a:pt x="352" y="270"/>
                  </a:lnTo>
                  <a:lnTo>
                    <a:pt x="350" y="270"/>
                  </a:lnTo>
                  <a:lnTo>
                    <a:pt x="349" y="270"/>
                  </a:lnTo>
                  <a:lnTo>
                    <a:pt x="345" y="270"/>
                  </a:lnTo>
                  <a:lnTo>
                    <a:pt x="345" y="277"/>
                  </a:lnTo>
                  <a:lnTo>
                    <a:pt x="345" y="280"/>
                  </a:lnTo>
                  <a:lnTo>
                    <a:pt x="347" y="282"/>
                  </a:lnTo>
                  <a:lnTo>
                    <a:pt x="347" y="291"/>
                  </a:lnTo>
                  <a:lnTo>
                    <a:pt x="347" y="292"/>
                  </a:lnTo>
                  <a:lnTo>
                    <a:pt x="335" y="292"/>
                  </a:lnTo>
                  <a:lnTo>
                    <a:pt x="335" y="294"/>
                  </a:lnTo>
                  <a:lnTo>
                    <a:pt x="335" y="296"/>
                  </a:lnTo>
                  <a:lnTo>
                    <a:pt x="335" y="296"/>
                  </a:lnTo>
                  <a:lnTo>
                    <a:pt x="337" y="303"/>
                  </a:lnTo>
                  <a:lnTo>
                    <a:pt x="335" y="303"/>
                  </a:lnTo>
                  <a:lnTo>
                    <a:pt x="331" y="303"/>
                  </a:lnTo>
                  <a:lnTo>
                    <a:pt x="330" y="303"/>
                  </a:lnTo>
                  <a:lnTo>
                    <a:pt x="326" y="303"/>
                  </a:lnTo>
                  <a:lnTo>
                    <a:pt x="323" y="303"/>
                  </a:lnTo>
                  <a:lnTo>
                    <a:pt x="321" y="303"/>
                  </a:lnTo>
                  <a:lnTo>
                    <a:pt x="319" y="303"/>
                  </a:lnTo>
                  <a:lnTo>
                    <a:pt x="313" y="303"/>
                  </a:lnTo>
                  <a:lnTo>
                    <a:pt x="309" y="303"/>
                  </a:lnTo>
                  <a:lnTo>
                    <a:pt x="307" y="303"/>
                  </a:lnTo>
                  <a:lnTo>
                    <a:pt x="306" y="303"/>
                  </a:lnTo>
                  <a:lnTo>
                    <a:pt x="304" y="303"/>
                  </a:lnTo>
                  <a:lnTo>
                    <a:pt x="302" y="303"/>
                  </a:lnTo>
                  <a:lnTo>
                    <a:pt x="301" y="303"/>
                  </a:lnTo>
                  <a:lnTo>
                    <a:pt x="294" y="303"/>
                  </a:lnTo>
                  <a:lnTo>
                    <a:pt x="292" y="303"/>
                  </a:lnTo>
                  <a:lnTo>
                    <a:pt x="288" y="301"/>
                  </a:lnTo>
                  <a:lnTo>
                    <a:pt x="287" y="301"/>
                  </a:lnTo>
                  <a:lnTo>
                    <a:pt x="285" y="301"/>
                  </a:lnTo>
                  <a:lnTo>
                    <a:pt x="283" y="301"/>
                  </a:lnTo>
                  <a:lnTo>
                    <a:pt x="282" y="301"/>
                  </a:lnTo>
                  <a:lnTo>
                    <a:pt x="282" y="301"/>
                  </a:lnTo>
                  <a:lnTo>
                    <a:pt x="280" y="301"/>
                  </a:lnTo>
                  <a:lnTo>
                    <a:pt x="278" y="301"/>
                  </a:lnTo>
                  <a:lnTo>
                    <a:pt x="276" y="301"/>
                  </a:lnTo>
                  <a:lnTo>
                    <a:pt x="268" y="301"/>
                  </a:lnTo>
                  <a:lnTo>
                    <a:pt x="266" y="301"/>
                  </a:lnTo>
                  <a:lnTo>
                    <a:pt x="266" y="301"/>
                  </a:lnTo>
                  <a:lnTo>
                    <a:pt x="263" y="301"/>
                  </a:lnTo>
                  <a:lnTo>
                    <a:pt x="252" y="303"/>
                  </a:lnTo>
                  <a:lnTo>
                    <a:pt x="252" y="303"/>
                  </a:lnTo>
                  <a:lnTo>
                    <a:pt x="245" y="303"/>
                  </a:lnTo>
                  <a:lnTo>
                    <a:pt x="244" y="303"/>
                  </a:lnTo>
                  <a:lnTo>
                    <a:pt x="235" y="303"/>
                  </a:lnTo>
                  <a:lnTo>
                    <a:pt x="228" y="303"/>
                  </a:lnTo>
                  <a:lnTo>
                    <a:pt x="223" y="303"/>
                  </a:lnTo>
                  <a:lnTo>
                    <a:pt x="221" y="303"/>
                  </a:lnTo>
                  <a:lnTo>
                    <a:pt x="211" y="303"/>
                  </a:lnTo>
                  <a:lnTo>
                    <a:pt x="209" y="303"/>
                  </a:lnTo>
                  <a:lnTo>
                    <a:pt x="208" y="303"/>
                  </a:lnTo>
                  <a:lnTo>
                    <a:pt x="206" y="303"/>
                  </a:lnTo>
                  <a:lnTo>
                    <a:pt x="202" y="303"/>
                  </a:lnTo>
                  <a:lnTo>
                    <a:pt x="201" y="303"/>
                  </a:lnTo>
                  <a:lnTo>
                    <a:pt x="192" y="304"/>
                  </a:lnTo>
                  <a:lnTo>
                    <a:pt x="189" y="304"/>
                  </a:lnTo>
                  <a:lnTo>
                    <a:pt x="184" y="304"/>
                  </a:lnTo>
                  <a:lnTo>
                    <a:pt x="180" y="303"/>
                  </a:lnTo>
                  <a:lnTo>
                    <a:pt x="177" y="304"/>
                  </a:lnTo>
                  <a:lnTo>
                    <a:pt x="177" y="304"/>
                  </a:lnTo>
                  <a:lnTo>
                    <a:pt x="175" y="304"/>
                  </a:lnTo>
                  <a:lnTo>
                    <a:pt x="173" y="304"/>
                  </a:lnTo>
                  <a:lnTo>
                    <a:pt x="170" y="304"/>
                  </a:lnTo>
                  <a:lnTo>
                    <a:pt x="168" y="304"/>
                  </a:lnTo>
                  <a:lnTo>
                    <a:pt x="166" y="304"/>
                  </a:lnTo>
                  <a:lnTo>
                    <a:pt x="165" y="304"/>
                  </a:lnTo>
                  <a:lnTo>
                    <a:pt x="163" y="304"/>
                  </a:lnTo>
                  <a:lnTo>
                    <a:pt x="161" y="304"/>
                  </a:lnTo>
                  <a:lnTo>
                    <a:pt x="161" y="304"/>
                  </a:lnTo>
                  <a:lnTo>
                    <a:pt x="154" y="304"/>
                  </a:lnTo>
                  <a:lnTo>
                    <a:pt x="144" y="304"/>
                  </a:lnTo>
                  <a:lnTo>
                    <a:pt x="139" y="304"/>
                  </a:lnTo>
                  <a:lnTo>
                    <a:pt x="134" y="304"/>
                  </a:lnTo>
                  <a:lnTo>
                    <a:pt x="132" y="304"/>
                  </a:lnTo>
                  <a:lnTo>
                    <a:pt x="125" y="306"/>
                  </a:lnTo>
                  <a:lnTo>
                    <a:pt x="122" y="306"/>
                  </a:lnTo>
                  <a:lnTo>
                    <a:pt x="111" y="306"/>
                  </a:lnTo>
                  <a:lnTo>
                    <a:pt x="108" y="306"/>
                  </a:lnTo>
                  <a:lnTo>
                    <a:pt x="103" y="306"/>
                  </a:lnTo>
                  <a:lnTo>
                    <a:pt x="99" y="306"/>
                  </a:lnTo>
                  <a:lnTo>
                    <a:pt x="96" y="306"/>
                  </a:lnTo>
                  <a:lnTo>
                    <a:pt x="91" y="306"/>
                  </a:lnTo>
                  <a:lnTo>
                    <a:pt x="89" y="306"/>
                  </a:lnTo>
                  <a:lnTo>
                    <a:pt x="86" y="306"/>
                  </a:lnTo>
                  <a:lnTo>
                    <a:pt x="84" y="306"/>
                  </a:lnTo>
                  <a:lnTo>
                    <a:pt x="82" y="306"/>
                  </a:lnTo>
                  <a:lnTo>
                    <a:pt x="79" y="306"/>
                  </a:lnTo>
                  <a:lnTo>
                    <a:pt x="70" y="306"/>
                  </a:lnTo>
                  <a:lnTo>
                    <a:pt x="68" y="306"/>
                  </a:lnTo>
                  <a:lnTo>
                    <a:pt x="67" y="306"/>
                  </a:lnTo>
                  <a:lnTo>
                    <a:pt x="67" y="308"/>
                  </a:lnTo>
                  <a:lnTo>
                    <a:pt x="67" y="306"/>
                  </a:lnTo>
                  <a:lnTo>
                    <a:pt x="65" y="306"/>
                  </a:lnTo>
                  <a:lnTo>
                    <a:pt x="63" y="306"/>
                  </a:lnTo>
                  <a:lnTo>
                    <a:pt x="56" y="306"/>
                  </a:lnTo>
                  <a:lnTo>
                    <a:pt x="56" y="303"/>
                  </a:lnTo>
                  <a:lnTo>
                    <a:pt x="56" y="299"/>
                  </a:lnTo>
                  <a:lnTo>
                    <a:pt x="56" y="297"/>
                  </a:lnTo>
                  <a:lnTo>
                    <a:pt x="56" y="296"/>
                  </a:lnTo>
                  <a:lnTo>
                    <a:pt x="56" y="292"/>
                  </a:lnTo>
                  <a:lnTo>
                    <a:pt x="56" y="287"/>
                  </a:lnTo>
                  <a:lnTo>
                    <a:pt x="56" y="284"/>
                  </a:lnTo>
                  <a:lnTo>
                    <a:pt x="56" y="280"/>
                  </a:lnTo>
                  <a:lnTo>
                    <a:pt x="56" y="273"/>
                  </a:lnTo>
                  <a:lnTo>
                    <a:pt x="49" y="273"/>
                  </a:lnTo>
                  <a:lnTo>
                    <a:pt x="48" y="273"/>
                  </a:lnTo>
                  <a:lnTo>
                    <a:pt x="46" y="273"/>
                  </a:lnTo>
                  <a:lnTo>
                    <a:pt x="44" y="273"/>
                  </a:lnTo>
                  <a:lnTo>
                    <a:pt x="43" y="268"/>
                  </a:lnTo>
                  <a:lnTo>
                    <a:pt x="43" y="261"/>
                  </a:lnTo>
                  <a:lnTo>
                    <a:pt x="43" y="258"/>
                  </a:lnTo>
                  <a:lnTo>
                    <a:pt x="43" y="256"/>
                  </a:lnTo>
                  <a:lnTo>
                    <a:pt x="43" y="253"/>
                  </a:lnTo>
                  <a:lnTo>
                    <a:pt x="43" y="251"/>
                  </a:lnTo>
                  <a:lnTo>
                    <a:pt x="43" y="251"/>
                  </a:lnTo>
                  <a:lnTo>
                    <a:pt x="39" y="251"/>
                  </a:lnTo>
                  <a:lnTo>
                    <a:pt x="32" y="251"/>
                  </a:lnTo>
                  <a:lnTo>
                    <a:pt x="32" y="242"/>
                  </a:lnTo>
                  <a:lnTo>
                    <a:pt x="32" y="239"/>
                  </a:lnTo>
                  <a:lnTo>
                    <a:pt x="32" y="225"/>
                  </a:lnTo>
                  <a:lnTo>
                    <a:pt x="32" y="220"/>
                  </a:lnTo>
                  <a:lnTo>
                    <a:pt x="32" y="218"/>
                  </a:lnTo>
                  <a:lnTo>
                    <a:pt x="32" y="213"/>
                  </a:lnTo>
                  <a:lnTo>
                    <a:pt x="27" y="213"/>
                  </a:lnTo>
                  <a:lnTo>
                    <a:pt x="24" y="213"/>
                  </a:lnTo>
                  <a:lnTo>
                    <a:pt x="22" y="213"/>
                  </a:lnTo>
                  <a:lnTo>
                    <a:pt x="20" y="213"/>
                  </a:lnTo>
                  <a:lnTo>
                    <a:pt x="17" y="213"/>
                  </a:lnTo>
                  <a:lnTo>
                    <a:pt x="10" y="213"/>
                  </a:lnTo>
                  <a:lnTo>
                    <a:pt x="10" y="213"/>
                  </a:lnTo>
                  <a:lnTo>
                    <a:pt x="1" y="213"/>
                  </a:lnTo>
                  <a:lnTo>
                    <a:pt x="1" y="210"/>
                  </a:lnTo>
                  <a:lnTo>
                    <a:pt x="1" y="194"/>
                  </a:lnTo>
                  <a:lnTo>
                    <a:pt x="1" y="193"/>
                  </a:lnTo>
                  <a:lnTo>
                    <a:pt x="1" y="187"/>
                  </a:lnTo>
                  <a:lnTo>
                    <a:pt x="1" y="186"/>
                  </a:lnTo>
                  <a:lnTo>
                    <a:pt x="1" y="177"/>
                  </a:lnTo>
                  <a:lnTo>
                    <a:pt x="1" y="168"/>
                  </a:lnTo>
                  <a:lnTo>
                    <a:pt x="1" y="160"/>
                  </a:lnTo>
                  <a:lnTo>
                    <a:pt x="1" y="158"/>
                  </a:lnTo>
                  <a:lnTo>
                    <a:pt x="0" y="156"/>
                  </a:lnTo>
                  <a:lnTo>
                    <a:pt x="0" y="155"/>
                  </a:lnTo>
                  <a:lnTo>
                    <a:pt x="0" y="153"/>
                  </a:lnTo>
                  <a:lnTo>
                    <a:pt x="0" y="151"/>
                  </a:lnTo>
                  <a:lnTo>
                    <a:pt x="0" y="146"/>
                  </a:lnTo>
                  <a:lnTo>
                    <a:pt x="0" y="146"/>
                  </a:lnTo>
                  <a:lnTo>
                    <a:pt x="1" y="146"/>
                  </a:lnTo>
                  <a:lnTo>
                    <a:pt x="6" y="146"/>
                  </a:lnTo>
                  <a:lnTo>
                    <a:pt x="8" y="146"/>
                  </a:lnTo>
                  <a:lnTo>
                    <a:pt x="10" y="146"/>
                  </a:lnTo>
                  <a:lnTo>
                    <a:pt x="13" y="146"/>
                  </a:lnTo>
                  <a:lnTo>
                    <a:pt x="13" y="141"/>
                  </a:lnTo>
                  <a:lnTo>
                    <a:pt x="13" y="136"/>
                  </a:lnTo>
                  <a:lnTo>
                    <a:pt x="13" y="131"/>
                  </a:lnTo>
                  <a:lnTo>
                    <a:pt x="13" y="131"/>
                  </a:lnTo>
                  <a:lnTo>
                    <a:pt x="13" y="124"/>
                  </a:lnTo>
                  <a:lnTo>
                    <a:pt x="18" y="124"/>
                  </a:lnTo>
                  <a:lnTo>
                    <a:pt x="22" y="124"/>
                  </a:lnTo>
                  <a:lnTo>
                    <a:pt x="24" y="124"/>
                  </a:lnTo>
                  <a:lnTo>
                    <a:pt x="25" y="124"/>
                  </a:lnTo>
                  <a:lnTo>
                    <a:pt x="25" y="120"/>
                  </a:lnTo>
                  <a:lnTo>
                    <a:pt x="25" y="115"/>
                  </a:lnTo>
                  <a:lnTo>
                    <a:pt x="25" y="112"/>
                  </a:lnTo>
                  <a:lnTo>
                    <a:pt x="25" y="110"/>
                  </a:lnTo>
                  <a:lnTo>
                    <a:pt x="25" y="107"/>
                  </a:lnTo>
                  <a:lnTo>
                    <a:pt x="25" y="101"/>
                  </a:lnTo>
                  <a:lnTo>
                    <a:pt x="25" y="89"/>
                  </a:lnTo>
                  <a:lnTo>
                    <a:pt x="25" y="76"/>
                  </a:lnTo>
                  <a:lnTo>
                    <a:pt x="25" y="76"/>
                  </a:lnTo>
                  <a:lnTo>
                    <a:pt x="25" y="72"/>
                  </a:lnTo>
                  <a:lnTo>
                    <a:pt x="25" y="67"/>
                  </a:lnTo>
                  <a:lnTo>
                    <a:pt x="25" y="63"/>
                  </a:lnTo>
                  <a:lnTo>
                    <a:pt x="25" y="58"/>
                  </a:lnTo>
                  <a:lnTo>
                    <a:pt x="25" y="57"/>
                  </a:lnTo>
                  <a:lnTo>
                    <a:pt x="25" y="55"/>
                  </a:lnTo>
                  <a:lnTo>
                    <a:pt x="25" y="53"/>
                  </a:lnTo>
                  <a:lnTo>
                    <a:pt x="25" y="50"/>
                  </a:lnTo>
                  <a:lnTo>
                    <a:pt x="25" y="43"/>
                  </a:lnTo>
                  <a:lnTo>
                    <a:pt x="36" y="41"/>
                  </a:lnTo>
                  <a:lnTo>
                    <a:pt x="37" y="41"/>
                  </a:lnTo>
                  <a:lnTo>
                    <a:pt x="43" y="41"/>
                  </a:lnTo>
                  <a:lnTo>
                    <a:pt x="46" y="41"/>
                  </a:lnTo>
                  <a:lnTo>
                    <a:pt x="55" y="39"/>
                  </a:lnTo>
                  <a:lnTo>
                    <a:pt x="60" y="39"/>
                  </a:lnTo>
                  <a:lnTo>
                    <a:pt x="67" y="39"/>
                  </a:lnTo>
                  <a:lnTo>
                    <a:pt x="70" y="39"/>
                  </a:lnTo>
                  <a:lnTo>
                    <a:pt x="70" y="39"/>
                  </a:lnTo>
                  <a:lnTo>
                    <a:pt x="72" y="39"/>
                  </a:lnTo>
                  <a:lnTo>
                    <a:pt x="79" y="39"/>
                  </a:lnTo>
                  <a:lnTo>
                    <a:pt x="82" y="39"/>
                  </a:lnTo>
                  <a:lnTo>
                    <a:pt x="86" y="39"/>
                  </a:lnTo>
                  <a:lnTo>
                    <a:pt x="87" y="39"/>
                  </a:lnTo>
                  <a:lnTo>
                    <a:pt x="89" y="39"/>
                  </a:lnTo>
                  <a:lnTo>
                    <a:pt x="92" y="39"/>
                  </a:lnTo>
                  <a:lnTo>
                    <a:pt x="96" y="39"/>
                  </a:lnTo>
                  <a:lnTo>
                    <a:pt x="104" y="39"/>
                  </a:lnTo>
                  <a:lnTo>
                    <a:pt x="110" y="39"/>
                  </a:lnTo>
                  <a:lnTo>
                    <a:pt x="116" y="39"/>
                  </a:lnTo>
                  <a:lnTo>
                    <a:pt x="127" y="39"/>
                  </a:lnTo>
                  <a:lnTo>
                    <a:pt x="132" y="39"/>
                  </a:lnTo>
                  <a:lnTo>
                    <a:pt x="139" y="39"/>
                  </a:lnTo>
                  <a:lnTo>
                    <a:pt x="139" y="27"/>
                  </a:lnTo>
                  <a:lnTo>
                    <a:pt x="139" y="26"/>
                  </a:lnTo>
                  <a:lnTo>
                    <a:pt x="139" y="22"/>
                  </a:lnTo>
                  <a:lnTo>
                    <a:pt x="137" y="10"/>
                  </a:lnTo>
                  <a:lnTo>
                    <a:pt x="137" y="10"/>
                  </a:lnTo>
                  <a:lnTo>
                    <a:pt x="137" y="8"/>
                  </a:lnTo>
                  <a:lnTo>
                    <a:pt x="137" y="5"/>
                  </a:lnTo>
                  <a:lnTo>
                    <a:pt x="137" y="5"/>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4" name="Freeform 230"/>
            <p:cNvSpPr>
              <a:spLocks/>
            </p:cNvSpPr>
            <p:nvPr/>
          </p:nvSpPr>
          <p:spPr bwMode="auto">
            <a:xfrm>
              <a:off x="8273346" y="4919456"/>
              <a:ext cx="463550" cy="487363"/>
            </a:xfrm>
            <a:custGeom>
              <a:avLst/>
              <a:gdLst/>
              <a:ahLst/>
              <a:cxnLst>
                <a:cxn ang="0">
                  <a:pos x="189" y="0"/>
                </a:cxn>
                <a:cxn ang="0">
                  <a:pos x="196" y="8"/>
                </a:cxn>
                <a:cxn ang="0">
                  <a:pos x="192" y="27"/>
                </a:cxn>
                <a:cxn ang="0">
                  <a:pos x="204" y="60"/>
                </a:cxn>
                <a:cxn ang="0">
                  <a:pos x="230" y="99"/>
                </a:cxn>
                <a:cxn ang="0">
                  <a:pos x="240" y="110"/>
                </a:cxn>
                <a:cxn ang="0">
                  <a:pos x="249" y="117"/>
                </a:cxn>
                <a:cxn ang="0">
                  <a:pos x="252" y="129"/>
                </a:cxn>
                <a:cxn ang="0">
                  <a:pos x="249" y="142"/>
                </a:cxn>
                <a:cxn ang="0">
                  <a:pos x="247" y="158"/>
                </a:cxn>
                <a:cxn ang="0">
                  <a:pos x="261" y="168"/>
                </a:cxn>
                <a:cxn ang="0">
                  <a:pos x="287" y="184"/>
                </a:cxn>
                <a:cxn ang="0">
                  <a:pos x="256" y="196"/>
                </a:cxn>
                <a:cxn ang="0">
                  <a:pos x="256" y="218"/>
                </a:cxn>
                <a:cxn ang="0">
                  <a:pos x="223" y="244"/>
                </a:cxn>
                <a:cxn ang="0">
                  <a:pos x="201" y="263"/>
                </a:cxn>
                <a:cxn ang="0">
                  <a:pos x="180" y="273"/>
                </a:cxn>
                <a:cxn ang="0">
                  <a:pos x="172" y="290"/>
                </a:cxn>
                <a:cxn ang="0">
                  <a:pos x="161" y="295"/>
                </a:cxn>
                <a:cxn ang="0">
                  <a:pos x="142" y="295"/>
                </a:cxn>
                <a:cxn ang="0">
                  <a:pos x="127" y="297"/>
                </a:cxn>
                <a:cxn ang="0">
                  <a:pos x="117" y="302"/>
                </a:cxn>
                <a:cxn ang="0">
                  <a:pos x="99" y="306"/>
                </a:cxn>
                <a:cxn ang="0">
                  <a:pos x="61" y="307"/>
                </a:cxn>
                <a:cxn ang="0">
                  <a:pos x="61" y="299"/>
                </a:cxn>
                <a:cxn ang="0">
                  <a:pos x="61" y="292"/>
                </a:cxn>
                <a:cxn ang="0">
                  <a:pos x="65" y="285"/>
                </a:cxn>
                <a:cxn ang="0">
                  <a:pos x="61" y="277"/>
                </a:cxn>
                <a:cxn ang="0">
                  <a:pos x="61" y="266"/>
                </a:cxn>
                <a:cxn ang="0">
                  <a:pos x="63" y="261"/>
                </a:cxn>
                <a:cxn ang="0">
                  <a:pos x="63" y="254"/>
                </a:cxn>
                <a:cxn ang="0">
                  <a:pos x="60" y="247"/>
                </a:cxn>
                <a:cxn ang="0">
                  <a:pos x="55" y="242"/>
                </a:cxn>
                <a:cxn ang="0">
                  <a:pos x="46" y="235"/>
                </a:cxn>
                <a:cxn ang="0">
                  <a:pos x="44" y="225"/>
                </a:cxn>
                <a:cxn ang="0">
                  <a:pos x="41" y="218"/>
                </a:cxn>
                <a:cxn ang="0">
                  <a:pos x="43" y="213"/>
                </a:cxn>
                <a:cxn ang="0">
                  <a:pos x="37" y="203"/>
                </a:cxn>
                <a:cxn ang="0">
                  <a:pos x="31" y="190"/>
                </a:cxn>
                <a:cxn ang="0">
                  <a:pos x="27" y="185"/>
                </a:cxn>
                <a:cxn ang="0">
                  <a:pos x="20" y="178"/>
                </a:cxn>
                <a:cxn ang="0">
                  <a:pos x="18" y="173"/>
                </a:cxn>
                <a:cxn ang="0">
                  <a:pos x="17" y="163"/>
                </a:cxn>
                <a:cxn ang="0">
                  <a:pos x="12" y="161"/>
                </a:cxn>
                <a:cxn ang="0">
                  <a:pos x="6" y="153"/>
                </a:cxn>
                <a:cxn ang="0">
                  <a:pos x="0" y="139"/>
                </a:cxn>
                <a:cxn ang="0">
                  <a:pos x="3" y="127"/>
                </a:cxn>
                <a:cxn ang="0">
                  <a:pos x="6" y="115"/>
                </a:cxn>
                <a:cxn ang="0">
                  <a:pos x="12" y="106"/>
                </a:cxn>
                <a:cxn ang="0">
                  <a:pos x="15" y="92"/>
                </a:cxn>
                <a:cxn ang="0">
                  <a:pos x="48" y="80"/>
                </a:cxn>
                <a:cxn ang="0">
                  <a:pos x="58" y="46"/>
                </a:cxn>
                <a:cxn ang="0">
                  <a:pos x="86" y="30"/>
                </a:cxn>
                <a:cxn ang="0">
                  <a:pos x="120" y="12"/>
                </a:cxn>
                <a:cxn ang="0">
                  <a:pos x="139" y="12"/>
                </a:cxn>
                <a:cxn ang="0">
                  <a:pos x="156" y="6"/>
                </a:cxn>
                <a:cxn ang="0">
                  <a:pos x="165" y="6"/>
                </a:cxn>
                <a:cxn ang="0">
                  <a:pos x="177" y="5"/>
                </a:cxn>
              </a:cxnLst>
              <a:rect l="0" t="0" r="r" b="b"/>
              <a:pathLst>
                <a:path w="292" h="307">
                  <a:moveTo>
                    <a:pt x="177" y="1"/>
                  </a:moveTo>
                  <a:lnTo>
                    <a:pt x="178" y="1"/>
                  </a:lnTo>
                  <a:lnTo>
                    <a:pt x="180" y="1"/>
                  </a:lnTo>
                  <a:lnTo>
                    <a:pt x="180" y="1"/>
                  </a:lnTo>
                  <a:lnTo>
                    <a:pt x="182" y="0"/>
                  </a:lnTo>
                  <a:lnTo>
                    <a:pt x="184" y="0"/>
                  </a:lnTo>
                  <a:lnTo>
                    <a:pt x="185" y="0"/>
                  </a:lnTo>
                  <a:lnTo>
                    <a:pt x="187" y="0"/>
                  </a:lnTo>
                  <a:lnTo>
                    <a:pt x="189" y="0"/>
                  </a:lnTo>
                  <a:lnTo>
                    <a:pt x="190" y="0"/>
                  </a:lnTo>
                  <a:lnTo>
                    <a:pt x="192" y="1"/>
                  </a:lnTo>
                  <a:lnTo>
                    <a:pt x="194" y="1"/>
                  </a:lnTo>
                  <a:lnTo>
                    <a:pt x="196" y="1"/>
                  </a:lnTo>
                  <a:lnTo>
                    <a:pt x="196" y="3"/>
                  </a:lnTo>
                  <a:lnTo>
                    <a:pt x="196" y="5"/>
                  </a:lnTo>
                  <a:lnTo>
                    <a:pt x="196" y="6"/>
                  </a:lnTo>
                  <a:lnTo>
                    <a:pt x="196" y="6"/>
                  </a:lnTo>
                  <a:lnTo>
                    <a:pt x="196" y="8"/>
                  </a:lnTo>
                  <a:lnTo>
                    <a:pt x="196" y="12"/>
                  </a:lnTo>
                  <a:lnTo>
                    <a:pt x="194" y="15"/>
                  </a:lnTo>
                  <a:lnTo>
                    <a:pt x="194" y="17"/>
                  </a:lnTo>
                  <a:lnTo>
                    <a:pt x="192" y="20"/>
                  </a:lnTo>
                  <a:lnTo>
                    <a:pt x="192" y="22"/>
                  </a:lnTo>
                  <a:lnTo>
                    <a:pt x="192" y="22"/>
                  </a:lnTo>
                  <a:lnTo>
                    <a:pt x="190" y="24"/>
                  </a:lnTo>
                  <a:lnTo>
                    <a:pt x="190" y="25"/>
                  </a:lnTo>
                  <a:lnTo>
                    <a:pt x="192" y="27"/>
                  </a:lnTo>
                  <a:lnTo>
                    <a:pt x="196" y="37"/>
                  </a:lnTo>
                  <a:lnTo>
                    <a:pt x="196" y="41"/>
                  </a:lnTo>
                  <a:lnTo>
                    <a:pt x="197" y="48"/>
                  </a:lnTo>
                  <a:lnTo>
                    <a:pt x="199" y="49"/>
                  </a:lnTo>
                  <a:lnTo>
                    <a:pt x="199" y="51"/>
                  </a:lnTo>
                  <a:lnTo>
                    <a:pt x="199" y="53"/>
                  </a:lnTo>
                  <a:lnTo>
                    <a:pt x="201" y="53"/>
                  </a:lnTo>
                  <a:lnTo>
                    <a:pt x="204" y="58"/>
                  </a:lnTo>
                  <a:lnTo>
                    <a:pt x="204" y="60"/>
                  </a:lnTo>
                  <a:lnTo>
                    <a:pt x="206" y="63"/>
                  </a:lnTo>
                  <a:lnTo>
                    <a:pt x="211" y="68"/>
                  </a:lnTo>
                  <a:lnTo>
                    <a:pt x="213" y="77"/>
                  </a:lnTo>
                  <a:lnTo>
                    <a:pt x="220" y="87"/>
                  </a:lnTo>
                  <a:lnTo>
                    <a:pt x="227" y="98"/>
                  </a:lnTo>
                  <a:lnTo>
                    <a:pt x="227" y="98"/>
                  </a:lnTo>
                  <a:lnTo>
                    <a:pt x="227" y="98"/>
                  </a:lnTo>
                  <a:lnTo>
                    <a:pt x="228" y="99"/>
                  </a:lnTo>
                  <a:lnTo>
                    <a:pt x="230" y="99"/>
                  </a:lnTo>
                  <a:lnTo>
                    <a:pt x="230" y="101"/>
                  </a:lnTo>
                  <a:lnTo>
                    <a:pt x="232" y="101"/>
                  </a:lnTo>
                  <a:lnTo>
                    <a:pt x="233" y="103"/>
                  </a:lnTo>
                  <a:lnTo>
                    <a:pt x="235" y="104"/>
                  </a:lnTo>
                  <a:lnTo>
                    <a:pt x="237" y="106"/>
                  </a:lnTo>
                  <a:lnTo>
                    <a:pt x="239" y="106"/>
                  </a:lnTo>
                  <a:lnTo>
                    <a:pt x="240" y="108"/>
                  </a:lnTo>
                  <a:lnTo>
                    <a:pt x="240" y="108"/>
                  </a:lnTo>
                  <a:lnTo>
                    <a:pt x="240" y="110"/>
                  </a:lnTo>
                  <a:lnTo>
                    <a:pt x="242" y="110"/>
                  </a:lnTo>
                  <a:lnTo>
                    <a:pt x="244" y="111"/>
                  </a:lnTo>
                  <a:lnTo>
                    <a:pt x="244" y="113"/>
                  </a:lnTo>
                  <a:lnTo>
                    <a:pt x="246" y="113"/>
                  </a:lnTo>
                  <a:lnTo>
                    <a:pt x="246" y="113"/>
                  </a:lnTo>
                  <a:lnTo>
                    <a:pt x="246" y="115"/>
                  </a:lnTo>
                  <a:lnTo>
                    <a:pt x="247" y="115"/>
                  </a:lnTo>
                  <a:lnTo>
                    <a:pt x="247" y="117"/>
                  </a:lnTo>
                  <a:lnTo>
                    <a:pt x="249" y="117"/>
                  </a:lnTo>
                  <a:lnTo>
                    <a:pt x="249" y="118"/>
                  </a:lnTo>
                  <a:lnTo>
                    <a:pt x="249" y="120"/>
                  </a:lnTo>
                  <a:lnTo>
                    <a:pt x="251" y="122"/>
                  </a:lnTo>
                  <a:lnTo>
                    <a:pt x="251" y="123"/>
                  </a:lnTo>
                  <a:lnTo>
                    <a:pt x="251" y="125"/>
                  </a:lnTo>
                  <a:lnTo>
                    <a:pt x="251" y="127"/>
                  </a:lnTo>
                  <a:lnTo>
                    <a:pt x="252" y="127"/>
                  </a:lnTo>
                  <a:lnTo>
                    <a:pt x="252" y="127"/>
                  </a:lnTo>
                  <a:lnTo>
                    <a:pt x="252" y="129"/>
                  </a:lnTo>
                  <a:lnTo>
                    <a:pt x="252" y="130"/>
                  </a:lnTo>
                  <a:lnTo>
                    <a:pt x="251" y="132"/>
                  </a:lnTo>
                  <a:lnTo>
                    <a:pt x="251" y="134"/>
                  </a:lnTo>
                  <a:lnTo>
                    <a:pt x="251" y="135"/>
                  </a:lnTo>
                  <a:lnTo>
                    <a:pt x="251" y="137"/>
                  </a:lnTo>
                  <a:lnTo>
                    <a:pt x="251" y="139"/>
                  </a:lnTo>
                  <a:lnTo>
                    <a:pt x="249" y="141"/>
                  </a:lnTo>
                  <a:lnTo>
                    <a:pt x="249" y="142"/>
                  </a:lnTo>
                  <a:lnTo>
                    <a:pt x="249" y="142"/>
                  </a:lnTo>
                  <a:lnTo>
                    <a:pt x="247" y="142"/>
                  </a:lnTo>
                  <a:lnTo>
                    <a:pt x="247" y="144"/>
                  </a:lnTo>
                  <a:lnTo>
                    <a:pt x="247" y="146"/>
                  </a:lnTo>
                  <a:lnTo>
                    <a:pt x="246" y="147"/>
                  </a:lnTo>
                  <a:lnTo>
                    <a:pt x="246" y="149"/>
                  </a:lnTo>
                  <a:lnTo>
                    <a:pt x="246" y="151"/>
                  </a:lnTo>
                  <a:lnTo>
                    <a:pt x="246" y="153"/>
                  </a:lnTo>
                  <a:lnTo>
                    <a:pt x="247" y="156"/>
                  </a:lnTo>
                  <a:lnTo>
                    <a:pt x="247" y="158"/>
                  </a:lnTo>
                  <a:lnTo>
                    <a:pt x="249" y="158"/>
                  </a:lnTo>
                  <a:lnTo>
                    <a:pt x="249" y="160"/>
                  </a:lnTo>
                  <a:lnTo>
                    <a:pt x="251" y="160"/>
                  </a:lnTo>
                  <a:lnTo>
                    <a:pt x="251" y="161"/>
                  </a:lnTo>
                  <a:lnTo>
                    <a:pt x="252" y="163"/>
                  </a:lnTo>
                  <a:lnTo>
                    <a:pt x="254" y="163"/>
                  </a:lnTo>
                  <a:lnTo>
                    <a:pt x="256" y="165"/>
                  </a:lnTo>
                  <a:lnTo>
                    <a:pt x="258" y="166"/>
                  </a:lnTo>
                  <a:lnTo>
                    <a:pt x="261" y="168"/>
                  </a:lnTo>
                  <a:lnTo>
                    <a:pt x="268" y="172"/>
                  </a:lnTo>
                  <a:lnTo>
                    <a:pt x="271" y="173"/>
                  </a:lnTo>
                  <a:lnTo>
                    <a:pt x="276" y="173"/>
                  </a:lnTo>
                  <a:lnTo>
                    <a:pt x="282" y="175"/>
                  </a:lnTo>
                  <a:lnTo>
                    <a:pt x="287" y="178"/>
                  </a:lnTo>
                  <a:lnTo>
                    <a:pt x="289" y="180"/>
                  </a:lnTo>
                  <a:lnTo>
                    <a:pt x="292" y="184"/>
                  </a:lnTo>
                  <a:lnTo>
                    <a:pt x="290" y="184"/>
                  </a:lnTo>
                  <a:lnTo>
                    <a:pt x="287" y="184"/>
                  </a:lnTo>
                  <a:lnTo>
                    <a:pt x="287" y="184"/>
                  </a:lnTo>
                  <a:lnTo>
                    <a:pt x="271" y="185"/>
                  </a:lnTo>
                  <a:lnTo>
                    <a:pt x="271" y="189"/>
                  </a:lnTo>
                  <a:lnTo>
                    <a:pt x="271" y="190"/>
                  </a:lnTo>
                  <a:lnTo>
                    <a:pt x="270" y="190"/>
                  </a:lnTo>
                  <a:lnTo>
                    <a:pt x="268" y="190"/>
                  </a:lnTo>
                  <a:lnTo>
                    <a:pt x="266" y="192"/>
                  </a:lnTo>
                  <a:lnTo>
                    <a:pt x="261" y="194"/>
                  </a:lnTo>
                  <a:lnTo>
                    <a:pt x="256" y="196"/>
                  </a:lnTo>
                  <a:lnTo>
                    <a:pt x="256" y="197"/>
                  </a:lnTo>
                  <a:lnTo>
                    <a:pt x="256" y="199"/>
                  </a:lnTo>
                  <a:lnTo>
                    <a:pt x="256" y="203"/>
                  </a:lnTo>
                  <a:lnTo>
                    <a:pt x="256" y="203"/>
                  </a:lnTo>
                  <a:lnTo>
                    <a:pt x="256" y="208"/>
                  </a:lnTo>
                  <a:lnTo>
                    <a:pt x="256" y="209"/>
                  </a:lnTo>
                  <a:lnTo>
                    <a:pt x="256" y="213"/>
                  </a:lnTo>
                  <a:lnTo>
                    <a:pt x="256" y="218"/>
                  </a:lnTo>
                  <a:lnTo>
                    <a:pt x="256" y="218"/>
                  </a:lnTo>
                  <a:lnTo>
                    <a:pt x="246" y="218"/>
                  </a:lnTo>
                  <a:lnTo>
                    <a:pt x="244" y="218"/>
                  </a:lnTo>
                  <a:lnTo>
                    <a:pt x="233" y="220"/>
                  </a:lnTo>
                  <a:lnTo>
                    <a:pt x="233" y="225"/>
                  </a:lnTo>
                  <a:lnTo>
                    <a:pt x="233" y="232"/>
                  </a:lnTo>
                  <a:lnTo>
                    <a:pt x="232" y="232"/>
                  </a:lnTo>
                  <a:lnTo>
                    <a:pt x="225" y="232"/>
                  </a:lnTo>
                  <a:lnTo>
                    <a:pt x="221" y="232"/>
                  </a:lnTo>
                  <a:lnTo>
                    <a:pt x="223" y="244"/>
                  </a:lnTo>
                  <a:lnTo>
                    <a:pt x="220" y="244"/>
                  </a:lnTo>
                  <a:lnTo>
                    <a:pt x="213" y="244"/>
                  </a:lnTo>
                  <a:lnTo>
                    <a:pt x="211" y="244"/>
                  </a:lnTo>
                  <a:lnTo>
                    <a:pt x="211" y="244"/>
                  </a:lnTo>
                  <a:lnTo>
                    <a:pt x="208" y="244"/>
                  </a:lnTo>
                  <a:lnTo>
                    <a:pt x="201" y="244"/>
                  </a:lnTo>
                  <a:lnTo>
                    <a:pt x="201" y="252"/>
                  </a:lnTo>
                  <a:lnTo>
                    <a:pt x="201" y="261"/>
                  </a:lnTo>
                  <a:lnTo>
                    <a:pt x="201" y="263"/>
                  </a:lnTo>
                  <a:lnTo>
                    <a:pt x="201" y="266"/>
                  </a:lnTo>
                  <a:lnTo>
                    <a:pt x="196" y="266"/>
                  </a:lnTo>
                  <a:lnTo>
                    <a:pt x="190" y="266"/>
                  </a:lnTo>
                  <a:lnTo>
                    <a:pt x="189" y="266"/>
                  </a:lnTo>
                  <a:lnTo>
                    <a:pt x="187" y="266"/>
                  </a:lnTo>
                  <a:lnTo>
                    <a:pt x="185" y="266"/>
                  </a:lnTo>
                  <a:lnTo>
                    <a:pt x="180" y="266"/>
                  </a:lnTo>
                  <a:lnTo>
                    <a:pt x="180" y="270"/>
                  </a:lnTo>
                  <a:lnTo>
                    <a:pt x="180" y="273"/>
                  </a:lnTo>
                  <a:lnTo>
                    <a:pt x="180" y="278"/>
                  </a:lnTo>
                  <a:lnTo>
                    <a:pt x="180" y="280"/>
                  </a:lnTo>
                  <a:lnTo>
                    <a:pt x="180" y="283"/>
                  </a:lnTo>
                  <a:lnTo>
                    <a:pt x="180" y="290"/>
                  </a:lnTo>
                  <a:lnTo>
                    <a:pt x="178" y="290"/>
                  </a:lnTo>
                  <a:lnTo>
                    <a:pt x="177" y="290"/>
                  </a:lnTo>
                  <a:lnTo>
                    <a:pt x="175" y="290"/>
                  </a:lnTo>
                  <a:lnTo>
                    <a:pt x="173" y="290"/>
                  </a:lnTo>
                  <a:lnTo>
                    <a:pt x="172" y="290"/>
                  </a:lnTo>
                  <a:lnTo>
                    <a:pt x="170" y="290"/>
                  </a:lnTo>
                  <a:lnTo>
                    <a:pt x="168" y="290"/>
                  </a:lnTo>
                  <a:lnTo>
                    <a:pt x="168" y="292"/>
                  </a:lnTo>
                  <a:lnTo>
                    <a:pt x="168" y="294"/>
                  </a:lnTo>
                  <a:lnTo>
                    <a:pt x="168" y="295"/>
                  </a:lnTo>
                  <a:lnTo>
                    <a:pt x="165" y="295"/>
                  </a:lnTo>
                  <a:lnTo>
                    <a:pt x="165" y="295"/>
                  </a:lnTo>
                  <a:lnTo>
                    <a:pt x="163" y="295"/>
                  </a:lnTo>
                  <a:lnTo>
                    <a:pt x="161" y="295"/>
                  </a:lnTo>
                  <a:lnTo>
                    <a:pt x="158" y="295"/>
                  </a:lnTo>
                  <a:lnTo>
                    <a:pt x="156" y="295"/>
                  </a:lnTo>
                  <a:lnTo>
                    <a:pt x="154" y="295"/>
                  </a:lnTo>
                  <a:lnTo>
                    <a:pt x="153" y="295"/>
                  </a:lnTo>
                  <a:lnTo>
                    <a:pt x="151" y="295"/>
                  </a:lnTo>
                  <a:lnTo>
                    <a:pt x="151" y="295"/>
                  </a:lnTo>
                  <a:lnTo>
                    <a:pt x="149" y="295"/>
                  </a:lnTo>
                  <a:lnTo>
                    <a:pt x="147" y="295"/>
                  </a:lnTo>
                  <a:lnTo>
                    <a:pt x="142" y="295"/>
                  </a:lnTo>
                  <a:lnTo>
                    <a:pt x="139" y="297"/>
                  </a:lnTo>
                  <a:lnTo>
                    <a:pt x="139" y="295"/>
                  </a:lnTo>
                  <a:lnTo>
                    <a:pt x="135" y="295"/>
                  </a:lnTo>
                  <a:lnTo>
                    <a:pt x="135" y="295"/>
                  </a:lnTo>
                  <a:lnTo>
                    <a:pt x="134" y="297"/>
                  </a:lnTo>
                  <a:lnTo>
                    <a:pt x="132" y="297"/>
                  </a:lnTo>
                  <a:lnTo>
                    <a:pt x="130" y="297"/>
                  </a:lnTo>
                  <a:lnTo>
                    <a:pt x="129" y="297"/>
                  </a:lnTo>
                  <a:lnTo>
                    <a:pt x="127" y="297"/>
                  </a:lnTo>
                  <a:lnTo>
                    <a:pt x="125" y="297"/>
                  </a:lnTo>
                  <a:lnTo>
                    <a:pt x="123" y="299"/>
                  </a:lnTo>
                  <a:lnTo>
                    <a:pt x="122" y="299"/>
                  </a:lnTo>
                  <a:lnTo>
                    <a:pt x="120" y="299"/>
                  </a:lnTo>
                  <a:lnTo>
                    <a:pt x="120" y="299"/>
                  </a:lnTo>
                  <a:lnTo>
                    <a:pt x="118" y="299"/>
                  </a:lnTo>
                  <a:lnTo>
                    <a:pt x="118" y="301"/>
                  </a:lnTo>
                  <a:lnTo>
                    <a:pt x="117" y="301"/>
                  </a:lnTo>
                  <a:lnTo>
                    <a:pt x="117" y="302"/>
                  </a:lnTo>
                  <a:lnTo>
                    <a:pt x="118" y="304"/>
                  </a:lnTo>
                  <a:lnTo>
                    <a:pt x="117" y="304"/>
                  </a:lnTo>
                  <a:lnTo>
                    <a:pt x="115" y="304"/>
                  </a:lnTo>
                  <a:lnTo>
                    <a:pt x="110" y="304"/>
                  </a:lnTo>
                  <a:lnTo>
                    <a:pt x="108" y="304"/>
                  </a:lnTo>
                  <a:lnTo>
                    <a:pt x="106" y="304"/>
                  </a:lnTo>
                  <a:lnTo>
                    <a:pt x="104" y="304"/>
                  </a:lnTo>
                  <a:lnTo>
                    <a:pt x="104" y="304"/>
                  </a:lnTo>
                  <a:lnTo>
                    <a:pt x="99" y="306"/>
                  </a:lnTo>
                  <a:lnTo>
                    <a:pt x="96" y="306"/>
                  </a:lnTo>
                  <a:lnTo>
                    <a:pt x="94" y="306"/>
                  </a:lnTo>
                  <a:lnTo>
                    <a:pt x="92" y="306"/>
                  </a:lnTo>
                  <a:lnTo>
                    <a:pt x="89" y="306"/>
                  </a:lnTo>
                  <a:lnTo>
                    <a:pt x="82" y="306"/>
                  </a:lnTo>
                  <a:lnTo>
                    <a:pt x="77" y="307"/>
                  </a:lnTo>
                  <a:lnTo>
                    <a:pt x="75" y="307"/>
                  </a:lnTo>
                  <a:lnTo>
                    <a:pt x="65" y="307"/>
                  </a:lnTo>
                  <a:lnTo>
                    <a:pt x="61" y="307"/>
                  </a:lnTo>
                  <a:lnTo>
                    <a:pt x="61" y="306"/>
                  </a:lnTo>
                  <a:lnTo>
                    <a:pt x="63" y="304"/>
                  </a:lnTo>
                  <a:lnTo>
                    <a:pt x="63" y="306"/>
                  </a:lnTo>
                  <a:lnTo>
                    <a:pt x="63" y="304"/>
                  </a:lnTo>
                  <a:lnTo>
                    <a:pt x="61" y="302"/>
                  </a:lnTo>
                  <a:lnTo>
                    <a:pt x="61" y="301"/>
                  </a:lnTo>
                  <a:lnTo>
                    <a:pt x="63" y="301"/>
                  </a:lnTo>
                  <a:lnTo>
                    <a:pt x="61" y="301"/>
                  </a:lnTo>
                  <a:lnTo>
                    <a:pt x="61" y="299"/>
                  </a:lnTo>
                  <a:lnTo>
                    <a:pt x="60" y="299"/>
                  </a:lnTo>
                  <a:lnTo>
                    <a:pt x="60" y="297"/>
                  </a:lnTo>
                  <a:lnTo>
                    <a:pt x="60" y="297"/>
                  </a:lnTo>
                  <a:lnTo>
                    <a:pt x="60" y="295"/>
                  </a:lnTo>
                  <a:lnTo>
                    <a:pt x="60" y="294"/>
                  </a:lnTo>
                  <a:lnTo>
                    <a:pt x="60" y="294"/>
                  </a:lnTo>
                  <a:lnTo>
                    <a:pt x="60" y="294"/>
                  </a:lnTo>
                  <a:lnTo>
                    <a:pt x="61" y="294"/>
                  </a:lnTo>
                  <a:lnTo>
                    <a:pt x="61" y="292"/>
                  </a:lnTo>
                  <a:lnTo>
                    <a:pt x="60" y="292"/>
                  </a:lnTo>
                  <a:lnTo>
                    <a:pt x="60" y="290"/>
                  </a:lnTo>
                  <a:lnTo>
                    <a:pt x="61" y="290"/>
                  </a:lnTo>
                  <a:lnTo>
                    <a:pt x="61" y="289"/>
                  </a:lnTo>
                  <a:lnTo>
                    <a:pt x="63" y="289"/>
                  </a:lnTo>
                  <a:lnTo>
                    <a:pt x="63" y="287"/>
                  </a:lnTo>
                  <a:lnTo>
                    <a:pt x="65" y="289"/>
                  </a:lnTo>
                  <a:lnTo>
                    <a:pt x="65" y="287"/>
                  </a:lnTo>
                  <a:lnTo>
                    <a:pt x="65" y="285"/>
                  </a:lnTo>
                  <a:lnTo>
                    <a:pt x="63" y="285"/>
                  </a:lnTo>
                  <a:lnTo>
                    <a:pt x="63" y="283"/>
                  </a:lnTo>
                  <a:lnTo>
                    <a:pt x="61" y="283"/>
                  </a:lnTo>
                  <a:lnTo>
                    <a:pt x="61" y="282"/>
                  </a:lnTo>
                  <a:lnTo>
                    <a:pt x="61" y="280"/>
                  </a:lnTo>
                  <a:lnTo>
                    <a:pt x="61" y="278"/>
                  </a:lnTo>
                  <a:lnTo>
                    <a:pt x="60" y="278"/>
                  </a:lnTo>
                  <a:lnTo>
                    <a:pt x="60" y="277"/>
                  </a:lnTo>
                  <a:lnTo>
                    <a:pt x="61" y="277"/>
                  </a:lnTo>
                  <a:lnTo>
                    <a:pt x="61" y="275"/>
                  </a:lnTo>
                  <a:lnTo>
                    <a:pt x="60" y="275"/>
                  </a:lnTo>
                  <a:lnTo>
                    <a:pt x="61" y="273"/>
                  </a:lnTo>
                  <a:lnTo>
                    <a:pt x="61" y="271"/>
                  </a:lnTo>
                  <a:lnTo>
                    <a:pt x="60" y="271"/>
                  </a:lnTo>
                  <a:lnTo>
                    <a:pt x="60" y="270"/>
                  </a:lnTo>
                  <a:lnTo>
                    <a:pt x="61" y="270"/>
                  </a:lnTo>
                  <a:lnTo>
                    <a:pt x="61" y="268"/>
                  </a:lnTo>
                  <a:lnTo>
                    <a:pt x="61" y="266"/>
                  </a:lnTo>
                  <a:lnTo>
                    <a:pt x="61" y="264"/>
                  </a:lnTo>
                  <a:lnTo>
                    <a:pt x="61" y="266"/>
                  </a:lnTo>
                  <a:lnTo>
                    <a:pt x="63" y="266"/>
                  </a:lnTo>
                  <a:lnTo>
                    <a:pt x="63" y="264"/>
                  </a:lnTo>
                  <a:lnTo>
                    <a:pt x="63" y="263"/>
                  </a:lnTo>
                  <a:lnTo>
                    <a:pt x="61" y="263"/>
                  </a:lnTo>
                  <a:lnTo>
                    <a:pt x="61" y="263"/>
                  </a:lnTo>
                  <a:lnTo>
                    <a:pt x="63" y="263"/>
                  </a:lnTo>
                  <a:lnTo>
                    <a:pt x="63" y="261"/>
                  </a:lnTo>
                  <a:lnTo>
                    <a:pt x="63" y="259"/>
                  </a:lnTo>
                  <a:lnTo>
                    <a:pt x="65" y="259"/>
                  </a:lnTo>
                  <a:lnTo>
                    <a:pt x="65" y="258"/>
                  </a:lnTo>
                  <a:lnTo>
                    <a:pt x="63" y="258"/>
                  </a:lnTo>
                  <a:lnTo>
                    <a:pt x="63" y="259"/>
                  </a:lnTo>
                  <a:lnTo>
                    <a:pt x="63" y="258"/>
                  </a:lnTo>
                  <a:lnTo>
                    <a:pt x="61" y="258"/>
                  </a:lnTo>
                  <a:lnTo>
                    <a:pt x="61" y="256"/>
                  </a:lnTo>
                  <a:lnTo>
                    <a:pt x="63" y="254"/>
                  </a:lnTo>
                  <a:lnTo>
                    <a:pt x="63" y="252"/>
                  </a:lnTo>
                  <a:lnTo>
                    <a:pt x="61" y="252"/>
                  </a:lnTo>
                  <a:lnTo>
                    <a:pt x="61" y="251"/>
                  </a:lnTo>
                  <a:lnTo>
                    <a:pt x="60" y="251"/>
                  </a:lnTo>
                  <a:lnTo>
                    <a:pt x="60" y="249"/>
                  </a:lnTo>
                  <a:lnTo>
                    <a:pt x="60" y="247"/>
                  </a:lnTo>
                  <a:lnTo>
                    <a:pt x="60" y="247"/>
                  </a:lnTo>
                  <a:lnTo>
                    <a:pt x="60" y="247"/>
                  </a:lnTo>
                  <a:lnTo>
                    <a:pt x="60" y="247"/>
                  </a:lnTo>
                  <a:lnTo>
                    <a:pt x="60" y="246"/>
                  </a:lnTo>
                  <a:lnTo>
                    <a:pt x="60" y="246"/>
                  </a:lnTo>
                  <a:lnTo>
                    <a:pt x="60" y="247"/>
                  </a:lnTo>
                  <a:lnTo>
                    <a:pt x="58" y="247"/>
                  </a:lnTo>
                  <a:lnTo>
                    <a:pt x="58" y="246"/>
                  </a:lnTo>
                  <a:lnTo>
                    <a:pt x="56" y="246"/>
                  </a:lnTo>
                  <a:lnTo>
                    <a:pt x="56" y="244"/>
                  </a:lnTo>
                  <a:lnTo>
                    <a:pt x="56" y="242"/>
                  </a:lnTo>
                  <a:lnTo>
                    <a:pt x="55" y="242"/>
                  </a:lnTo>
                  <a:lnTo>
                    <a:pt x="55" y="240"/>
                  </a:lnTo>
                  <a:lnTo>
                    <a:pt x="53" y="240"/>
                  </a:lnTo>
                  <a:lnTo>
                    <a:pt x="53" y="239"/>
                  </a:lnTo>
                  <a:lnTo>
                    <a:pt x="49" y="240"/>
                  </a:lnTo>
                  <a:lnTo>
                    <a:pt x="49" y="239"/>
                  </a:lnTo>
                  <a:lnTo>
                    <a:pt x="48" y="239"/>
                  </a:lnTo>
                  <a:lnTo>
                    <a:pt x="48" y="237"/>
                  </a:lnTo>
                  <a:lnTo>
                    <a:pt x="48" y="235"/>
                  </a:lnTo>
                  <a:lnTo>
                    <a:pt x="46" y="235"/>
                  </a:lnTo>
                  <a:lnTo>
                    <a:pt x="44" y="235"/>
                  </a:lnTo>
                  <a:lnTo>
                    <a:pt x="44" y="233"/>
                  </a:lnTo>
                  <a:lnTo>
                    <a:pt x="44" y="233"/>
                  </a:lnTo>
                  <a:lnTo>
                    <a:pt x="44" y="232"/>
                  </a:lnTo>
                  <a:lnTo>
                    <a:pt x="44" y="230"/>
                  </a:lnTo>
                  <a:lnTo>
                    <a:pt x="44" y="228"/>
                  </a:lnTo>
                  <a:lnTo>
                    <a:pt x="44" y="227"/>
                  </a:lnTo>
                  <a:lnTo>
                    <a:pt x="44" y="225"/>
                  </a:lnTo>
                  <a:lnTo>
                    <a:pt x="44" y="225"/>
                  </a:lnTo>
                  <a:lnTo>
                    <a:pt x="44" y="223"/>
                  </a:lnTo>
                  <a:lnTo>
                    <a:pt x="44" y="223"/>
                  </a:lnTo>
                  <a:lnTo>
                    <a:pt x="44" y="223"/>
                  </a:lnTo>
                  <a:lnTo>
                    <a:pt x="44" y="221"/>
                  </a:lnTo>
                  <a:lnTo>
                    <a:pt x="44" y="220"/>
                  </a:lnTo>
                  <a:lnTo>
                    <a:pt x="43" y="220"/>
                  </a:lnTo>
                  <a:lnTo>
                    <a:pt x="44" y="218"/>
                  </a:lnTo>
                  <a:lnTo>
                    <a:pt x="43" y="218"/>
                  </a:lnTo>
                  <a:lnTo>
                    <a:pt x="41" y="218"/>
                  </a:lnTo>
                  <a:lnTo>
                    <a:pt x="43" y="218"/>
                  </a:lnTo>
                  <a:lnTo>
                    <a:pt x="43" y="218"/>
                  </a:lnTo>
                  <a:lnTo>
                    <a:pt x="41" y="218"/>
                  </a:lnTo>
                  <a:lnTo>
                    <a:pt x="41" y="216"/>
                  </a:lnTo>
                  <a:lnTo>
                    <a:pt x="43" y="216"/>
                  </a:lnTo>
                  <a:lnTo>
                    <a:pt x="41" y="216"/>
                  </a:lnTo>
                  <a:lnTo>
                    <a:pt x="41" y="215"/>
                  </a:lnTo>
                  <a:lnTo>
                    <a:pt x="43" y="215"/>
                  </a:lnTo>
                  <a:lnTo>
                    <a:pt x="43" y="213"/>
                  </a:lnTo>
                  <a:lnTo>
                    <a:pt x="43" y="211"/>
                  </a:lnTo>
                  <a:lnTo>
                    <a:pt x="43" y="209"/>
                  </a:lnTo>
                  <a:lnTo>
                    <a:pt x="41" y="209"/>
                  </a:lnTo>
                  <a:lnTo>
                    <a:pt x="41" y="208"/>
                  </a:lnTo>
                  <a:lnTo>
                    <a:pt x="41" y="206"/>
                  </a:lnTo>
                  <a:lnTo>
                    <a:pt x="39" y="206"/>
                  </a:lnTo>
                  <a:lnTo>
                    <a:pt x="39" y="204"/>
                  </a:lnTo>
                  <a:lnTo>
                    <a:pt x="37" y="203"/>
                  </a:lnTo>
                  <a:lnTo>
                    <a:pt x="37" y="203"/>
                  </a:lnTo>
                  <a:lnTo>
                    <a:pt x="36" y="203"/>
                  </a:lnTo>
                  <a:lnTo>
                    <a:pt x="36" y="201"/>
                  </a:lnTo>
                  <a:lnTo>
                    <a:pt x="36" y="199"/>
                  </a:lnTo>
                  <a:lnTo>
                    <a:pt x="34" y="199"/>
                  </a:lnTo>
                  <a:lnTo>
                    <a:pt x="34" y="197"/>
                  </a:lnTo>
                  <a:lnTo>
                    <a:pt x="32" y="197"/>
                  </a:lnTo>
                  <a:lnTo>
                    <a:pt x="32" y="196"/>
                  </a:lnTo>
                  <a:lnTo>
                    <a:pt x="31" y="192"/>
                  </a:lnTo>
                  <a:lnTo>
                    <a:pt x="31" y="190"/>
                  </a:lnTo>
                  <a:lnTo>
                    <a:pt x="31" y="190"/>
                  </a:lnTo>
                  <a:lnTo>
                    <a:pt x="31" y="189"/>
                  </a:lnTo>
                  <a:lnTo>
                    <a:pt x="29" y="189"/>
                  </a:lnTo>
                  <a:lnTo>
                    <a:pt x="31" y="189"/>
                  </a:lnTo>
                  <a:lnTo>
                    <a:pt x="31" y="187"/>
                  </a:lnTo>
                  <a:lnTo>
                    <a:pt x="29" y="187"/>
                  </a:lnTo>
                  <a:lnTo>
                    <a:pt x="27" y="187"/>
                  </a:lnTo>
                  <a:lnTo>
                    <a:pt x="27" y="187"/>
                  </a:lnTo>
                  <a:lnTo>
                    <a:pt x="27" y="185"/>
                  </a:lnTo>
                  <a:lnTo>
                    <a:pt x="25" y="184"/>
                  </a:lnTo>
                  <a:lnTo>
                    <a:pt x="25" y="182"/>
                  </a:lnTo>
                  <a:lnTo>
                    <a:pt x="25" y="180"/>
                  </a:lnTo>
                  <a:lnTo>
                    <a:pt x="25" y="178"/>
                  </a:lnTo>
                  <a:lnTo>
                    <a:pt x="24" y="178"/>
                  </a:lnTo>
                  <a:lnTo>
                    <a:pt x="22" y="178"/>
                  </a:lnTo>
                  <a:lnTo>
                    <a:pt x="22" y="177"/>
                  </a:lnTo>
                  <a:lnTo>
                    <a:pt x="22" y="178"/>
                  </a:lnTo>
                  <a:lnTo>
                    <a:pt x="20" y="178"/>
                  </a:lnTo>
                  <a:lnTo>
                    <a:pt x="20" y="177"/>
                  </a:lnTo>
                  <a:lnTo>
                    <a:pt x="18" y="177"/>
                  </a:lnTo>
                  <a:lnTo>
                    <a:pt x="18" y="175"/>
                  </a:lnTo>
                  <a:lnTo>
                    <a:pt x="20" y="175"/>
                  </a:lnTo>
                  <a:lnTo>
                    <a:pt x="20" y="173"/>
                  </a:lnTo>
                  <a:lnTo>
                    <a:pt x="20" y="173"/>
                  </a:lnTo>
                  <a:lnTo>
                    <a:pt x="18" y="173"/>
                  </a:lnTo>
                  <a:lnTo>
                    <a:pt x="18" y="172"/>
                  </a:lnTo>
                  <a:lnTo>
                    <a:pt x="18" y="173"/>
                  </a:lnTo>
                  <a:lnTo>
                    <a:pt x="17" y="173"/>
                  </a:lnTo>
                  <a:lnTo>
                    <a:pt x="17" y="172"/>
                  </a:lnTo>
                  <a:lnTo>
                    <a:pt x="17" y="170"/>
                  </a:lnTo>
                  <a:lnTo>
                    <a:pt x="17" y="168"/>
                  </a:lnTo>
                  <a:lnTo>
                    <a:pt x="17" y="166"/>
                  </a:lnTo>
                  <a:lnTo>
                    <a:pt x="17" y="165"/>
                  </a:lnTo>
                  <a:lnTo>
                    <a:pt x="15" y="165"/>
                  </a:lnTo>
                  <a:lnTo>
                    <a:pt x="17" y="165"/>
                  </a:lnTo>
                  <a:lnTo>
                    <a:pt x="17" y="163"/>
                  </a:lnTo>
                  <a:lnTo>
                    <a:pt x="17" y="161"/>
                  </a:lnTo>
                  <a:lnTo>
                    <a:pt x="15" y="161"/>
                  </a:lnTo>
                  <a:lnTo>
                    <a:pt x="17" y="161"/>
                  </a:lnTo>
                  <a:lnTo>
                    <a:pt x="15" y="161"/>
                  </a:lnTo>
                  <a:lnTo>
                    <a:pt x="15" y="161"/>
                  </a:lnTo>
                  <a:lnTo>
                    <a:pt x="15" y="163"/>
                  </a:lnTo>
                  <a:lnTo>
                    <a:pt x="13" y="163"/>
                  </a:lnTo>
                  <a:lnTo>
                    <a:pt x="13" y="161"/>
                  </a:lnTo>
                  <a:lnTo>
                    <a:pt x="12" y="161"/>
                  </a:lnTo>
                  <a:lnTo>
                    <a:pt x="12" y="160"/>
                  </a:lnTo>
                  <a:lnTo>
                    <a:pt x="10" y="158"/>
                  </a:lnTo>
                  <a:lnTo>
                    <a:pt x="10" y="158"/>
                  </a:lnTo>
                  <a:lnTo>
                    <a:pt x="10" y="156"/>
                  </a:lnTo>
                  <a:lnTo>
                    <a:pt x="8" y="156"/>
                  </a:lnTo>
                  <a:lnTo>
                    <a:pt x="8" y="154"/>
                  </a:lnTo>
                  <a:lnTo>
                    <a:pt x="8" y="153"/>
                  </a:lnTo>
                  <a:lnTo>
                    <a:pt x="6" y="154"/>
                  </a:lnTo>
                  <a:lnTo>
                    <a:pt x="6" y="153"/>
                  </a:lnTo>
                  <a:lnTo>
                    <a:pt x="6" y="151"/>
                  </a:lnTo>
                  <a:lnTo>
                    <a:pt x="6" y="149"/>
                  </a:lnTo>
                  <a:lnTo>
                    <a:pt x="5" y="149"/>
                  </a:lnTo>
                  <a:lnTo>
                    <a:pt x="5" y="147"/>
                  </a:lnTo>
                  <a:lnTo>
                    <a:pt x="3" y="146"/>
                  </a:lnTo>
                  <a:lnTo>
                    <a:pt x="3" y="142"/>
                  </a:lnTo>
                  <a:lnTo>
                    <a:pt x="1" y="142"/>
                  </a:lnTo>
                  <a:lnTo>
                    <a:pt x="1" y="141"/>
                  </a:lnTo>
                  <a:lnTo>
                    <a:pt x="0" y="139"/>
                  </a:lnTo>
                  <a:lnTo>
                    <a:pt x="0" y="139"/>
                  </a:lnTo>
                  <a:lnTo>
                    <a:pt x="0" y="137"/>
                  </a:lnTo>
                  <a:lnTo>
                    <a:pt x="0" y="135"/>
                  </a:lnTo>
                  <a:lnTo>
                    <a:pt x="0" y="134"/>
                  </a:lnTo>
                  <a:lnTo>
                    <a:pt x="0" y="132"/>
                  </a:lnTo>
                  <a:lnTo>
                    <a:pt x="0" y="130"/>
                  </a:lnTo>
                  <a:lnTo>
                    <a:pt x="1" y="130"/>
                  </a:lnTo>
                  <a:lnTo>
                    <a:pt x="3" y="129"/>
                  </a:lnTo>
                  <a:lnTo>
                    <a:pt x="3" y="127"/>
                  </a:lnTo>
                  <a:lnTo>
                    <a:pt x="3" y="127"/>
                  </a:lnTo>
                  <a:lnTo>
                    <a:pt x="5" y="127"/>
                  </a:lnTo>
                  <a:lnTo>
                    <a:pt x="5" y="125"/>
                  </a:lnTo>
                  <a:lnTo>
                    <a:pt x="5" y="123"/>
                  </a:lnTo>
                  <a:lnTo>
                    <a:pt x="5" y="122"/>
                  </a:lnTo>
                  <a:lnTo>
                    <a:pt x="5" y="120"/>
                  </a:lnTo>
                  <a:lnTo>
                    <a:pt x="6" y="118"/>
                  </a:lnTo>
                  <a:lnTo>
                    <a:pt x="6" y="117"/>
                  </a:lnTo>
                  <a:lnTo>
                    <a:pt x="6" y="115"/>
                  </a:lnTo>
                  <a:lnTo>
                    <a:pt x="6" y="113"/>
                  </a:lnTo>
                  <a:lnTo>
                    <a:pt x="8" y="113"/>
                  </a:lnTo>
                  <a:lnTo>
                    <a:pt x="8" y="113"/>
                  </a:lnTo>
                  <a:lnTo>
                    <a:pt x="10" y="113"/>
                  </a:lnTo>
                  <a:lnTo>
                    <a:pt x="10" y="111"/>
                  </a:lnTo>
                  <a:lnTo>
                    <a:pt x="10" y="110"/>
                  </a:lnTo>
                  <a:lnTo>
                    <a:pt x="10" y="108"/>
                  </a:lnTo>
                  <a:lnTo>
                    <a:pt x="12" y="108"/>
                  </a:lnTo>
                  <a:lnTo>
                    <a:pt x="12" y="106"/>
                  </a:lnTo>
                  <a:lnTo>
                    <a:pt x="12" y="104"/>
                  </a:lnTo>
                  <a:lnTo>
                    <a:pt x="10" y="104"/>
                  </a:lnTo>
                  <a:lnTo>
                    <a:pt x="12" y="104"/>
                  </a:lnTo>
                  <a:lnTo>
                    <a:pt x="13" y="104"/>
                  </a:lnTo>
                  <a:lnTo>
                    <a:pt x="15" y="103"/>
                  </a:lnTo>
                  <a:lnTo>
                    <a:pt x="15" y="98"/>
                  </a:lnTo>
                  <a:lnTo>
                    <a:pt x="15" y="94"/>
                  </a:lnTo>
                  <a:lnTo>
                    <a:pt x="15" y="92"/>
                  </a:lnTo>
                  <a:lnTo>
                    <a:pt x="15" y="92"/>
                  </a:lnTo>
                  <a:lnTo>
                    <a:pt x="18" y="92"/>
                  </a:lnTo>
                  <a:lnTo>
                    <a:pt x="25" y="92"/>
                  </a:lnTo>
                  <a:lnTo>
                    <a:pt x="31" y="92"/>
                  </a:lnTo>
                  <a:lnTo>
                    <a:pt x="34" y="92"/>
                  </a:lnTo>
                  <a:lnTo>
                    <a:pt x="37" y="92"/>
                  </a:lnTo>
                  <a:lnTo>
                    <a:pt x="36" y="82"/>
                  </a:lnTo>
                  <a:lnTo>
                    <a:pt x="39" y="80"/>
                  </a:lnTo>
                  <a:lnTo>
                    <a:pt x="44" y="80"/>
                  </a:lnTo>
                  <a:lnTo>
                    <a:pt x="48" y="80"/>
                  </a:lnTo>
                  <a:lnTo>
                    <a:pt x="46" y="77"/>
                  </a:lnTo>
                  <a:lnTo>
                    <a:pt x="46" y="65"/>
                  </a:lnTo>
                  <a:lnTo>
                    <a:pt x="46" y="58"/>
                  </a:lnTo>
                  <a:lnTo>
                    <a:pt x="51" y="58"/>
                  </a:lnTo>
                  <a:lnTo>
                    <a:pt x="56" y="58"/>
                  </a:lnTo>
                  <a:lnTo>
                    <a:pt x="58" y="58"/>
                  </a:lnTo>
                  <a:lnTo>
                    <a:pt x="58" y="56"/>
                  </a:lnTo>
                  <a:lnTo>
                    <a:pt x="58" y="55"/>
                  </a:lnTo>
                  <a:lnTo>
                    <a:pt x="58" y="46"/>
                  </a:lnTo>
                  <a:lnTo>
                    <a:pt x="60" y="46"/>
                  </a:lnTo>
                  <a:lnTo>
                    <a:pt x="68" y="46"/>
                  </a:lnTo>
                  <a:lnTo>
                    <a:pt x="68" y="41"/>
                  </a:lnTo>
                  <a:lnTo>
                    <a:pt x="68" y="39"/>
                  </a:lnTo>
                  <a:lnTo>
                    <a:pt x="79" y="39"/>
                  </a:lnTo>
                  <a:lnTo>
                    <a:pt x="79" y="37"/>
                  </a:lnTo>
                  <a:lnTo>
                    <a:pt x="79" y="36"/>
                  </a:lnTo>
                  <a:lnTo>
                    <a:pt x="79" y="30"/>
                  </a:lnTo>
                  <a:lnTo>
                    <a:pt x="86" y="30"/>
                  </a:lnTo>
                  <a:lnTo>
                    <a:pt x="91" y="30"/>
                  </a:lnTo>
                  <a:lnTo>
                    <a:pt x="94" y="30"/>
                  </a:lnTo>
                  <a:lnTo>
                    <a:pt x="98" y="30"/>
                  </a:lnTo>
                  <a:lnTo>
                    <a:pt x="96" y="22"/>
                  </a:lnTo>
                  <a:lnTo>
                    <a:pt x="96" y="18"/>
                  </a:lnTo>
                  <a:lnTo>
                    <a:pt x="108" y="18"/>
                  </a:lnTo>
                  <a:lnTo>
                    <a:pt x="113" y="18"/>
                  </a:lnTo>
                  <a:lnTo>
                    <a:pt x="120" y="18"/>
                  </a:lnTo>
                  <a:lnTo>
                    <a:pt x="120" y="12"/>
                  </a:lnTo>
                  <a:lnTo>
                    <a:pt x="125" y="12"/>
                  </a:lnTo>
                  <a:lnTo>
                    <a:pt x="127" y="12"/>
                  </a:lnTo>
                  <a:lnTo>
                    <a:pt x="129" y="12"/>
                  </a:lnTo>
                  <a:lnTo>
                    <a:pt x="130" y="12"/>
                  </a:lnTo>
                  <a:lnTo>
                    <a:pt x="132" y="12"/>
                  </a:lnTo>
                  <a:lnTo>
                    <a:pt x="134" y="12"/>
                  </a:lnTo>
                  <a:lnTo>
                    <a:pt x="135" y="12"/>
                  </a:lnTo>
                  <a:lnTo>
                    <a:pt x="137" y="12"/>
                  </a:lnTo>
                  <a:lnTo>
                    <a:pt x="139" y="12"/>
                  </a:lnTo>
                  <a:lnTo>
                    <a:pt x="141" y="12"/>
                  </a:lnTo>
                  <a:lnTo>
                    <a:pt x="142" y="12"/>
                  </a:lnTo>
                  <a:lnTo>
                    <a:pt x="142" y="6"/>
                  </a:lnTo>
                  <a:lnTo>
                    <a:pt x="142" y="6"/>
                  </a:lnTo>
                  <a:lnTo>
                    <a:pt x="144" y="6"/>
                  </a:lnTo>
                  <a:lnTo>
                    <a:pt x="149" y="6"/>
                  </a:lnTo>
                  <a:lnTo>
                    <a:pt x="151" y="6"/>
                  </a:lnTo>
                  <a:lnTo>
                    <a:pt x="154" y="6"/>
                  </a:lnTo>
                  <a:lnTo>
                    <a:pt x="156" y="6"/>
                  </a:lnTo>
                  <a:lnTo>
                    <a:pt x="158" y="6"/>
                  </a:lnTo>
                  <a:lnTo>
                    <a:pt x="160" y="6"/>
                  </a:lnTo>
                  <a:lnTo>
                    <a:pt x="160" y="8"/>
                  </a:lnTo>
                  <a:lnTo>
                    <a:pt x="160" y="6"/>
                  </a:lnTo>
                  <a:lnTo>
                    <a:pt x="161" y="6"/>
                  </a:lnTo>
                  <a:lnTo>
                    <a:pt x="163" y="6"/>
                  </a:lnTo>
                  <a:lnTo>
                    <a:pt x="165" y="6"/>
                  </a:lnTo>
                  <a:lnTo>
                    <a:pt x="165" y="6"/>
                  </a:lnTo>
                  <a:lnTo>
                    <a:pt x="165" y="6"/>
                  </a:lnTo>
                  <a:lnTo>
                    <a:pt x="166" y="6"/>
                  </a:lnTo>
                  <a:lnTo>
                    <a:pt x="166" y="5"/>
                  </a:lnTo>
                  <a:lnTo>
                    <a:pt x="168" y="5"/>
                  </a:lnTo>
                  <a:lnTo>
                    <a:pt x="170" y="6"/>
                  </a:lnTo>
                  <a:lnTo>
                    <a:pt x="172" y="6"/>
                  </a:lnTo>
                  <a:lnTo>
                    <a:pt x="173" y="6"/>
                  </a:lnTo>
                  <a:lnTo>
                    <a:pt x="175" y="6"/>
                  </a:lnTo>
                  <a:lnTo>
                    <a:pt x="177" y="6"/>
                  </a:lnTo>
                  <a:lnTo>
                    <a:pt x="177" y="5"/>
                  </a:lnTo>
                  <a:lnTo>
                    <a:pt x="177" y="3"/>
                  </a:lnTo>
                  <a:lnTo>
                    <a:pt x="177" y="1"/>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5" name="Freeform 232"/>
            <p:cNvSpPr>
              <a:spLocks/>
            </p:cNvSpPr>
            <p:nvPr/>
          </p:nvSpPr>
          <p:spPr bwMode="auto">
            <a:xfrm>
              <a:off x="7814558" y="5084556"/>
              <a:ext cx="561975" cy="615950"/>
            </a:xfrm>
            <a:custGeom>
              <a:avLst/>
              <a:gdLst/>
              <a:ahLst/>
              <a:cxnLst>
                <a:cxn ang="0">
                  <a:pos x="295" y="13"/>
                </a:cxn>
                <a:cxn ang="0">
                  <a:pos x="289" y="30"/>
                </a:cxn>
                <a:cxn ang="0">
                  <a:pos x="295" y="49"/>
                </a:cxn>
                <a:cxn ang="0">
                  <a:pos x="304" y="57"/>
                </a:cxn>
                <a:cxn ang="0">
                  <a:pos x="306" y="69"/>
                </a:cxn>
                <a:cxn ang="0">
                  <a:pos x="311" y="74"/>
                </a:cxn>
                <a:cxn ang="0">
                  <a:pos x="320" y="85"/>
                </a:cxn>
                <a:cxn ang="0">
                  <a:pos x="328" y="100"/>
                </a:cxn>
                <a:cxn ang="0">
                  <a:pos x="330" y="114"/>
                </a:cxn>
                <a:cxn ang="0">
                  <a:pos x="333" y="121"/>
                </a:cxn>
                <a:cxn ang="0">
                  <a:pos x="338" y="136"/>
                </a:cxn>
                <a:cxn ang="0">
                  <a:pos x="349" y="143"/>
                </a:cxn>
                <a:cxn ang="0">
                  <a:pos x="352" y="155"/>
                </a:cxn>
                <a:cxn ang="0">
                  <a:pos x="350" y="160"/>
                </a:cxn>
                <a:cxn ang="0">
                  <a:pos x="350" y="174"/>
                </a:cxn>
                <a:cxn ang="0">
                  <a:pos x="349" y="186"/>
                </a:cxn>
                <a:cxn ang="0">
                  <a:pos x="352" y="197"/>
                </a:cxn>
                <a:cxn ang="0">
                  <a:pos x="347" y="240"/>
                </a:cxn>
                <a:cxn ang="0">
                  <a:pos x="349" y="293"/>
                </a:cxn>
                <a:cxn ang="0">
                  <a:pos x="350" y="360"/>
                </a:cxn>
                <a:cxn ang="0">
                  <a:pos x="320" y="384"/>
                </a:cxn>
                <a:cxn ang="0">
                  <a:pos x="273" y="386"/>
                </a:cxn>
                <a:cxn ang="0">
                  <a:pos x="251" y="386"/>
                </a:cxn>
                <a:cxn ang="0">
                  <a:pos x="189" y="386"/>
                </a:cxn>
                <a:cxn ang="0">
                  <a:pos x="141" y="386"/>
                </a:cxn>
                <a:cxn ang="0">
                  <a:pos x="87" y="388"/>
                </a:cxn>
                <a:cxn ang="0">
                  <a:pos x="77" y="382"/>
                </a:cxn>
                <a:cxn ang="0">
                  <a:pos x="77" y="374"/>
                </a:cxn>
                <a:cxn ang="0">
                  <a:pos x="82" y="362"/>
                </a:cxn>
                <a:cxn ang="0">
                  <a:pos x="77" y="355"/>
                </a:cxn>
                <a:cxn ang="0">
                  <a:pos x="75" y="346"/>
                </a:cxn>
                <a:cxn ang="0">
                  <a:pos x="79" y="339"/>
                </a:cxn>
                <a:cxn ang="0">
                  <a:pos x="70" y="334"/>
                </a:cxn>
                <a:cxn ang="0">
                  <a:pos x="72" y="324"/>
                </a:cxn>
                <a:cxn ang="0">
                  <a:pos x="63" y="315"/>
                </a:cxn>
                <a:cxn ang="0">
                  <a:pos x="62" y="307"/>
                </a:cxn>
                <a:cxn ang="0">
                  <a:pos x="58" y="298"/>
                </a:cxn>
                <a:cxn ang="0">
                  <a:pos x="49" y="291"/>
                </a:cxn>
                <a:cxn ang="0">
                  <a:pos x="46" y="281"/>
                </a:cxn>
                <a:cxn ang="0">
                  <a:pos x="37" y="279"/>
                </a:cxn>
                <a:cxn ang="0">
                  <a:pos x="37" y="264"/>
                </a:cxn>
                <a:cxn ang="0">
                  <a:pos x="37" y="257"/>
                </a:cxn>
                <a:cxn ang="0">
                  <a:pos x="34" y="250"/>
                </a:cxn>
                <a:cxn ang="0">
                  <a:pos x="29" y="243"/>
                </a:cxn>
                <a:cxn ang="0">
                  <a:pos x="24" y="234"/>
                </a:cxn>
                <a:cxn ang="0">
                  <a:pos x="27" y="224"/>
                </a:cxn>
                <a:cxn ang="0">
                  <a:pos x="22" y="217"/>
                </a:cxn>
                <a:cxn ang="0">
                  <a:pos x="15" y="212"/>
                </a:cxn>
                <a:cxn ang="0">
                  <a:pos x="5" y="207"/>
                </a:cxn>
                <a:cxn ang="0">
                  <a:pos x="6" y="200"/>
                </a:cxn>
                <a:cxn ang="0">
                  <a:pos x="10" y="190"/>
                </a:cxn>
                <a:cxn ang="0">
                  <a:pos x="5" y="181"/>
                </a:cxn>
                <a:cxn ang="0">
                  <a:pos x="5" y="176"/>
                </a:cxn>
                <a:cxn ang="0">
                  <a:pos x="1" y="167"/>
                </a:cxn>
                <a:cxn ang="0">
                  <a:pos x="20" y="143"/>
                </a:cxn>
                <a:cxn ang="0">
                  <a:pos x="55" y="111"/>
                </a:cxn>
                <a:cxn ang="0">
                  <a:pos x="65" y="73"/>
                </a:cxn>
                <a:cxn ang="0">
                  <a:pos x="122" y="71"/>
                </a:cxn>
                <a:cxn ang="0">
                  <a:pos x="149" y="69"/>
                </a:cxn>
                <a:cxn ang="0">
                  <a:pos x="170" y="59"/>
                </a:cxn>
                <a:cxn ang="0">
                  <a:pos x="182" y="25"/>
                </a:cxn>
                <a:cxn ang="0">
                  <a:pos x="209" y="2"/>
                </a:cxn>
                <a:cxn ang="0">
                  <a:pos x="259" y="0"/>
                </a:cxn>
              </a:cxnLst>
              <a:rect l="0" t="0" r="r" b="b"/>
              <a:pathLst>
                <a:path w="354" h="388">
                  <a:moveTo>
                    <a:pt x="299" y="0"/>
                  </a:moveTo>
                  <a:lnTo>
                    <a:pt x="301" y="0"/>
                  </a:lnTo>
                  <a:lnTo>
                    <a:pt x="301" y="2"/>
                  </a:lnTo>
                  <a:lnTo>
                    <a:pt x="301" y="4"/>
                  </a:lnTo>
                  <a:lnTo>
                    <a:pt x="299" y="4"/>
                  </a:lnTo>
                  <a:lnTo>
                    <a:pt x="299" y="6"/>
                  </a:lnTo>
                  <a:lnTo>
                    <a:pt x="299" y="7"/>
                  </a:lnTo>
                  <a:lnTo>
                    <a:pt x="299" y="9"/>
                  </a:lnTo>
                  <a:lnTo>
                    <a:pt x="297" y="9"/>
                  </a:lnTo>
                  <a:lnTo>
                    <a:pt x="297" y="9"/>
                  </a:lnTo>
                  <a:lnTo>
                    <a:pt x="295" y="9"/>
                  </a:lnTo>
                  <a:lnTo>
                    <a:pt x="295" y="11"/>
                  </a:lnTo>
                  <a:lnTo>
                    <a:pt x="295" y="13"/>
                  </a:lnTo>
                  <a:lnTo>
                    <a:pt x="295" y="14"/>
                  </a:lnTo>
                  <a:lnTo>
                    <a:pt x="294" y="16"/>
                  </a:lnTo>
                  <a:lnTo>
                    <a:pt x="294" y="18"/>
                  </a:lnTo>
                  <a:lnTo>
                    <a:pt x="294" y="19"/>
                  </a:lnTo>
                  <a:lnTo>
                    <a:pt x="294" y="21"/>
                  </a:lnTo>
                  <a:lnTo>
                    <a:pt x="294" y="23"/>
                  </a:lnTo>
                  <a:lnTo>
                    <a:pt x="292" y="23"/>
                  </a:lnTo>
                  <a:lnTo>
                    <a:pt x="292" y="23"/>
                  </a:lnTo>
                  <a:lnTo>
                    <a:pt x="292" y="25"/>
                  </a:lnTo>
                  <a:lnTo>
                    <a:pt x="290" y="26"/>
                  </a:lnTo>
                  <a:lnTo>
                    <a:pt x="289" y="26"/>
                  </a:lnTo>
                  <a:lnTo>
                    <a:pt x="289" y="28"/>
                  </a:lnTo>
                  <a:lnTo>
                    <a:pt x="289" y="30"/>
                  </a:lnTo>
                  <a:lnTo>
                    <a:pt x="289" y="31"/>
                  </a:lnTo>
                  <a:lnTo>
                    <a:pt x="289" y="33"/>
                  </a:lnTo>
                  <a:lnTo>
                    <a:pt x="289" y="35"/>
                  </a:lnTo>
                  <a:lnTo>
                    <a:pt x="289" y="35"/>
                  </a:lnTo>
                  <a:lnTo>
                    <a:pt x="290" y="37"/>
                  </a:lnTo>
                  <a:lnTo>
                    <a:pt x="290" y="38"/>
                  </a:lnTo>
                  <a:lnTo>
                    <a:pt x="292" y="38"/>
                  </a:lnTo>
                  <a:lnTo>
                    <a:pt x="292" y="42"/>
                  </a:lnTo>
                  <a:lnTo>
                    <a:pt x="294" y="43"/>
                  </a:lnTo>
                  <a:lnTo>
                    <a:pt x="294" y="45"/>
                  </a:lnTo>
                  <a:lnTo>
                    <a:pt x="295" y="45"/>
                  </a:lnTo>
                  <a:lnTo>
                    <a:pt x="295" y="47"/>
                  </a:lnTo>
                  <a:lnTo>
                    <a:pt x="295" y="49"/>
                  </a:lnTo>
                  <a:lnTo>
                    <a:pt x="295" y="50"/>
                  </a:lnTo>
                  <a:lnTo>
                    <a:pt x="297" y="49"/>
                  </a:lnTo>
                  <a:lnTo>
                    <a:pt x="297" y="50"/>
                  </a:lnTo>
                  <a:lnTo>
                    <a:pt x="297" y="52"/>
                  </a:lnTo>
                  <a:lnTo>
                    <a:pt x="299" y="52"/>
                  </a:lnTo>
                  <a:lnTo>
                    <a:pt x="299" y="54"/>
                  </a:lnTo>
                  <a:lnTo>
                    <a:pt x="299" y="54"/>
                  </a:lnTo>
                  <a:lnTo>
                    <a:pt x="301" y="56"/>
                  </a:lnTo>
                  <a:lnTo>
                    <a:pt x="301" y="57"/>
                  </a:lnTo>
                  <a:lnTo>
                    <a:pt x="302" y="57"/>
                  </a:lnTo>
                  <a:lnTo>
                    <a:pt x="302" y="59"/>
                  </a:lnTo>
                  <a:lnTo>
                    <a:pt x="304" y="59"/>
                  </a:lnTo>
                  <a:lnTo>
                    <a:pt x="304" y="57"/>
                  </a:lnTo>
                  <a:lnTo>
                    <a:pt x="304" y="57"/>
                  </a:lnTo>
                  <a:lnTo>
                    <a:pt x="306" y="57"/>
                  </a:lnTo>
                  <a:lnTo>
                    <a:pt x="304" y="57"/>
                  </a:lnTo>
                  <a:lnTo>
                    <a:pt x="306" y="57"/>
                  </a:lnTo>
                  <a:lnTo>
                    <a:pt x="306" y="59"/>
                  </a:lnTo>
                  <a:lnTo>
                    <a:pt x="306" y="61"/>
                  </a:lnTo>
                  <a:lnTo>
                    <a:pt x="304" y="61"/>
                  </a:lnTo>
                  <a:lnTo>
                    <a:pt x="306" y="61"/>
                  </a:lnTo>
                  <a:lnTo>
                    <a:pt x="306" y="62"/>
                  </a:lnTo>
                  <a:lnTo>
                    <a:pt x="306" y="64"/>
                  </a:lnTo>
                  <a:lnTo>
                    <a:pt x="306" y="66"/>
                  </a:lnTo>
                  <a:lnTo>
                    <a:pt x="306" y="68"/>
                  </a:lnTo>
                  <a:lnTo>
                    <a:pt x="306" y="69"/>
                  </a:lnTo>
                  <a:lnTo>
                    <a:pt x="307" y="69"/>
                  </a:lnTo>
                  <a:lnTo>
                    <a:pt x="307" y="68"/>
                  </a:lnTo>
                  <a:lnTo>
                    <a:pt x="307" y="69"/>
                  </a:lnTo>
                  <a:lnTo>
                    <a:pt x="309" y="69"/>
                  </a:lnTo>
                  <a:lnTo>
                    <a:pt x="309" y="69"/>
                  </a:lnTo>
                  <a:lnTo>
                    <a:pt x="309" y="71"/>
                  </a:lnTo>
                  <a:lnTo>
                    <a:pt x="307" y="71"/>
                  </a:lnTo>
                  <a:lnTo>
                    <a:pt x="307" y="73"/>
                  </a:lnTo>
                  <a:lnTo>
                    <a:pt x="309" y="73"/>
                  </a:lnTo>
                  <a:lnTo>
                    <a:pt x="309" y="74"/>
                  </a:lnTo>
                  <a:lnTo>
                    <a:pt x="311" y="74"/>
                  </a:lnTo>
                  <a:lnTo>
                    <a:pt x="311" y="73"/>
                  </a:lnTo>
                  <a:lnTo>
                    <a:pt x="311" y="74"/>
                  </a:lnTo>
                  <a:lnTo>
                    <a:pt x="313" y="74"/>
                  </a:lnTo>
                  <a:lnTo>
                    <a:pt x="314" y="74"/>
                  </a:lnTo>
                  <a:lnTo>
                    <a:pt x="314" y="76"/>
                  </a:lnTo>
                  <a:lnTo>
                    <a:pt x="314" y="78"/>
                  </a:lnTo>
                  <a:lnTo>
                    <a:pt x="314" y="80"/>
                  </a:lnTo>
                  <a:lnTo>
                    <a:pt x="316" y="81"/>
                  </a:lnTo>
                  <a:lnTo>
                    <a:pt x="316" y="83"/>
                  </a:lnTo>
                  <a:lnTo>
                    <a:pt x="316" y="83"/>
                  </a:lnTo>
                  <a:lnTo>
                    <a:pt x="318" y="83"/>
                  </a:lnTo>
                  <a:lnTo>
                    <a:pt x="320" y="83"/>
                  </a:lnTo>
                  <a:lnTo>
                    <a:pt x="320" y="85"/>
                  </a:lnTo>
                  <a:lnTo>
                    <a:pt x="318" y="85"/>
                  </a:lnTo>
                  <a:lnTo>
                    <a:pt x="320" y="85"/>
                  </a:lnTo>
                  <a:lnTo>
                    <a:pt x="320" y="86"/>
                  </a:lnTo>
                  <a:lnTo>
                    <a:pt x="320" y="86"/>
                  </a:lnTo>
                  <a:lnTo>
                    <a:pt x="320" y="88"/>
                  </a:lnTo>
                  <a:lnTo>
                    <a:pt x="321" y="92"/>
                  </a:lnTo>
                  <a:lnTo>
                    <a:pt x="321" y="93"/>
                  </a:lnTo>
                  <a:lnTo>
                    <a:pt x="323" y="93"/>
                  </a:lnTo>
                  <a:lnTo>
                    <a:pt x="323" y="95"/>
                  </a:lnTo>
                  <a:lnTo>
                    <a:pt x="325" y="95"/>
                  </a:lnTo>
                  <a:lnTo>
                    <a:pt x="325" y="97"/>
                  </a:lnTo>
                  <a:lnTo>
                    <a:pt x="325" y="99"/>
                  </a:lnTo>
                  <a:lnTo>
                    <a:pt x="326" y="99"/>
                  </a:lnTo>
                  <a:lnTo>
                    <a:pt x="326" y="99"/>
                  </a:lnTo>
                  <a:lnTo>
                    <a:pt x="328" y="100"/>
                  </a:lnTo>
                  <a:lnTo>
                    <a:pt x="328" y="102"/>
                  </a:lnTo>
                  <a:lnTo>
                    <a:pt x="330" y="102"/>
                  </a:lnTo>
                  <a:lnTo>
                    <a:pt x="330" y="104"/>
                  </a:lnTo>
                  <a:lnTo>
                    <a:pt x="330" y="105"/>
                  </a:lnTo>
                  <a:lnTo>
                    <a:pt x="332" y="105"/>
                  </a:lnTo>
                  <a:lnTo>
                    <a:pt x="332" y="107"/>
                  </a:lnTo>
                  <a:lnTo>
                    <a:pt x="332" y="109"/>
                  </a:lnTo>
                  <a:lnTo>
                    <a:pt x="332" y="111"/>
                  </a:lnTo>
                  <a:lnTo>
                    <a:pt x="330" y="111"/>
                  </a:lnTo>
                  <a:lnTo>
                    <a:pt x="330" y="112"/>
                  </a:lnTo>
                  <a:lnTo>
                    <a:pt x="332" y="112"/>
                  </a:lnTo>
                  <a:lnTo>
                    <a:pt x="330" y="112"/>
                  </a:lnTo>
                  <a:lnTo>
                    <a:pt x="330" y="114"/>
                  </a:lnTo>
                  <a:lnTo>
                    <a:pt x="332" y="114"/>
                  </a:lnTo>
                  <a:lnTo>
                    <a:pt x="332" y="114"/>
                  </a:lnTo>
                  <a:lnTo>
                    <a:pt x="330" y="114"/>
                  </a:lnTo>
                  <a:lnTo>
                    <a:pt x="332" y="114"/>
                  </a:lnTo>
                  <a:lnTo>
                    <a:pt x="333" y="114"/>
                  </a:lnTo>
                  <a:lnTo>
                    <a:pt x="332" y="116"/>
                  </a:lnTo>
                  <a:lnTo>
                    <a:pt x="333" y="116"/>
                  </a:lnTo>
                  <a:lnTo>
                    <a:pt x="333" y="117"/>
                  </a:lnTo>
                  <a:lnTo>
                    <a:pt x="333" y="119"/>
                  </a:lnTo>
                  <a:lnTo>
                    <a:pt x="333" y="119"/>
                  </a:lnTo>
                  <a:lnTo>
                    <a:pt x="333" y="119"/>
                  </a:lnTo>
                  <a:lnTo>
                    <a:pt x="333" y="121"/>
                  </a:lnTo>
                  <a:lnTo>
                    <a:pt x="333" y="121"/>
                  </a:lnTo>
                  <a:lnTo>
                    <a:pt x="333" y="123"/>
                  </a:lnTo>
                  <a:lnTo>
                    <a:pt x="333" y="124"/>
                  </a:lnTo>
                  <a:lnTo>
                    <a:pt x="333" y="126"/>
                  </a:lnTo>
                  <a:lnTo>
                    <a:pt x="333" y="128"/>
                  </a:lnTo>
                  <a:lnTo>
                    <a:pt x="333" y="129"/>
                  </a:lnTo>
                  <a:lnTo>
                    <a:pt x="333" y="129"/>
                  </a:lnTo>
                  <a:lnTo>
                    <a:pt x="333" y="131"/>
                  </a:lnTo>
                  <a:lnTo>
                    <a:pt x="335" y="131"/>
                  </a:lnTo>
                  <a:lnTo>
                    <a:pt x="337" y="131"/>
                  </a:lnTo>
                  <a:lnTo>
                    <a:pt x="337" y="133"/>
                  </a:lnTo>
                  <a:lnTo>
                    <a:pt x="337" y="135"/>
                  </a:lnTo>
                  <a:lnTo>
                    <a:pt x="338" y="135"/>
                  </a:lnTo>
                  <a:lnTo>
                    <a:pt x="338" y="136"/>
                  </a:lnTo>
                  <a:lnTo>
                    <a:pt x="342" y="135"/>
                  </a:lnTo>
                  <a:lnTo>
                    <a:pt x="342" y="136"/>
                  </a:lnTo>
                  <a:lnTo>
                    <a:pt x="344" y="136"/>
                  </a:lnTo>
                  <a:lnTo>
                    <a:pt x="344" y="138"/>
                  </a:lnTo>
                  <a:lnTo>
                    <a:pt x="345" y="138"/>
                  </a:lnTo>
                  <a:lnTo>
                    <a:pt x="345" y="140"/>
                  </a:lnTo>
                  <a:lnTo>
                    <a:pt x="345" y="142"/>
                  </a:lnTo>
                  <a:lnTo>
                    <a:pt x="347" y="142"/>
                  </a:lnTo>
                  <a:lnTo>
                    <a:pt x="347" y="143"/>
                  </a:lnTo>
                  <a:lnTo>
                    <a:pt x="349" y="143"/>
                  </a:lnTo>
                  <a:lnTo>
                    <a:pt x="349" y="142"/>
                  </a:lnTo>
                  <a:lnTo>
                    <a:pt x="349" y="142"/>
                  </a:lnTo>
                  <a:lnTo>
                    <a:pt x="349" y="143"/>
                  </a:lnTo>
                  <a:lnTo>
                    <a:pt x="349" y="143"/>
                  </a:lnTo>
                  <a:lnTo>
                    <a:pt x="349" y="143"/>
                  </a:lnTo>
                  <a:lnTo>
                    <a:pt x="349" y="143"/>
                  </a:lnTo>
                  <a:lnTo>
                    <a:pt x="349" y="145"/>
                  </a:lnTo>
                  <a:lnTo>
                    <a:pt x="349" y="147"/>
                  </a:lnTo>
                  <a:lnTo>
                    <a:pt x="350" y="147"/>
                  </a:lnTo>
                  <a:lnTo>
                    <a:pt x="350" y="148"/>
                  </a:lnTo>
                  <a:lnTo>
                    <a:pt x="352" y="148"/>
                  </a:lnTo>
                  <a:lnTo>
                    <a:pt x="352" y="150"/>
                  </a:lnTo>
                  <a:lnTo>
                    <a:pt x="350" y="152"/>
                  </a:lnTo>
                  <a:lnTo>
                    <a:pt x="350" y="154"/>
                  </a:lnTo>
                  <a:lnTo>
                    <a:pt x="352" y="154"/>
                  </a:lnTo>
                  <a:lnTo>
                    <a:pt x="352" y="155"/>
                  </a:lnTo>
                  <a:lnTo>
                    <a:pt x="352" y="154"/>
                  </a:lnTo>
                  <a:lnTo>
                    <a:pt x="354" y="154"/>
                  </a:lnTo>
                  <a:lnTo>
                    <a:pt x="354" y="155"/>
                  </a:lnTo>
                  <a:lnTo>
                    <a:pt x="352" y="155"/>
                  </a:lnTo>
                  <a:lnTo>
                    <a:pt x="352" y="157"/>
                  </a:lnTo>
                  <a:lnTo>
                    <a:pt x="352" y="159"/>
                  </a:lnTo>
                  <a:lnTo>
                    <a:pt x="350" y="159"/>
                  </a:lnTo>
                  <a:lnTo>
                    <a:pt x="350" y="159"/>
                  </a:lnTo>
                  <a:lnTo>
                    <a:pt x="352" y="159"/>
                  </a:lnTo>
                  <a:lnTo>
                    <a:pt x="352" y="160"/>
                  </a:lnTo>
                  <a:lnTo>
                    <a:pt x="352" y="162"/>
                  </a:lnTo>
                  <a:lnTo>
                    <a:pt x="350" y="162"/>
                  </a:lnTo>
                  <a:lnTo>
                    <a:pt x="350" y="160"/>
                  </a:lnTo>
                  <a:lnTo>
                    <a:pt x="350" y="162"/>
                  </a:lnTo>
                  <a:lnTo>
                    <a:pt x="350" y="164"/>
                  </a:lnTo>
                  <a:lnTo>
                    <a:pt x="350" y="166"/>
                  </a:lnTo>
                  <a:lnTo>
                    <a:pt x="349" y="166"/>
                  </a:lnTo>
                  <a:lnTo>
                    <a:pt x="349" y="167"/>
                  </a:lnTo>
                  <a:lnTo>
                    <a:pt x="350" y="167"/>
                  </a:lnTo>
                  <a:lnTo>
                    <a:pt x="350" y="169"/>
                  </a:lnTo>
                  <a:lnTo>
                    <a:pt x="349" y="171"/>
                  </a:lnTo>
                  <a:lnTo>
                    <a:pt x="350" y="171"/>
                  </a:lnTo>
                  <a:lnTo>
                    <a:pt x="350" y="173"/>
                  </a:lnTo>
                  <a:lnTo>
                    <a:pt x="349" y="173"/>
                  </a:lnTo>
                  <a:lnTo>
                    <a:pt x="349" y="174"/>
                  </a:lnTo>
                  <a:lnTo>
                    <a:pt x="350" y="174"/>
                  </a:lnTo>
                  <a:lnTo>
                    <a:pt x="350" y="176"/>
                  </a:lnTo>
                  <a:lnTo>
                    <a:pt x="350" y="178"/>
                  </a:lnTo>
                  <a:lnTo>
                    <a:pt x="350" y="179"/>
                  </a:lnTo>
                  <a:lnTo>
                    <a:pt x="352" y="179"/>
                  </a:lnTo>
                  <a:lnTo>
                    <a:pt x="352" y="181"/>
                  </a:lnTo>
                  <a:lnTo>
                    <a:pt x="354" y="181"/>
                  </a:lnTo>
                  <a:lnTo>
                    <a:pt x="354" y="183"/>
                  </a:lnTo>
                  <a:lnTo>
                    <a:pt x="354" y="185"/>
                  </a:lnTo>
                  <a:lnTo>
                    <a:pt x="352" y="183"/>
                  </a:lnTo>
                  <a:lnTo>
                    <a:pt x="352" y="185"/>
                  </a:lnTo>
                  <a:lnTo>
                    <a:pt x="350" y="185"/>
                  </a:lnTo>
                  <a:lnTo>
                    <a:pt x="350" y="186"/>
                  </a:lnTo>
                  <a:lnTo>
                    <a:pt x="349" y="186"/>
                  </a:lnTo>
                  <a:lnTo>
                    <a:pt x="349" y="188"/>
                  </a:lnTo>
                  <a:lnTo>
                    <a:pt x="350" y="188"/>
                  </a:lnTo>
                  <a:lnTo>
                    <a:pt x="350" y="190"/>
                  </a:lnTo>
                  <a:lnTo>
                    <a:pt x="349" y="190"/>
                  </a:lnTo>
                  <a:lnTo>
                    <a:pt x="349" y="190"/>
                  </a:lnTo>
                  <a:lnTo>
                    <a:pt x="349" y="190"/>
                  </a:lnTo>
                  <a:lnTo>
                    <a:pt x="349" y="191"/>
                  </a:lnTo>
                  <a:lnTo>
                    <a:pt x="349" y="193"/>
                  </a:lnTo>
                  <a:lnTo>
                    <a:pt x="349" y="193"/>
                  </a:lnTo>
                  <a:lnTo>
                    <a:pt x="349" y="195"/>
                  </a:lnTo>
                  <a:lnTo>
                    <a:pt x="350" y="195"/>
                  </a:lnTo>
                  <a:lnTo>
                    <a:pt x="350" y="197"/>
                  </a:lnTo>
                  <a:lnTo>
                    <a:pt x="352" y="197"/>
                  </a:lnTo>
                  <a:lnTo>
                    <a:pt x="350" y="197"/>
                  </a:lnTo>
                  <a:lnTo>
                    <a:pt x="350" y="198"/>
                  </a:lnTo>
                  <a:lnTo>
                    <a:pt x="352" y="200"/>
                  </a:lnTo>
                  <a:lnTo>
                    <a:pt x="352" y="202"/>
                  </a:lnTo>
                  <a:lnTo>
                    <a:pt x="352" y="200"/>
                  </a:lnTo>
                  <a:lnTo>
                    <a:pt x="350" y="202"/>
                  </a:lnTo>
                  <a:lnTo>
                    <a:pt x="350" y="203"/>
                  </a:lnTo>
                  <a:lnTo>
                    <a:pt x="345" y="203"/>
                  </a:lnTo>
                  <a:lnTo>
                    <a:pt x="344" y="203"/>
                  </a:lnTo>
                  <a:lnTo>
                    <a:pt x="345" y="217"/>
                  </a:lnTo>
                  <a:lnTo>
                    <a:pt x="345" y="219"/>
                  </a:lnTo>
                  <a:lnTo>
                    <a:pt x="345" y="219"/>
                  </a:lnTo>
                  <a:lnTo>
                    <a:pt x="347" y="240"/>
                  </a:lnTo>
                  <a:lnTo>
                    <a:pt x="347" y="243"/>
                  </a:lnTo>
                  <a:lnTo>
                    <a:pt x="347" y="248"/>
                  </a:lnTo>
                  <a:lnTo>
                    <a:pt x="347" y="260"/>
                  </a:lnTo>
                  <a:lnTo>
                    <a:pt x="349" y="265"/>
                  </a:lnTo>
                  <a:lnTo>
                    <a:pt x="349" y="269"/>
                  </a:lnTo>
                  <a:lnTo>
                    <a:pt x="349" y="272"/>
                  </a:lnTo>
                  <a:lnTo>
                    <a:pt x="349" y="274"/>
                  </a:lnTo>
                  <a:lnTo>
                    <a:pt x="349" y="276"/>
                  </a:lnTo>
                  <a:lnTo>
                    <a:pt x="349" y="277"/>
                  </a:lnTo>
                  <a:lnTo>
                    <a:pt x="349" y="279"/>
                  </a:lnTo>
                  <a:lnTo>
                    <a:pt x="349" y="281"/>
                  </a:lnTo>
                  <a:lnTo>
                    <a:pt x="349" y="288"/>
                  </a:lnTo>
                  <a:lnTo>
                    <a:pt x="349" y="293"/>
                  </a:lnTo>
                  <a:lnTo>
                    <a:pt x="349" y="295"/>
                  </a:lnTo>
                  <a:lnTo>
                    <a:pt x="349" y="295"/>
                  </a:lnTo>
                  <a:lnTo>
                    <a:pt x="349" y="298"/>
                  </a:lnTo>
                  <a:lnTo>
                    <a:pt x="349" y="310"/>
                  </a:lnTo>
                  <a:lnTo>
                    <a:pt x="349" y="314"/>
                  </a:lnTo>
                  <a:lnTo>
                    <a:pt x="349" y="326"/>
                  </a:lnTo>
                  <a:lnTo>
                    <a:pt x="350" y="336"/>
                  </a:lnTo>
                  <a:lnTo>
                    <a:pt x="350" y="338"/>
                  </a:lnTo>
                  <a:lnTo>
                    <a:pt x="350" y="339"/>
                  </a:lnTo>
                  <a:lnTo>
                    <a:pt x="350" y="348"/>
                  </a:lnTo>
                  <a:lnTo>
                    <a:pt x="350" y="355"/>
                  </a:lnTo>
                  <a:lnTo>
                    <a:pt x="350" y="358"/>
                  </a:lnTo>
                  <a:lnTo>
                    <a:pt x="350" y="360"/>
                  </a:lnTo>
                  <a:lnTo>
                    <a:pt x="350" y="367"/>
                  </a:lnTo>
                  <a:lnTo>
                    <a:pt x="352" y="370"/>
                  </a:lnTo>
                  <a:lnTo>
                    <a:pt x="352" y="376"/>
                  </a:lnTo>
                  <a:lnTo>
                    <a:pt x="352" y="382"/>
                  </a:lnTo>
                  <a:lnTo>
                    <a:pt x="347" y="382"/>
                  </a:lnTo>
                  <a:lnTo>
                    <a:pt x="340" y="382"/>
                  </a:lnTo>
                  <a:lnTo>
                    <a:pt x="337" y="382"/>
                  </a:lnTo>
                  <a:lnTo>
                    <a:pt x="335" y="382"/>
                  </a:lnTo>
                  <a:lnTo>
                    <a:pt x="333" y="382"/>
                  </a:lnTo>
                  <a:lnTo>
                    <a:pt x="333" y="382"/>
                  </a:lnTo>
                  <a:lnTo>
                    <a:pt x="330" y="382"/>
                  </a:lnTo>
                  <a:lnTo>
                    <a:pt x="321" y="382"/>
                  </a:lnTo>
                  <a:lnTo>
                    <a:pt x="320" y="384"/>
                  </a:lnTo>
                  <a:lnTo>
                    <a:pt x="316" y="384"/>
                  </a:lnTo>
                  <a:lnTo>
                    <a:pt x="307" y="384"/>
                  </a:lnTo>
                  <a:lnTo>
                    <a:pt x="306" y="384"/>
                  </a:lnTo>
                  <a:lnTo>
                    <a:pt x="301" y="384"/>
                  </a:lnTo>
                  <a:lnTo>
                    <a:pt x="295" y="384"/>
                  </a:lnTo>
                  <a:lnTo>
                    <a:pt x="290" y="384"/>
                  </a:lnTo>
                  <a:lnTo>
                    <a:pt x="285" y="384"/>
                  </a:lnTo>
                  <a:lnTo>
                    <a:pt x="283" y="384"/>
                  </a:lnTo>
                  <a:lnTo>
                    <a:pt x="280" y="384"/>
                  </a:lnTo>
                  <a:lnTo>
                    <a:pt x="277" y="384"/>
                  </a:lnTo>
                  <a:lnTo>
                    <a:pt x="275" y="384"/>
                  </a:lnTo>
                  <a:lnTo>
                    <a:pt x="273" y="386"/>
                  </a:lnTo>
                  <a:lnTo>
                    <a:pt x="273" y="386"/>
                  </a:lnTo>
                  <a:lnTo>
                    <a:pt x="271" y="386"/>
                  </a:lnTo>
                  <a:lnTo>
                    <a:pt x="270" y="386"/>
                  </a:lnTo>
                  <a:lnTo>
                    <a:pt x="268" y="386"/>
                  </a:lnTo>
                  <a:lnTo>
                    <a:pt x="266" y="386"/>
                  </a:lnTo>
                  <a:lnTo>
                    <a:pt x="264" y="386"/>
                  </a:lnTo>
                  <a:lnTo>
                    <a:pt x="263" y="386"/>
                  </a:lnTo>
                  <a:lnTo>
                    <a:pt x="261" y="386"/>
                  </a:lnTo>
                  <a:lnTo>
                    <a:pt x="259" y="386"/>
                  </a:lnTo>
                  <a:lnTo>
                    <a:pt x="258" y="386"/>
                  </a:lnTo>
                  <a:lnTo>
                    <a:pt x="258" y="386"/>
                  </a:lnTo>
                  <a:lnTo>
                    <a:pt x="256" y="386"/>
                  </a:lnTo>
                  <a:lnTo>
                    <a:pt x="254" y="386"/>
                  </a:lnTo>
                  <a:lnTo>
                    <a:pt x="251" y="386"/>
                  </a:lnTo>
                  <a:lnTo>
                    <a:pt x="247" y="386"/>
                  </a:lnTo>
                  <a:lnTo>
                    <a:pt x="244" y="386"/>
                  </a:lnTo>
                  <a:lnTo>
                    <a:pt x="240" y="386"/>
                  </a:lnTo>
                  <a:lnTo>
                    <a:pt x="237" y="386"/>
                  </a:lnTo>
                  <a:lnTo>
                    <a:pt x="234" y="386"/>
                  </a:lnTo>
                  <a:lnTo>
                    <a:pt x="228" y="386"/>
                  </a:lnTo>
                  <a:lnTo>
                    <a:pt x="227" y="386"/>
                  </a:lnTo>
                  <a:lnTo>
                    <a:pt x="216" y="386"/>
                  </a:lnTo>
                  <a:lnTo>
                    <a:pt x="211" y="386"/>
                  </a:lnTo>
                  <a:lnTo>
                    <a:pt x="204" y="386"/>
                  </a:lnTo>
                  <a:lnTo>
                    <a:pt x="194" y="386"/>
                  </a:lnTo>
                  <a:lnTo>
                    <a:pt x="192" y="386"/>
                  </a:lnTo>
                  <a:lnTo>
                    <a:pt x="189" y="386"/>
                  </a:lnTo>
                  <a:lnTo>
                    <a:pt x="187" y="386"/>
                  </a:lnTo>
                  <a:lnTo>
                    <a:pt x="185" y="386"/>
                  </a:lnTo>
                  <a:lnTo>
                    <a:pt x="177" y="386"/>
                  </a:lnTo>
                  <a:lnTo>
                    <a:pt x="172" y="386"/>
                  </a:lnTo>
                  <a:lnTo>
                    <a:pt x="168" y="386"/>
                  </a:lnTo>
                  <a:lnTo>
                    <a:pt x="166" y="386"/>
                  </a:lnTo>
                  <a:lnTo>
                    <a:pt x="161" y="386"/>
                  </a:lnTo>
                  <a:lnTo>
                    <a:pt x="154" y="386"/>
                  </a:lnTo>
                  <a:lnTo>
                    <a:pt x="153" y="386"/>
                  </a:lnTo>
                  <a:lnTo>
                    <a:pt x="149" y="386"/>
                  </a:lnTo>
                  <a:lnTo>
                    <a:pt x="146" y="386"/>
                  </a:lnTo>
                  <a:lnTo>
                    <a:pt x="144" y="386"/>
                  </a:lnTo>
                  <a:lnTo>
                    <a:pt x="141" y="386"/>
                  </a:lnTo>
                  <a:lnTo>
                    <a:pt x="137" y="386"/>
                  </a:lnTo>
                  <a:lnTo>
                    <a:pt x="135" y="386"/>
                  </a:lnTo>
                  <a:lnTo>
                    <a:pt x="130" y="386"/>
                  </a:lnTo>
                  <a:lnTo>
                    <a:pt x="122" y="386"/>
                  </a:lnTo>
                  <a:lnTo>
                    <a:pt x="115" y="386"/>
                  </a:lnTo>
                  <a:lnTo>
                    <a:pt x="108" y="386"/>
                  </a:lnTo>
                  <a:lnTo>
                    <a:pt x="105" y="386"/>
                  </a:lnTo>
                  <a:lnTo>
                    <a:pt x="98" y="386"/>
                  </a:lnTo>
                  <a:lnTo>
                    <a:pt x="96" y="386"/>
                  </a:lnTo>
                  <a:lnTo>
                    <a:pt x="94" y="388"/>
                  </a:lnTo>
                  <a:lnTo>
                    <a:pt x="92" y="388"/>
                  </a:lnTo>
                  <a:lnTo>
                    <a:pt x="91" y="388"/>
                  </a:lnTo>
                  <a:lnTo>
                    <a:pt x="87" y="388"/>
                  </a:lnTo>
                  <a:lnTo>
                    <a:pt x="80" y="388"/>
                  </a:lnTo>
                  <a:lnTo>
                    <a:pt x="75" y="388"/>
                  </a:lnTo>
                  <a:lnTo>
                    <a:pt x="75" y="386"/>
                  </a:lnTo>
                  <a:lnTo>
                    <a:pt x="77" y="386"/>
                  </a:lnTo>
                  <a:lnTo>
                    <a:pt x="77" y="386"/>
                  </a:lnTo>
                  <a:lnTo>
                    <a:pt x="77" y="386"/>
                  </a:lnTo>
                  <a:lnTo>
                    <a:pt x="77" y="386"/>
                  </a:lnTo>
                  <a:lnTo>
                    <a:pt x="77" y="384"/>
                  </a:lnTo>
                  <a:lnTo>
                    <a:pt x="79" y="382"/>
                  </a:lnTo>
                  <a:lnTo>
                    <a:pt x="77" y="382"/>
                  </a:lnTo>
                  <a:lnTo>
                    <a:pt x="77" y="381"/>
                  </a:lnTo>
                  <a:lnTo>
                    <a:pt x="77" y="381"/>
                  </a:lnTo>
                  <a:lnTo>
                    <a:pt x="77" y="382"/>
                  </a:lnTo>
                  <a:lnTo>
                    <a:pt x="75" y="382"/>
                  </a:lnTo>
                  <a:lnTo>
                    <a:pt x="75" y="381"/>
                  </a:lnTo>
                  <a:lnTo>
                    <a:pt x="77" y="381"/>
                  </a:lnTo>
                  <a:lnTo>
                    <a:pt x="77" y="381"/>
                  </a:lnTo>
                  <a:lnTo>
                    <a:pt x="79" y="381"/>
                  </a:lnTo>
                  <a:lnTo>
                    <a:pt x="80" y="381"/>
                  </a:lnTo>
                  <a:lnTo>
                    <a:pt x="80" y="379"/>
                  </a:lnTo>
                  <a:lnTo>
                    <a:pt x="80" y="377"/>
                  </a:lnTo>
                  <a:lnTo>
                    <a:pt x="79" y="377"/>
                  </a:lnTo>
                  <a:lnTo>
                    <a:pt x="79" y="376"/>
                  </a:lnTo>
                  <a:lnTo>
                    <a:pt x="80" y="376"/>
                  </a:lnTo>
                  <a:lnTo>
                    <a:pt x="79" y="374"/>
                  </a:lnTo>
                  <a:lnTo>
                    <a:pt x="77" y="374"/>
                  </a:lnTo>
                  <a:lnTo>
                    <a:pt x="77" y="374"/>
                  </a:lnTo>
                  <a:lnTo>
                    <a:pt x="77" y="372"/>
                  </a:lnTo>
                  <a:lnTo>
                    <a:pt x="77" y="370"/>
                  </a:lnTo>
                  <a:lnTo>
                    <a:pt x="77" y="370"/>
                  </a:lnTo>
                  <a:lnTo>
                    <a:pt x="75" y="369"/>
                  </a:lnTo>
                  <a:lnTo>
                    <a:pt x="77" y="367"/>
                  </a:lnTo>
                  <a:lnTo>
                    <a:pt x="77" y="369"/>
                  </a:lnTo>
                  <a:lnTo>
                    <a:pt x="77" y="369"/>
                  </a:lnTo>
                  <a:lnTo>
                    <a:pt x="79" y="367"/>
                  </a:lnTo>
                  <a:lnTo>
                    <a:pt x="80" y="367"/>
                  </a:lnTo>
                  <a:lnTo>
                    <a:pt x="82" y="365"/>
                  </a:lnTo>
                  <a:lnTo>
                    <a:pt x="82" y="363"/>
                  </a:lnTo>
                  <a:lnTo>
                    <a:pt x="82" y="362"/>
                  </a:lnTo>
                  <a:lnTo>
                    <a:pt x="82" y="360"/>
                  </a:lnTo>
                  <a:lnTo>
                    <a:pt x="80" y="360"/>
                  </a:lnTo>
                  <a:lnTo>
                    <a:pt x="79" y="360"/>
                  </a:lnTo>
                  <a:lnTo>
                    <a:pt x="77" y="360"/>
                  </a:lnTo>
                  <a:lnTo>
                    <a:pt x="77" y="358"/>
                  </a:lnTo>
                  <a:lnTo>
                    <a:pt x="79" y="358"/>
                  </a:lnTo>
                  <a:lnTo>
                    <a:pt x="79" y="357"/>
                  </a:lnTo>
                  <a:lnTo>
                    <a:pt x="77" y="357"/>
                  </a:lnTo>
                  <a:lnTo>
                    <a:pt x="77" y="357"/>
                  </a:lnTo>
                  <a:lnTo>
                    <a:pt x="75" y="357"/>
                  </a:lnTo>
                  <a:lnTo>
                    <a:pt x="74" y="355"/>
                  </a:lnTo>
                  <a:lnTo>
                    <a:pt x="75" y="355"/>
                  </a:lnTo>
                  <a:lnTo>
                    <a:pt x="77" y="355"/>
                  </a:lnTo>
                  <a:lnTo>
                    <a:pt x="77" y="355"/>
                  </a:lnTo>
                  <a:lnTo>
                    <a:pt x="75" y="355"/>
                  </a:lnTo>
                  <a:lnTo>
                    <a:pt x="74" y="353"/>
                  </a:lnTo>
                  <a:lnTo>
                    <a:pt x="74" y="351"/>
                  </a:lnTo>
                  <a:lnTo>
                    <a:pt x="75" y="351"/>
                  </a:lnTo>
                  <a:lnTo>
                    <a:pt x="77" y="351"/>
                  </a:lnTo>
                  <a:lnTo>
                    <a:pt x="77" y="351"/>
                  </a:lnTo>
                  <a:lnTo>
                    <a:pt x="77" y="350"/>
                  </a:lnTo>
                  <a:lnTo>
                    <a:pt x="77" y="350"/>
                  </a:lnTo>
                  <a:lnTo>
                    <a:pt x="75" y="350"/>
                  </a:lnTo>
                  <a:lnTo>
                    <a:pt x="74" y="348"/>
                  </a:lnTo>
                  <a:lnTo>
                    <a:pt x="74" y="346"/>
                  </a:lnTo>
                  <a:lnTo>
                    <a:pt x="75" y="346"/>
                  </a:lnTo>
                  <a:lnTo>
                    <a:pt x="77" y="346"/>
                  </a:lnTo>
                  <a:lnTo>
                    <a:pt x="77" y="345"/>
                  </a:lnTo>
                  <a:lnTo>
                    <a:pt x="77" y="345"/>
                  </a:lnTo>
                  <a:lnTo>
                    <a:pt x="79" y="345"/>
                  </a:lnTo>
                  <a:lnTo>
                    <a:pt x="77" y="343"/>
                  </a:lnTo>
                  <a:lnTo>
                    <a:pt x="77" y="341"/>
                  </a:lnTo>
                  <a:lnTo>
                    <a:pt x="77" y="341"/>
                  </a:lnTo>
                  <a:lnTo>
                    <a:pt x="75" y="341"/>
                  </a:lnTo>
                  <a:lnTo>
                    <a:pt x="75" y="339"/>
                  </a:lnTo>
                  <a:lnTo>
                    <a:pt x="77" y="339"/>
                  </a:lnTo>
                  <a:lnTo>
                    <a:pt x="77" y="339"/>
                  </a:lnTo>
                  <a:lnTo>
                    <a:pt x="79" y="339"/>
                  </a:lnTo>
                  <a:lnTo>
                    <a:pt x="79" y="339"/>
                  </a:lnTo>
                  <a:lnTo>
                    <a:pt x="79" y="338"/>
                  </a:lnTo>
                  <a:lnTo>
                    <a:pt x="77" y="338"/>
                  </a:lnTo>
                  <a:lnTo>
                    <a:pt x="77" y="336"/>
                  </a:lnTo>
                  <a:lnTo>
                    <a:pt x="77" y="336"/>
                  </a:lnTo>
                  <a:lnTo>
                    <a:pt x="77" y="338"/>
                  </a:lnTo>
                  <a:lnTo>
                    <a:pt x="77" y="339"/>
                  </a:lnTo>
                  <a:lnTo>
                    <a:pt x="75" y="339"/>
                  </a:lnTo>
                  <a:lnTo>
                    <a:pt x="75" y="338"/>
                  </a:lnTo>
                  <a:lnTo>
                    <a:pt x="75" y="336"/>
                  </a:lnTo>
                  <a:lnTo>
                    <a:pt x="74" y="336"/>
                  </a:lnTo>
                  <a:lnTo>
                    <a:pt x="72" y="336"/>
                  </a:lnTo>
                  <a:lnTo>
                    <a:pt x="72" y="334"/>
                  </a:lnTo>
                  <a:lnTo>
                    <a:pt x="70" y="334"/>
                  </a:lnTo>
                  <a:lnTo>
                    <a:pt x="70" y="332"/>
                  </a:lnTo>
                  <a:lnTo>
                    <a:pt x="70" y="331"/>
                  </a:lnTo>
                  <a:lnTo>
                    <a:pt x="70" y="329"/>
                  </a:lnTo>
                  <a:lnTo>
                    <a:pt x="72" y="329"/>
                  </a:lnTo>
                  <a:lnTo>
                    <a:pt x="72" y="327"/>
                  </a:lnTo>
                  <a:lnTo>
                    <a:pt x="74" y="327"/>
                  </a:lnTo>
                  <a:lnTo>
                    <a:pt x="74" y="326"/>
                  </a:lnTo>
                  <a:lnTo>
                    <a:pt x="72" y="326"/>
                  </a:lnTo>
                  <a:lnTo>
                    <a:pt x="72" y="327"/>
                  </a:lnTo>
                  <a:lnTo>
                    <a:pt x="70" y="327"/>
                  </a:lnTo>
                  <a:lnTo>
                    <a:pt x="70" y="326"/>
                  </a:lnTo>
                  <a:lnTo>
                    <a:pt x="70" y="326"/>
                  </a:lnTo>
                  <a:lnTo>
                    <a:pt x="72" y="324"/>
                  </a:lnTo>
                  <a:lnTo>
                    <a:pt x="72" y="322"/>
                  </a:lnTo>
                  <a:lnTo>
                    <a:pt x="70" y="322"/>
                  </a:lnTo>
                  <a:lnTo>
                    <a:pt x="70" y="324"/>
                  </a:lnTo>
                  <a:lnTo>
                    <a:pt x="68" y="324"/>
                  </a:lnTo>
                  <a:lnTo>
                    <a:pt x="68" y="322"/>
                  </a:lnTo>
                  <a:lnTo>
                    <a:pt x="68" y="320"/>
                  </a:lnTo>
                  <a:lnTo>
                    <a:pt x="67" y="320"/>
                  </a:lnTo>
                  <a:lnTo>
                    <a:pt x="67" y="319"/>
                  </a:lnTo>
                  <a:lnTo>
                    <a:pt x="67" y="317"/>
                  </a:lnTo>
                  <a:lnTo>
                    <a:pt x="65" y="317"/>
                  </a:lnTo>
                  <a:lnTo>
                    <a:pt x="63" y="317"/>
                  </a:lnTo>
                  <a:lnTo>
                    <a:pt x="63" y="315"/>
                  </a:lnTo>
                  <a:lnTo>
                    <a:pt x="63" y="315"/>
                  </a:lnTo>
                  <a:lnTo>
                    <a:pt x="63" y="315"/>
                  </a:lnTo>
                  <a:lnTo>
                    <a:pt x="65" y="315"/>
                  </a:lnTo>
                  <a:lnTo>
                    <a:pt x="63" y="315"/>
                  </a:lnTo>
                  <a:lnTo>
                    <a:pt x="63" y="314"/>
                  </a:lnTo>
                  <a:lnTo>
                    <a:pt x="63" y="312"/>
                  </a:lnTo>
                  <a:lnTo>
                    <a:pt x="63" y="312"/>
                  </a:lnTo>
                  <a:lnTo>
                    <a:pt x="63" y="310"/>
                  </a:lnTo>
                  <a:lnTo>
                    <a:pt x="63" y="310"/>
                  </a:lnTo>
                  <a:lnTo>
                    <a:pt x="63" y="310"/>
                  </a:lnTo>
                  <a:lnTo>
                    <a:pt x="63" y="308"/>
                  </a:lnTo>
                  <a:lnTo>
                    <a:pt x="62" y="308"/>
                  </a:lnTo>
                  <a:lnTo>
                    <a:pt x="60" y="308"/>
                  </a:lnTo>
                  <a:lnTo>
                    <a:pt x="62" y="307"/>
                  </a:lnTo>
                  <a:lnTo>
                    <a:pt x="60" y="305"/>
                  </a:lnTo>
                  <a:lnTo>
                    <a:pt x="60" y="303"/>
                  </a:lnTo>
                  <a:lnTo>
                    <a:pt x="62" y="303"/>
                  </a:lnTo>
                  <a:lnTo>
                    <a:pt x="60" y="303"/>
                  </a:lnTo>
                  <a:lnTo>
                    <a:pt x="58" y="303"/>
                  </a:lnTo>
                  <a:lnTo>
                    <a:pt x="56" y="303"/>
                  </a:lnTo>
                  <a:lnTo>
                    <a:pt x="55" y="303"/>
                  </a:lnTo>
                  <a:lnTo>
                    <a:pt x="55" y="302"/>
                  </a:lnTo>
                  <a:lnTo>
                    <a:pt x="53" y="302"/>
                  </a:lnTo>
                  <a:lnTo>
                    <a:pt x="53" y="300"/>
                  </a:lnTo>
                  <a:lnTo>
                    <a:pt x="55" y="300"/>
                  </a:lnTo>
                  <a:lnTo>
                    <a:pt x="56" y="300"/>
                  </a:lnTo>
                  <a:lnTo>
                    <a:pt x="58" y="298"/>
                  </a:lnTo>
                  <a:lnTo>
                    <a:pt x="56" y="298"/>
                  </a:lnTo>
                  <a:lnTo>
                    <a:pt x="55" y="298"/>
                  </a:lnTo>
                  <a:lnTo>
                    <a:pt x="55" y="296"/>
                  </a:lnTo>
                  <a:lnTo>
                    <a:pt x="56" y="295"/>
                  </a:lnTo>
                  <a:lnTo>
                    <a:pt x="55" y="295"/>
                  </a:lnTo>
                  <a:lnTo>
                    <a:pt x="53" y="295"/>
                  </a:lnTo>
                  <a:lnTo>
                    <a:pt x="53" y="295"/>
                  </a:lnTo>
                  <a:lnTo>
                    <a:pt x="51" y="295"/>
                  </a:lnTo>
                  <a:lnTo>
                    <a:pt x="49" y="293"/>
                  </a:lnTo>
                  <a:lnTo>
                    <a:pt x="48" y="293"/>
                  </a:lnTo>
                  <a:lnTo>
                    <a:pt x="48" y="291"/>
                  </a:lnTo>
                  <a:lnTo>
                    <a:pt x="48" y="293"/>
                  </a:lnTo>
                  <a:lnTo>
                    <a:pt x="49" y="291"/>
                  </a:lnTo>
                  <a:lnTo>
                    <a:pt x="51" y="291"/>
                  </a:lnTo>
                  <a:lnTo>
                    <a:pt x="49" y="289"/>
                  </a:lnTo>
                  <a:lnTo>
                    <a:pt x="49" y="288"/>
                  </a:lnTo>
                  <a:lnTo>
                    <a:pt x="48" y="288"/>
                  </a:lnTo>
                  <a:lnTo>
                    <a:pt x="48" y="288"/>
                  </a:lnTo>
                  <a:lnTo>
                    <a:pt x="46" y="288"/>
                  </a:lnTo>
                  <a:lnTo>
                    <a:pt x="46" y="286"/>
                  </a:lnTo>
                  <a:lnTo>
                    <a:pt x="48" y="284"/>
                  </a:lnTo>
                  <a:lnTo>
                    <a:pt x="48" y="283"/>
                  </a:lnTo>
                  <a:lnTo>
                    <a:pt x="48" y="281"/>
                  </a:lnTo>
                  <a:lnTo>
                    <a:pt x="48" y="279"/>
                  </a:lnTo>
                  <a:lnTo>
                    <a:pt x="46" y="279"/>
                  </a:lnTo>
                  <a:lnTo>
                    <a:pt x="46" y="281"/>
                  </a:lnTo>
                  <a:lnTo>
                    <a:pt x="44" y="281"/>
                  </a:lnTo>
                  <a:lnTo>
                    <a:pt x="44" y="283"/>
                  </a:lnTo>
                  <a:lnTo>
                    <a:pt x="43" y="283"/>
                  </a:lnTo>
                  <a:lnTo>
                    <a:pt x="43" y="281"/>
                  </a:lnTo>
                  <a:lnTo>
                    <a:pt x="41" y="281"/>
                  </a:lnTo>
                  <a:lnTo>
                    <a:pt x="41" y="279"/>
                  </a:lnTo>
                  <a:lnTo>
                    <a:pt x="41" y="279"/>
                  </a:lnTo>
                  <a:lnTo>
                    <a:pt x="39" y="279"/>
                  </a:lnTo>
                  <a:lnTo>
                    <a:pt x="39" y="279"/>
                  </a:lnTo>
                  <a:lnTo>
                    <a:pt x="37" y="279"/>
                  </a:lnTo>
                  <a:lnTo>
                    <a:pt x="36" y="279"/>
                  </a:lnTo>
                  <a:lnTo>
                    <a:pt x="36" y="279"/>
                  </a:lnTo>
                  <a:lnTo>
                    <a:pt x="37" y="279"/>
                  </a:lnTo>
                  <a:lnTo>
                    <a:pt x="37" y="277"/>
                  </a:lnTo>
                  <a:lnTo>
                    <a:pt x="39" y="277"/>
                  </a:lnTo>
                  <a:lnTo>
                    <a:pt x="39" y="276"/>
                  </a:lnTo>
                  <a:lnTo>
                    <a:pt x="39" y="274"/>
                  </a:lnTo>
                  <a:lnTo>
                    <a:pt x="39" y="272"/>
                  </a:lnTo>
                  <a:lnTo>
                    <a:pt x="39" y="271"/>
                  </a:lnTo>
                  <a:lnTo>
                    <a:pt x="37" y="271"/>
                  </a:lnTo>
                  <a:lnTo>
                    <a:pt x="37" y="269"/>
                  </a:lnTo>
                  <a:lnTo>
                    <a:pt x="39" y="269"/>
                  </a:lnTo>
                  <a:lnTo>
                    <a:pt x="39" y="267"/>
                  </a:lnTo>
                  <a:lnTo>
                    <a:pt x="39" y="265"/>
                  </a:lnTo>
                  <a:lnTo>
                    <a:pt x="37" y="265"/>
                  </a:lnTo>
                  <a:lnTo>
                    <a:pt x="37" y="264"/>
                  </a:lnTo>
                  <a:lnTo>
                    <a:pt x="37" y="264"/>
                  </a:lnTo>
                  <a:lnTo>
                    <a:pt x="39" y="264"/>
                  </a:lnTo>
                  <a:lnTo>
                    <a:pt x="39" y="264"/>
                  </a:lnTo>
                  <a:lnTo>
                    <a:pt x="41" y="264"/>
                  </a:lnTo>
                  <a:lnTo>
                    <a:pt x="41" y="264"/>
                  </a:lnTo>
                  <a:lnTo>
                    <a:pt x="39" y="264"/>
                  </a:lnTo>
                  <a:lnTo>
                    <a:pt x="39" y="262"/>
                  </a:lnTo>
                  <a:lnTo>
                    <a:pt x="39" y="260"/>
                  </a:lnTo>
                  <a:lnTo>
                    <a:pt x="37" y="260"/>
                  </a:lnTo>
                  <a:lnTo>
                    <a:pt x="37" y="259"/>
                  </a:lnTo>
                  <a:lnTo>
                    <a:pt x="36" y="259"/>
                  </a:lnTo>
                  <a:lnTo>
                    <a:pt x="36" y="257"/>
                  </a:lnTo>
                  <a:lnTo>
                    <a:pt x="37" y="257"/>
                  </a:lnTo>
                  <a:lnTo>
                    <a:pt x="39" y="257"/>
                  </a:lnTo>
                  <a:lnTo>
                    <a:pt x="41" y="257"/>
                  </a:lnTo>
                  <a:lnTo>
                    <a:pt x="41" y="255"/>
                  </a:lnTo>
                  <a:lnTo>
                    <a:pt x="39" y="255"/>
                  </a:lnTo>
                  <a:lnTo>
                    <a:pt x="39" y="253"/>
                  </a:lnTo>
                  <a:lnTo>
                    <a:pt x="37" y="253"/>
                  </a:lnTo>
                  <a:lnTo>
                    <a:pt x="37" y="252"/>
                  </a:lnTo>
                  <a:lnTo>
                    <a:pt x="36" y="252"/>
                  </a:lnTo>
                  <a:lnTo>
                    <a:pt x="34" y="252"/>
                  </a:lnTo>
                  <a:lnTo>
                    <a:pt x="32" y="252"/>
                  </a:lnTo>
                  <a:lnTo>
                    <a:pt x="32" y="250"/>
                  </a:lnTo>
                  <a:lnTo>
                    <a:pt x="34" y="250"/>
                  </a:lnTo>
                  <a:lnTo>
                    <a:pt x="34" y="250"/>
                  </a:lnTo>
                  <a:lnTo>
                    <a:pt x="32" y="250"/>
                  </a:lnTo>
                  <a:lnTo>
                    <a:pt x="32" y="250"/>
                  </a:lnTo>
                  <a:lnTo>
                    <a:pt x="31" y="250"/>
                  </a:lnTo>
                  <a:lnTo>
                    <a:pt x="31" y="248"/>
                  </a:lnTo>
                  <a:lnTo>
                    <a:pt x="29" y="248"/>
                  </a:lnTo>
                  <a:lnTo>
                    <a:pt x="31" y="246"/>
                  </a:lnTo>
                  <a:lnTo>
                    <a:pt x="32" y="246"/>
                  </a:lnTo>
                  <a:lnTo>
                    <a:pt x="32" y="246"/>
                  </a:lnTo>
                  <a:lnTo>
                    <a:pt x="32" y="246"/>
                  </a:lnTo>
                  <a:lnTo>
                    <a:pt x="32" y="245"/>
                  </a:lnTo>
                  <a:lnTo>
                    <a:pt x="32" y="243"/>
                  </a:lnTo>
                  <a:lnTo>
                    <a:pt x="31" y="243"/>
                  </a:lnTo>
                  <a:lnTo>
                    <a:pt x="29" y="243"/>
                  </a:lnTo>
                  <a:lnTo>
                    <a:pt x="29" y="245"/>
                  </a:lnTo>
                  <a:lnTo>
                    <a:pt x="27" y="245"/>
                  </a:lnTo>
                  <a:lnTo>
                    <a:pt x="25" y="245"/>
                  </a:lnTo>
                  <a:lnTo>
                    <a:pt x="25" y="243"/>
                  </a:lnTo>
                  <a:lnTo>
                    <a:pt x="25" y="241"/>
                  </a:lnTo>
                  <a:lnTo>
                    <a:pt x="27" y="241"/>
                  </a:lnTo>
                  <a:lnTo>
                    <a:pt x="27" y="240"/>
                  </a:lnTo>
                  <a:lnTo>
                    <a:pt x="29" y="240"/>
                  </a:lnTo>
                  <a:lnTo>
                    <a:pt x="29" y="238"/>
                  </a:lnTo>
                  <a:lnTo>
                    <a:pt x="27" y="238"/>
                  </a:lnTo>
                  <a:lnTo>
                    <a:pt x="27" y="236"/>
                  </a:lnTo>
                  <a:lnTo>
                    <a:pt x="25" y="236"/>
                  </a:lnTo>
                  <a:lnTo>
                    <a:pt x="24" y="234"/>
                  </a:lnTo>
                  <a:lnTo>
                    <a:pt x="24" y="234"/>
                  </a:lnTo>
                  <a:lnTo>
                    <a:pt x="24" y="233"/>
                  </a:lnTo>
                  <a:lnTo>
                    <a:pt x="25" y="233"/>
                  </a:lnTo>
                  <a:lnTo>
                    <a:pt x="25" y="231"/>
                  </a:lnTo>
                  <a:lnTo>
                    <a:pt x="24" y="231"/>
                  </a:lnTo>
                  <a:lnTo>
                    <a:pt x="24" y="229"/>
                  </a:lnTo>
                  <a:lnTo>
                    <a:pt x="25" y="229"/>
                  </a:lnTo>
                  <a:lnTo>
                    <a:pt x="27" y="229"/>
                  </a:lnTo>
                  <a:lnTo>
                    <a:pt x="27" y="228"/>
                  </a:lnTo>
                  <a:lnTo>
                    <a:pt x="29" y="228"/>
                  </a:lnTo>
                  <a:lnTo>
                    <a:pt x="29" y="226"/>
                  </a:lnTo>
                  <a:lnTo>
                    <a:pt x="27" y="226"/>
                  </a:lnTo>
                  <a:lnTo>
                    <a:pt x="27" y="224"/>
                  </a:lnTo>
                  <a:lnTo>
                    <a:pt x="25" y="224"/>
                  </a:lnTo>
                  <a:lnTo>
                    <a:pt x="25" y="222"/>
                  </a:lnTo>
                  <a:lnTo>
                    <a:pt x="25" y="221"/>
                  </a:lnTo>
                  <a:lnTo>
                    <a:pt x="24" y="219"/>
                  </a:lnTo>
                  <a:lnTo>
                    <a:pt x="24" y="221"/>
                  </a:lnTo>
                  <a:lnTo>
                    <a:pt x="24" y="222"/>
                  </a:lnTo>
                  <a:lnTo>
                    <a:pt x="22" y="222"/>
                  </a:lnTo>
                  <a:lnTo>
                    <a:pt x="20" y="221"/>
                  </a:lnTo>
                  <a:lnTo>
                    <a:pt x="19" y="221"/>
                  </a:lnTo>
                  <a:lnTo>
                    <a:pt x="19" y="219"/>
                  </a:lnTo>
                  <a:lnTo>
                    <a:pt x="20" y="219"/>
                  </a:lnTo>
                  <a:lnTo>
                    <a:pt x="22" y="219"/>
                  </a:lnTo>
                  <a:lnTo>
                    <a:pt x="22" y="217"/>
                  </a:lnTo>
                  <a:lnTo>
                    <a:pt x="20" y="219"/>
                  </a:lnTo>
                  <a:lnTo>
                    <a:pt x="19" y="219"/>
                  </a:lnTo>
                  <a:lnTo>
                    <a:pt x="19" y="217"/>
                  </a:lnTo>
                  <a:lnTo>
                    <a:pt x="20" y="217"/>
                  </a:lnTo>
                  <a:lnTo>
                    <a:pt x="20" y="216"/>
                  </a:lnTo>
                  <a:lnTo>
                    <a:pt x="19" y="216"/>
                  </a:lnTo>
                  <a:lnTo>
                    <a:pt x="19" y="214"/>
                  </a:lnTo>
                  <a:lnTo>
                    <a:pt x="19" y="216"/>
                  </a:lnTo>
                  <a:lnTo>
                    <a:pt x="17" y="216"/>
                  </a:lnTo>
                  <a:lnTo>
                    <a:pt x="17" y="216"/>
                  </a:lnTo>
                  <a:lnTo>
                    <a:pt x="17" y="214"/>
                  </a:lnTo>
                  <a:lnTo>
                    <a:pt x="17" y="212"/>
                  </a:lnTo>
                  <a:lnTo>
                    <a:pt x="15" y="212"/>
                  </a:lnTo>
                  <a:lnTo>
                    <a:pt x="15" y="210"/>
                  </a:lnTo>
                  <a:lnTo>
                    <a:pt x="15" y="212"/>
                  </a:lnTo>
                  <a:lnTo>
                    <a:pt x="15" y="214"/>
                  </a:lnTo>
                  <a:lnTo>
                    <a:pt x="13" y="214"/>
                  </a:lnTo>
                  <a:lnTo>
                    <a:pt x="13" y="212"/>
                  </a:lnTo>
                  <a:lnTo>
                    <a:pt x="13" y="210"/>
                  </a:lnTo>
                  <a:lnTo>
                    <a:pt x="12" y="210"/>
                  </a:lnTo>
                  <a:lnTo>
                    <a:pt x="12" y="209"/>
                  </a:lnTo>
                  <a:lnTo>
                    <a:pt x="12" y="207"/>
                  </a:lnTo>
                  <a:lnTo>
                    <a:pt x="10" y="207"/>
                  </a:lnTo>
                  <a:lnTo>
                    <a:pt x="8" y="207"/>
                  </a:lnTo>
                  <a:lnTo>
                    <a:pt x="6" y="207"/>
                  </a:lnTo>
                  <a:lnTo>
                    <a:pt x="5" y="207"/>
                  </a:lnTo>
                  <a:lnTo>
                    <a:pt x="5" y="205"/>
                  </a:lnTo>
                  <a:lnTo>
                    <a:pt x="3" y="205"/>
                  </a:lnTo>
                  <a:lnTo>
                    <a:pt x="3" y="203"/>
                  </a:lnTo>
                  <a:lnTo>
                    <a:pt x="3" y="203"/>
                  </a:lnTo>
                  <a:lnTo>
                    <a:pt x="3" y="202"/>
                  </a:lnTo>
                  <a:lnTo>
                    <a:pt x="1" y="202"/>
                  </a:lnTo>
                  <a:lnTo>
                    <a:pt x="1" y="200"/>
                  </a:lnTo>
                  <a:lnTo>
                    <a:pt x="1" y="198"/>
                  </a:lnTo>
                  <a:lnTo>
                    <a:pt x="3" y="198"/>
                  </a:lnTo>
                  <a:lnTo>
                    <a:pt x="3" y="200"/>
                  </a:lnTo>
                  <a:lnTo>
                    <a:pt x="5" y="202"/>
                  </a:lnTo>
                  <a:lnTo>
                    <a:pt x="5" y="200"/>
                  </a:lnTo>
                  <a:lnTo>
                    <a:pt x="6" y="200"/>
                  </a:lnTo>
                  <a:lnTo>
                    <a:pt x="8" y="200"/>
                  </a:lnTo>
                  <a:lnTo>
                    <a:pt x="8" y="198"/>
                  </a:lnTo>
                  <a:lnTo>
                    <a:pt x="6" y="198"/>
                  </a:lnTo>
                  <a:lnTo>
                    <a:pt x="5" y="197"/>
                  </a:lnTo>
                  <a:lnTo>
                    <a:pt x="5" y="195"/>
                  </a:lnTo>
                  <a:lnTo>
                    <a:pt x="5" y="193"/>
                  </a:lnTo>
                  <a:lnTo>
                    <a:pt x="5" y="191"/>
                  </a:lnTo>
                  <a:lnTo>
                    <a:pt x="5" y="190"/>
                  </a:lnTo>
                  <a:lnTo>
                    <a:pt x="6" y="190"/>
                  </a:lnTo>
                  <a:lnTo>
                    <a:pt x="6" y="191"/>
                  </a:lnTo>
                  <a:lnTo>
                    <a:pt x="8" y="191"/>
                  </a:lnTo>
                  <a:lnTo>
                    <a:pt x="8" y="190"/>
                  </a:lnTo>
                  <a:lnTo>
                    <a:pt x="10" y="190"/>
                  </a:lnTo>
                  <a:lnTo>
                    <a:pt x="10" y="190"/>
                  </a:lnTo>
                  <a:lnTo>
                    <a:pt x="8" y="190"/>
                  </a:lnTo>
                  <a:lnTo>
                    <a:pt x="6" y="190"/>
                  </a:lnTo>
                  <a:lnTo>
                    <a:pt x="6" y="188"/>
                  </a:lnTo>
                  <a:lnTo>
                    <a:pt x="8" y="188"/>
                  </a:lnTo>
                  <a:lnTo>
                    <a:pt x="8" y="186"/>
                  </a:lnTo>
                  <a:lnTo>
                    <a:pt x="6" y="186"/>
                  </a:lnTo>
                  <a:lnTo>
                    <a:pt x="6" y="185"/>
                  </a:lnTo>
                  <a:lnTo>
                    <a:pt x="5" y="185"/>
                  </a:lnTo>
                  <a:lnTo>
                    <a:pt x="3" y="185"/>
                  </a:lnTo>
                  <a:lnTo>
                    <a:pt x="3" y="183"/>
                  </a:lnTo>
                  <a:lnTo>
                    <a:pt x="3" y="181"/>
                  </a:lnTo>
                  <a:lnTo>
                    <a:pt x="5" y="181"/>
                  </a:lnTo>
                  <a:lnTo>
                    <a:pt x="3" y="181"/>
                  </a:lnTo>
                  <a:lnTo>
                    <a:pt x="3" y="179"/>
                  </a:lnTo>
                  <a:lnTo>
                    <a:pt x="3" y="178"/>
                  </a:lnTo>
                  <a:lnTo>
                    <a:pt x="1" y="178"/>
                  </a:lnTo>
                  <a:lnTo>
                    <a:pt x="1" y="176"/>
                  </a:lnTo>
                  <a:lnTo>
                    <a:pt x="1" y="178"/>
                  </a:lnTo>
                  <a:lnTo>
                    <a:pt x="1" y="178"/>
                  </a:lnTo>
                  <a:lnTo>
                    <a:pt x="0" y="178"/>
                  </a:lnTo>
                  <a:lnTo>
                    <a:pt x="0" y="176"/>
                  </a:lnTo>
                  <a:lnTo>
                    <a:pt x="1" y="176"/>
                  </a:lnTo>
                  <a:lnTo>
                    <a:pt x="1" y="176"/>
                  </a:lnTo>
                  <a:lnTo>
                    <a:pt x="3" y="176"/>
                  </a:lnTo>
                  <a:lnTo>
                    <a:pt x="5" y="176"/>
                  </a:lnTo>
                  <a:lnTo>
                    <a:pt x="5" y="174"/>
                  </a:lnTo>
                  <a:lnTo>
                    <a:pt x="6" y="174"/>
                  </a:lnTo>
                  <a:lnTo>
                    <a:pt x="6" y="174"/>
                  </a:lnTo>
                  <a:lnTo>
                    <a:pt x="5" y="174"/>
                  </a:lnTo>
                  <a:lnTo>
                    <a:pt x="3" y="174"/>
                  </a:lnTo>
                  <a:lnTo>
                    <a:pt x="3" y="174"/>
                  </a:lnTo>
                  <a:lnTo>
                    <a:pt x="1" y="174"/>
                  </a:lnTo>
                  <a:lnTo>
                    <a:pt x="1" y="174"/>
                  </a:lnTo>
                  <a:lnTo>
                    <a:pt x="1" y="174"/>
                  </a:lnTo>
                  <a:lnTo>
                    <a:pt x="1" y="173"/>
                  </a:lnTo>
                  <a:lnTo>
                    <a:pt x="1" y="171"/>
                  </a:lnTo>
                  <a:lnTo>
                    <a:pt x="1" y="169"/>
                  </a:lnTo>
                  <a:lnTo>
                    <a:pt x="1" y="167"/>
                  </a:lnTo>
                  <a:lnTo>
                    <a:pt x="1" y="166"/>
                  </a:lnTo>
                  <a:lnTo>
                    <a:pt x="5" y="166"/>
                  </a:lnTo>
                  <a:lnTo>
                    <a:pt x="6" y="166"/>
                  </a:lnTo>
                  <a:lnTo>
                    <a:pt x="10" y="166"/>
                  </a:lnTo>
                  <a:lnTo>
                    <a:pt x="12" y="166"/>
                  </a:lnTo>
                  <a:lnTo>
                    <a:pt x="10" y="159"/>
                  </a:lnTo>
                  <a:lnTo>
                    <a:pt x="10" y="159"/>
                  </a:lnTo>
                  <a:lnTo>
                    <a:pt x="10" y="157"/>
                  </a:lnTo>
                  <a:lnTo>
                    <a:pt x="10" y="155"/>
                  </a:lnTo>
                  <a:lnTo>
                    <a:pt x="22" y="155"/>
                  </a:lnTo>
                  <a:lnTo>
                    <a:pt x="22" y="154"/>
                  </a:lnTo>
                  <a:lnTo>
                    <a:pt x="22" y="145"/>
                  </a:lnTo>
                  <a:lnTo>
                    <a:pt x="20" y="143"/>
                  </a:lnTo>
                  <a:lnTo>
                    <a:pt x="20" y="140"/>
                  </a:lnTo>
                  <a:lnTo>
                    <a:pt x="20" y="133"/>
                  </a:lnTo>
                  <a:lnTo>
                    <a:pt x="24" y="133"/>
                  </a:lnTo>
                  <a:lnTo>
                    <a:pt x="25" y="133"/>
                  </a:lnTo>
                  <a:lnTo>
                    <a:pt x="27" y="133"/>
                  </a:lnTo>
                  <a:lnTo>
                    <a:pt x="32" y="131"/>
                  </a:lnTo>
                  <a:lnTo>
                    <a:pt x="32" y="131"/>
                  </a:lnTo>
                  <a:lnTo>
                    <a:pt x="32" y="121"/>
                  </a:lnTo>
                  <a:lnTo>
                    <a:pt x="44" y="121"/>
                  </a:lnTo>
                  <a:lnTo>
                    <a:pt x="44" y="117"/>
                  </a:lnTo>
                  <a:lnTo>
                    <a:pt x="44" y="116"/>
                  </a:lnTo>
                  <a:lnTo>
                    <a:pt x="44" y="111"/>
                  </a:lnTo>
                  <a:lnTo>
                    <a:pt x="55" y="111"/>
                  </a:lnTo>
                  <a:lnTo>
                    <a:pt x="55" y="107"/>
                  </a:lnTo>
                  <a:lnTo>
                    <a:pt x="55" y="105"/>
                  </a:lnTo>
                  <a:lnTo>
                    <a:pt x="55" y="104"/>
                  </a:lnTo>
                  <a:lnTo>
                    <a:pt x="55" y="99"/>
                  </a:lnTo>
                  <a:lnTo>
                    <a:pt x="65" y="99"/>
                  </a:lnTo>
                  <a:lnTo>
                    <a:pt x="65" y="97"/>
                  </a:lnTo>
                  <a:lnTo>
                    <a:pt x="65" y="93"/>
                  </a:lnTo>
                  <a:lnTo>
                    <a:pt x="65" y="88"/>
                  </a:lnTo>
                  <a:lnTo>
                    <a:pt x="65" y="86"/>
                  </a:lnTo>
                  <a:lnTo>
                    <a:pt x="65" y="80"/>
                  </a:lnTo>
                  <a:lnTo>
                    <a:pt x="65" y="76"/>
                  </a:lnTo>
                  <a:lnTo>
                    <a:pt x="65" y="74"/>
                  </a:lnTo>
                  <a:lnTo>
                    <a:pt x="65" y="73"/>
                  </a:lnTo>
                  <a:lnTo>
                    <a:pt x="67" y="73"/>
                  </a:lnTo>
                  <a:lnTo>
                    <a:pt x="68" y="71"/>
                  </a:lnTo>
                  <a:lnTo>
                    <a:pt x="77" y="71"/>
                  </a:lnTo>
                  <a:lnTo>
                    <a:pt x="79" y="71"/>
                  </a:lnTo>
                  <a:lnTo>
                    <a:pt x="86" y="71"/>
                  </a:lnTo>
                  <a:lnTo>
                    <a:pt x="89" y="71"/>
                  </a:lnTo>
                  <a:lnTo>
                    <a:pt x="91" y="71"/>
                  </a:lnTo>
                  <a:lnTo>
                    <a:pt x="99" y="71"/>
                  </a:lnTo>
                  <a:lnTo>
                    <a:pt x="101" y="71"/>
                  </a:lnTo>
                  <a:lnTo>
                    <a:pt x="110" y="71"/>
                  </a:lnTo>
                  <a:lnTo>
                    <a:pt x="111" y="71"/>
                  </a:lnTo>
                  <a:lnTo>
                    <a:pt x="115" y="71"/>
                  </a:lnTo>
                  <a:lnTo>
                    <a:pt x="122" y="71"/>
                  </a:lnTo>
                  <a:lnTo>
                    <a:pt x="123" y="71"/>
                  </a:lnTo>
                  <a:lnTo>
                    <a:pt x="125" y="71"/>
                  </a:lnTo>
                  <a:lnTo>
                    <a:pt x="129" y="71"/>
                  </a:lnTo>
                  <a:lnTo>
                    <a:pt x="130" y="71"/>
                  </a:lnTo>
                  <a:lnTo>
                    <a:pt x="132" y="71"/>
                  </a:lnTo>
                  <a:lnTo>
                    <a:pt x="134" y="71"/>
                  </a:lnTo>
                  <a:lnTo>
                    <a:pt x="135" y="71"/>
                  </a:lnTo>
                  <a:lnTo>
                    <a:pt x="137" y="71"/>
                  </a:lnTo>
                  <a:lnTo>
                    <a:pt x="137" y="71"/>
                  </a:lnTo>
                  <a:lnTo>
                    <a:pt x="141" y="71"/>
                  </a:lnTo>
                  <a:lnTo>
                    <a:pt x="146" y="71"/>
                  </a:lnTo>
                  <a:lnTo>
                    <a:pt x="148" y="71"/>
                  </a:lnTo>
                  <a:lnTo>
                    <a:pt x="149" y="69"/>
                  </a:lnTo>
                  <a:lnTo>
                    <a:pt x="153" y="69"/>
                  </a:lnTo>
                  <a:lnTo>
                    <a:pt x="154" y="69"/>
                  </a:lnTo>
                  <a:lnTo>
                    <a:pt x="156" y="69"/>
                  </a:lnTo>
                  <a:lnTo>
                    <a:pt x="158" y="69"/>
                  </a:lnTo>
                  <a:lnTo>
                    <a:pt x="160" y="69"/>
                  </a:lnTo>
                  <a:lnTo>
                    <a:pt x="160" y="69"/>
                  </a:lnTo>
                  <a:lnTo>
                    <a:pt x="160" y="68"/>
                  </a:lnTo>
                  <a:lnTo>
                    <a:pt x="160" y="66"/>
                  </a:lnTo>
                  <a:lnTo>
                    <a:pt x="160" y="62"/>
                  </a:lnTo>
                  <a:lnTo>
                    <a:pt x="160" y="61"/>
                  </a:lnTo>
                  <a:lnTo>
                    <a:pt x="160" y="59"/>
                  </a:lnTo>
                  <a:lnTo>
                    <a:pt x="161" y="59"/>
                  </a:lnTo>
                  <a:lnTo>
                    <a:pt x="170" y="59"/>
                  </a:lnTo>
                  <a:lnTo>
                    <a:pt x="173" y="59"/>
                  </a:lnTo>
                  <a:lnTo>
                    <a:pt x="182" y="59"/>
                  </a:lnTo>
                  <a:lnTo>
                    <a:pt x="182" y="56"/>
                  </a:lnTo>
                  <a:lnTo>
                    <a:pt x="182" y="54"/>
                  </a:lnTo>
                  <a:lnTo>
                    <a:pt x="182" y="49"/>
                  </a:lnTo>
                  <a:lnTo>
                    <a:pt x="182" y="47"/>
                  </a:lnTo>
                  <a:lnTo>
                    <a:pt x="182" y="40"/>
                  </a:lnTo>
                  <a:lnTo>
                    <a:pt x="182" y="38"/>
                  </a:lnTo>
                  <a:lnTo>
                    <a:pt x="182" y="38"/>
                  </a:lnTo>
                  <a:lnTo>
                    <a:pt x="182" y="37"/>
                  </a:lnTo>
                  <a:lnTo>
                    <a:pt x="182" y="30"/>
                  </a:lnTo>
                  <a:lnTo>
                    <a:pt x="182" y="26"/>
                  </a:lnTo>
                  <a:lnTo>
                    <a:pt x="182" y="25"/>
                  </a:lnTo>
                  <a:lnTo>
                    <a:pt x="180" y="14"/>
                  </a:lnTo>
                  <a:lnTo>
                    <a:pt x="180" y="7"/>
                  </a:lnTo>
                  <a:lnTo>
                    <a:pt x="180" y="6"/>
                  </a:lnTo>
                  <a:lnTo>
                    <a:pt x="180" y="4"/>
                  </a:lnTo>
                  <a:lnTo>
                    <a:pt x="180" y="2"/>
                  </a:lnTo>
                  <a:lnTo>
                    <a:pt x="182" y="2"/>
                  </a:lnTo>
                  <a:lnTo>
                    <a:pt x="184" y="2"/>
                  </a:lnTo>
                  <a:lnTo>
                    <a:pt x="187" y="2"/>
                  </a:lnTo>
                  <a:lnTo>
                    <a:pt x="189" y="2"/>
                  </a:lnTo>
                  <a:lnTo>
                    <a:pt x="192" y="2"/>
                  </a:lnTo>
                  <a:lnTo>
                    <a:pt x="197" y="2"/>
                  </a:lnTo>
                  <a:lnTo>
                    <a:pt x="201" y="2"/>
                  </a:lnTo>
                  <a:lnTo>
                    <a:pt x="209" y="2"/>
                  </a:lnTo>
                  <a:lnTo>
                    <a:pt x="211" y="2"/>
                  </a:lnTo>
                  <a:lnTo>
                    <a:pt x="213" y="2"/>
                  </a:lnTo>
                  <a:lnTo>
                    <a:pt x="228" y="2"/>
                  </a:lnTo>
                  <a:lnTo>
                    <a:pt x="232" y="2"/>
                  </a:lnTo>
                  <a:lnTo>
                    <a:pt x="234" y="2"/>
                  </a:lnTo>
                  <a:lnTo>
                    <a:pt x="237" y="2"/>
                  </a:lnTo>
                  <a:lnTo>
                    <a:pt x="239" y="2"/>
                  </a:lnTo>
                  <a:lnTo>
                    <a:pt x="242" y="2"/>
                  </a:lnTo>
                  <a:lnTo>
                    <a:pt x="244" y="2"/>
                  </a:lnTo>
                  <a:lnTo>
                    <a:pt x="246" y="2"/>
                  </a:lnTo>
                  <a:lnTo>
                    <a:pt x="249" y="2"/>
                  </a:lnTo>
                  <a:lnTo>
                    <a:pt x="254" y="2"/>
                  </a:lnTo>
                  <a:lnTo>
                    <a:pt x="259" y="0"/>
                  </a:lnTo>
                  <a:lnTo>
                    <a:pt x="263" y="0"/>
                  </a:lnTo>
                  <a:lnTo>
                    <a:pt x="264" y="0"/>
                  </a:lnTo>
                  <a:lnTo>
                    <a:pt x="266" y="0"/>
                  </a:lnTo>
                  <a:lnTo>
                    <a:pt x="268" y="0"/>
                  </a:lnTo>
                  <a:lnTo>
                    <a:pt x="271" y="0"/>
                  </a:lnTo>
                  <a:lnTo>
                    <a:pt x="273" y="0"/>
                  </a:lnTo>
                  <a:lnTo>
                    <a:pt x="273" y="0"/>
                  </a:lnTo>
                  <a:lnTo>
                    <a:pt x="275" y="0"/>
                  </a:lnTo>
                  <a:lnTo>
                    <a:pt x="285" y="0"/>
                  </a:lnTo>
                  <a:lnTo>
                    <a:pt x="292" y="0"/>
                  </a:lnTo>
                  <a:lnTo>
                    <a:pt x="299" y="0"/>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6" name="Freeform 233"/>
            <p:cNvSpPr>
              <a:spLocks/>
            </p:cNvSpPr>
            <p:nvPr/>
          </p:nvSpPr>
          <p:spPr bwMode="auto">
            <a:xfrm>
              <a:off x="8540046" y="5132181"/>
              <a:ext cx="409575" cy="617538"/>
            </a:xfrm>
            <a:custGeom>
              <a:avLst/>
              <a:gdLst/>
              <a:ahLst/>
              <a:cxnLst>
                <a:cxn ang="0">
                  <a:pos x="7" y="156"/>
                </a:cxn>
                <a:cxn ang="0">
                  <a:pos x="12" y="136"/>
                </a:cxn>
                <a:cxn ang="0">
                  <a:pos x="33" y="129"/>
                </a:cxn>
                <a:cxn ang="0">
                  <a:pos x="52" y="110"/>
                </a:cxn>
                <a:cxn ang="0">
                  <a:pos x="76" y="84"/>
                </a:cxn>
                <a:cxn ang="0">
                  <a:pos x="88" y="69"/>
                </a:cxn>
                <a:cxn ang="0">
                  <a:pos x="103" y="56"/>
                </a:cxn>
                <a:cxn ang="0">
                  <a:pos x="138" y="62"/>
                </a:cxn>
                <a:cxn ang="0">
                  <a:pos x="151" y="34"/>
                </a:cxn>
                <a:cxn ang="0">
                  <a:pos x="126" y="19"/>
                </a:cxn>
                <a:cxn ang="0">
                  <a:pos x="131" y="3"/>
                </a:cxn>
                <a:cxn ang="0">
                  <a:pos x="155" y="7"/>
                </a:cxn>
                <a:cxn ang="0">
                  <a:pos x="164" y="8"/>
                </a:cxn>
                <a:cxn ang="0">
                  <a:pos x="170" y="24"/>
                </a:cxn>
                <a:cxn ang="0">
                  <a:pos x="181" y="32"/>
                </a:cxn>
                <a:cxn ang="0">
                  <a:pos x="193" y="39"/>
                </a:cxn>
                <a:cxn ang="0">
                  <a:pos x="196" y="58"/>
                </a:cxn>
                <a:cxn ang="0">
                  <a:pos x="224" y="70"/>
                </a:cxn>
                <a:cxn ang="0">
                  <a:pos x="239" y="65"/>
                </a:cxn>
                <a:cxn ang="0">
                  <a:pos x="255" y="74"/>
                </a:cxn>
                <a:cxn ang="0">
                  <a:pos x="256" y="94"/>
                </a:cxn>
                <a:cxn ang="0">
                  <a:pos x="251" y="120"/>
                </a:cxn>
                <a:cxn ang="0">
                  <a:pos x="244" y="148"/>
                </a:cxn>
                <a:cxn ang="0">
                  <a:pos x="239" y="161"/>
                </a:cxn>
                <a:cxn ang="0">
                  <a:pos x="225" y="173"/>
                </a:cxn>
                <a:cxn ang="0">
                  <a:pos x="215" y="175"/>
                </a:cxn>
                <a:cxn ang="0">
                  <a:pos x="212" y="187"/>
                </a:cxn>
                <a:cxn ang="0">
                  <a:pos x="213" y="199"/>
                </a:cxn>
                <a:cxn ang="0">
                  <a:pos x="219" y="208"/>
                </a:cxn>
                <a:cxn ang="0">
                  <a:pos x="227" y="215"/>
                </a:cxn>
                <a:cxn ang="0">
                  <a:pos x="243" y="215"/>
                </a:cxn>
                <a:cxn ang="0">
                  <a:pos x="251" y="220"/>
                </a:cxn>
                <a:cxn ang="0">
                  <a:pos x="251" y="235"/>
                </a:cxn>
                <a:cxn ang="0">
                  <a:pos x="239" y="242"/>
                </a:cxn>
                <a:cxn ang="0">
                  <a:pos x="222" y="237"/>
                </a:cxn>
                <a:cxn ang="0">
                  <a:pos x="210" y="242"/>
                </a:cxn>
                <a:cxn ang="0">
                  <a:pos x="203" y="258"/>
                </a:cxn>
                <a:cxn ang="0">
                  <a:pos x="205" y="273"/>
                </a:cxn>
                <a:cxn ang="0">
                  <a:pos x="220" y="290"/>
                </a:cxn>
                <a:cxn ang="0">
                  <a:pos x="222" y="304"/>
                </a:cxn>
                <a:cxn ang="0">
                  <a:pos x="225" y="315"/>
                </a:cxn>
                <a:cxn ang="0">
                  <a:pos x="217" y="325"/>
                </a:cxn>
                <a:cxn ang="0">
                  <a:pos x="208" y="333"/>
                </a:cxn>
                <a:cxn ang="0">
                  <a:pos x="207" y="342"/>
                </a:cxn>
                <a:cxn ang="0">
                  <a:pos x="196" y="380"/>
                </a:cxn>
                <a:cxn ang="0">
                  <a:pos x="174" y="389"/>
                </a:cxn>
                <a:cxn ang="0">
                  <a:pos x="158" y="380"/>
                </a:cxn>
                <a:cxn ang="0">
                  <a:pos x="143" y="361"/>
                </a:cxn>
                <a:cxn ang="0">
                  <a:pos x="126" y="337"/>
                </a:cxn>
                <a:cxn ang="0">
                  <a:pos x="114" y="315"/>
                </a:cxn>
                <a:cxn ang="0">
                  <a:pos x="103" y="301"/>
                </a:cxn>
                <a:cxn ang="0">
                  <a:pos x="88" y="287"/>
                </a:cxn>
                <a:cxn ang="0">
                  <a:pos x="67" y="259"/>
                </a:cxn>
                <a:cxn ang="0">
                  <a:pos x="55" y="237"/>
                </a:cxn>
                <a:cxn ang="0">
                  <a:pos x="45" y="222"/>
                </a:cxn>
                <a:cxn ang="0">
                  <a:pos x="31" y="203"/>
                </a:cxn>
                <a:cxn ang="0">
                  <a:pos x="14" y="189"/>
                </a:cxn>
                <a:cxn ang="0">
                  <a:pos x="0" y="161"/>
                </a:cxn>
              </a:cxnLst>
              <a:rect l="0" t="0" r="r" b="b"/>
              <a:pathLst>
                <a:path w="258" h="389">
                  <a:moveTo>
                    <a:pt x="0" y="161"/>
                  </a:moveTo>
                  <a:lnTo>
                    <a:pt x="0" y="160"/>
                  </a:lnTo>
                  <a:lnTo>
                    <a:pt x="0" y="158"/>
                  </a:lnTo>
                  <a:lnTo>
                    <a:pt x="0" y="156"/>
                  </a:lnTo>
                  <a:lnTo>
                    <a:pt x="2" y="156"/>
                  </a:lnTo>
                  <a:lnTo>
                    <a:pt x="4" y="156"/>
                  </a:lnTo>
                  <a:lnTo>
                    <a:pt x="5" y="156"/>
                  </a:lnTo>
                  <a:lnTo>
                    <a:pt x="7" y="156"/>
                  </a:lnTo>
                  <a:lnTo>
                    <a:pt x="9" y="156"/>
                  </a:lnTo>
                  <a:lnTo>
                    <a:pt x="10" y="156"/>
                  </a:lnTo>
                  <a:lnTo>
                    <a:pt x="12" y="156"/>
                  </a:lnTo>
                  <a:lnTo>
                    <a:pt x="12" y="149"/>
                  </a:lnTo>
                  <a:lnTo>
                    <a:pt x="12" y="146"/>
                  </a:lnTo>
                  <a:lnTo>
                    <a:pt x="12" y="144"/>
                  </a:lnTo>
                  <a:lnTo>
                    <a:pt x="12" y="139"/>
                  </a:lnTo>
                  <a:lnTo>
                    <a:pt x="12" y="136"/>
                  </a:lnTo>
                  <a:lnTo>
                    <a:pt x="12" y="132"/>
                  </a:lnTo>
                  <a:lnTo>
                    <a:pt x="17" y="132"/>
                  </a:lnTo>
                  <a:lnTo>
                    <a:pt x="19" y="132"/>
                  </a:lnTo>
                  <a:lnTo>
                    <a:pt x="21" y="132"/>
                  </a:lnTo>
                  <a:lnTo>
                    <a:pt x="22" y="132"/>
                  </a:lnTo>
                  <a:lnTo>
                    <a:pt x="28" y="132"/>
                  </a:lnTo>
                  <a:lnTo>
                    <a:pt x="33" y="132"/>
                  </a:lnTo>
                  <a:lnTo>
                    <a:pt x="33" y="129"/>
                  </a:lnTo>
                  <a:lnTo>
                    <a:pt x="33" y="127"/>
                  </a:lnTo>
                  <a:lnTo>
                    <a:pt x="33" y="118"/>
                  </a:lnTo>
                  <a:lnTo>
                    <a:pt x="33" y="110"/>
                  </a:lnTo>
                  <a:lnTo>
                    <a:pt x="40" y="110"/>
                  </a:lnTo>
                  <a:lnTo>
                    <a:pt x="43" y="110"/>
                  </a:lnTo>
                  <a:lnTo>
                    <a:pt x="43" y="110"/>
                  </a:lnTo>
                  <a:lnTo>
                    <a:pt x="45" y="110"/>
                  </a:lnTo>
                  <a:lnTo>
                    <a:pt x="52" y="110"/>
                  </a:lnTo>
                  <a:lnTo>
                    <a:pt x="55" y="110"/>
                  </a:lnTo>
                  <a:lnTo>
                    <a:pt x="53" y="98"/>
                  </a:lnTo>
                  <a:lnTo>
                    <a:pt x="57" y="98"/>
                  </a:lnTo>
                  <a:lnTo>
                    <a:pt x="64" y="98"/>
                  </a:lnTo>
                  <a:lnTo>
                    <a:pt x="65" y="98"/>
                  </a:lnTo>
                  <a:lnTo>
                    <a:pt x="65" y="91"/>
                  </a:lnTo>
                  <a:lnTo>
                    <a:pt x="65" y="86"/>
                  </a:lnTo>
                  <a:lnTo>
                    <a:pt x="76" y="84"/>
                  </a:lnTo>
                  <a:lnTo>
                    <a:pt x="78" y="84"/>
                  </a:lnTo>
                  <a:lnTo>
                    <a:pt x="88" y="84"/>
                  </a:lnTo>
                  <a:lnTo>
                    <a:pt x="88" y="84"/>
                  </a:lnTo>
                  <a:lnTo>
                    <a:pt x="88" y="79"/>
                  </a:lnTo>
                  <a:lnTo>
                    <a:pt x="88" y="75"/>
                  </a:lnTo>
                  <a:lnTo>
                    <a:pt x="88" y="74"/>
                  </a:lnTo>
                  <a:lnTo>
                    <a:pt x="88" y="69"/>
                  </a:lnTo>
                  <a:lnTo>
                    <a:pt x="88" y="69"/>
                  </a:lnTo>
                  <a:lnTo>
                    <a:pt x="88" y="65"/>
                  </a:lnTo>
                  <a:lnTo>
                    <a:pt x="88" y="63"/>
                  </a:lnTo>
                  <a:lnTo>
                    <a:pt x="88" y="62"/>
                  </a:lnTo>
                  <a:lnTo>
                    <a:pt x="93" y="60"/>
                  </a:lnTo>
                  <a:lnTo>
                    <a:pt x="98" y="58"/>
                  </a:lnTo>
                  <a:lnTo>
                    <a:pt x="100" y="56"/>
                  </a:lnTo>
                  <a:lnTo>
                    <a:pt x="102" y="56"/>
                  </a:lnTo>
                  <a:lnTo>
                    <a:pt x="103" y="56"/>
                  </a:lnTo>
                  <a:lnTo>
                    <a:pt x="103" y="55"/>
                  </a:lnTo>
                  <a:lnTo>
                    <a:pt x="103" y="51"/>
                  </a:lnTo>
                  <a:lnTo>
                    <a:pt x="119" y="50"/>
                  </a:lnTo>
                  <a:lnTo>
                    <a:pt x="119" y="50"/>
                  </a:lnTo>
                  <a:lnTo>
                    <a:pt x="122" y="50"/>
                  </a:lnTo>
                  <a:lnTo>
                    <a:pt x="124" y="50"/>
                  </a:lnTo>
                  <a:lnTo>
                    <a:pt x="133" y="56"/>
                  </a:lnTo>
                  <a:lnTo>
                    <a:pt x="138" y="62"/>
                  </a:lnTo>
                  <a:lnTo>
                    <a:pt x="146" y="65"/>
                  </a:lnTo>
                  <a:lnTo>
                    <a:pt x="148" y="63"/>
                  </a:lnTo>
                  <a:lnTo>
                    <a:pt x="151" y="60"/>
                  </a:lnTo>
                  <a:lnTo>
                    <a:pt x="153" y="58"/>
                  </a:lnTo>
                  <a:lnTo>
                    <a:pt x="155" y="55"/>
                  </a:lnTo>
                  <a:lnTo>
                    <a:pt x="158" y="43"/>
                  </a:lnTo>
                  <a:lnTo>
                    <a:pt x="157" y="38"/>
                  </a:lnTo>
                  <a:lnTo>
                    <a:pt x="151" y="34"/>
                  </a:lnTo>
                  <a:lnTo>
                    <a:pt x="148" y="29"/>
                  </a:lnTo>
                  <a:lnTo>
                    <a:pt x="146" y="27"/>
                  </a:lnTo>
                  <a:lnTo>
                    <a:pt x="141" y="26"/>
                  </a:lnTo>
                  <a:lnTo>
                    <a:pt x="136" y="24"/>
                  </a:lnTo>
                  <a:lnTo>
                    <a:pt x="133" y="24"/>
                  </a:lnTo>
                  <a:lnTo>
                    <a:pt x="131" y="22"/>
                  </a:lnTo>
                  <a:lnTo>
                    <a:pt x="129" y="20"/>
                  </a:lnTo>
                  <a:lnTo>
                    <a:pt x="126" y="19"/>
                  </a:lnTo>
                  <a:lnTo>
                    <a:pt x="126" y="15"/>
                  </a:lnTo>
                  <a:lnTo>
                    <a:pt x="124" y="13"/>
                  </a:lnTo>
                  <a:lnTo>
                    <a:pt x="124" y="12"/>
                  </a:lnTo>
                  <a:lnTo>
                    <a:pt x="126" y="5"/>
                  </a:lnTo>
                  <a:lnTo>
                    <a:pt x="126" y="3"/>
                  </a:lnTo>
                  <a:lnTo>
                    <a:pt x="127" y="3"/>
                  </a:lnTo>
                  <a:lnTo>
                    <a:pt x="129" y="3"/>
                  </a:lnTo>
                  <a:lnTo>
                    <a:pt x="131" y="3"/>
                  </a:lnTo>
                  <a:lnTo>
                    <a:pt x="133" y="3"/>
                  </a:lnTo>
                  <a:lnTo>
                    <a:pt x="133" y="5"/>
                  </a:lnTo>
                  <a:lnTo>
                    <a:pt x="141" y="5"/>
                  </a:lnTo>
                  <a:lnTo>
                    <a:pt x="141" y="7"/>
                  </a:lnTo>
                  <a:lnTo>
                    <a:pt x="143" y="7"/>
                  </a:lnTo>
                  <a:lnTo>
                    <a:pt x="151" y="7"/>
                  </a:lnTo>
                  <a:lnTo>
                    <a:pt x="153" y="7"/>
                  </a:lnTo>
                  <a:lnTo>
                    <a:pt x="155" y="7"/>
                  </a:lnTo>
                  <a:lnTo>
                    <a:pt x="155" y="5"/>
                  </a:lnTo>
                  <a:lnTo>
                    <a:pt x="157" y="5"/>
                  </a:lnTo>
                  <a:lnTo>
                    <a:pt x="157" y="3"/>
                  </a:lnTo>
                  <a:lnTo>
                    <a:pt x="157" y="1"/>
                  </a:lnTo>
                  <a:lnTo>
                    <a:pt x="158" y="0"/>
                  </a:lnTo>
                  <a:lnTo>
                    <a:pt x="162" y="5"/>
                  </a:lnTo>
                  <a:lnTo>
                    <a:pt x="162" y="7"/>
                  </a:lnTo>
                  <a:lnTo>
                    <a:pt x="164" y="8"/>
                  </a:lnTo>
                  <a:lnTo>
                    <a:pt x="164" y="8"/>
                  </a:lnTo>
                  <a:lnTo>
                    <a:pt x="164" y="10"/>
                  </a:lnTo>
                  <a:lnTo>
                    <a:pt x="165" y="12"/>
                  </a:lnTo>
                  <a:lnTo>
                    <a:pt x="165" y="15"/>
                  </a:lnTo>
                  <a:lnTo>
                    <a:pt x="167" y="17"/>
                  </a:lnTo>
                  <a:lnTo>
                    <a:pt x="169" y="20"/>
                  </a:lnTo>
                  <a:lnTo>
                    <a:pt x="169" y="22"/>
                  </a:lnTo>
                  <a:lnTo>
                    <a:pt x="170" y="24"/>
                  </a:lnTo>
                  <a:lnTo>
                    <a:pt x="170" y="24"/>
                  </a:lnTo>
                  <a:lnTo>
                    <a:pt x="172" y="26"/>
                  </a:lnTo>
                  <a:lnTo>
                    <a:pt x="174" y="27"/>
                  </a:lnTo>
                  <a:lnTo>
                    <a:pt x="176" y="29"/>
                  </a:lnTo>
                  <a:lnTo>
                    <a:pt x="177" y="29"/>
                  </a:lnTo>
                  <a:lnTo>
                    <a:pt x="179" y="31"/>
                  </a:lnTo>
                  <a:lnTo>
                    <a:pt x="179" y="32"/>
                  </a:lnTo>
                  <a:lnTo>
                    <a:pt x="181" y="32"/>
                  </a:lnTo>
                  <a:lnTo>
                    <a:pt x="182" y="34"/>
                  </a:lnTo>
                  <a:lnTo>
                    <a:pt x="184" y="34"/>
                  </a:lnTo>
                  <a:lnTo>
                    <a:pt x="184" y="36"/>
                  </a:lnTo>
                  <a:lnTo>
                    <a:pt x="186" y="36"/>
                  </a:lnTo>
                  <a:lnTo>
                    <a:pt x="188" y="38"/>
                  </a:lnTo>
                  <a:lnTo>
                    <a:pt x="189" y="39"/>
                  </a:lnTo>
                  <a:lnTo>
                    <a:pt x="191" y="39"/>
                  </a:lnTo>
                  <a:lnTo>
                    <a:pt x="193" y="39"/>
                  </a:lnTo>
                  <a:lnTo>
                    <a:pt x="193" y="41"/>
                  </a:lnTo>
                  <a:lnTo>
                    <a:pt x="193" y="43"/>
                  </a:lnTo>
                  <a:lnTo>
                    <a:pt x="194" y="44"/>
                  </a:lnTo>
                  <a:lnTo>
                    <a:pt x="194" y="48"/>
                  </a:lnTo>
                  <a:lnTo>
                    <a:pt x="196" y="50"/>
                  </a:lnTo>
                  <a:lnTo>
                    <a:pt x="196" y="53"/>
                  </a:lnTo>
                  <a:lnTo>
                    <a:pt x="196" y="53"/>
                  </a:lnTo>
                  <a:lnTo>
                    <a:pt x="196" y="58"/>
                  </a:lnTo>
                  <a:lnTo>
                    <a:pt x="198" y="62"/>
                  </a:lnTo>
                  <a:lnTo>
                    <a:pt x="198" y="65"/>
                  </a:lnTo>
                  <a:lnTo>
                    <a:pt x="200" y="69"/>
                  </a:lnTo>
                  <a:lnTo>
                    <a:pt x="205" y="74"/>
                  </a:lnTo>
                  <a:lnTo>
                    <a:pt x="208" y="75"/>
                  </a:lnTo>
                  <a:lnTo>
                    <a:pt x="213" y="75"/>
                  </a:lnTo>
                  <a:lnTo>
                    <a:pt x="219" y="74"/>
                  </a:lnTo>
                  <a:lnTo>
                    <a:pt x="224" y="70"/>
                  </a:lnTo>
                  <a:lnTo>
                    <a:pt x="225" y="69"/>
                  </a:lnTo>
                  <a:lnTo>
                    <a:pt x="227" y="69"/>
                  </a:lnTo>
                  <a:lnTo>
                    <a:pt x="229" y="69"/>
                  </a:lnTo>
                  <a:lnTo>
                    <a:pt x="231" y="69"/>
                  </a:lnTo>
                  <a:lnTo>
                    <a:pt x="236" y="67"/>
                  </a:lnTo>
                  <a:lnTo>
                    <a:pt x="237" y="67"/>
                  </a:lnTo>
                  <a:lnTo>
                    <a:pt x="239" y="65"/>
                  </a:lnTo>
                  <a:lnTo>
                    <a:pt x="239" y="65"/>
                  </a:lnTo>
                  <a:lnTo>
                    <a:pt x="241" y="65"/>
                  </a:lnTo>
                  <a:lnTo>
                    <a:pt x="243" y="65"/>
                  </a:lnTo>
                  <a:lnTo>
                    <a:pt x="244" y="67"/>
                  </a:lnTo>
                  <a:lnTo>
                    <a:pt x="248" y="67"/>
                  </a:lnTo>
                  <a:lnTo>
                    <a:pt x="250" y="69"/>
                  </a:lnTo>
                  <a:lnTo>
                    <a:pt x="251" y="69"/>
                  </a:lnTo>
                  <a:lnTo>
                    <a:pt x="253" y="72"/>
                  </a:lnTo>
                  <a:lnTo>
                    <a:pt x="255" y="74"/>
                  </a:lnTo>
                  <a:lnTo>
                    <a:pt x="255" y="77"/>
                  </a:lnTo>
                  <a:lnTo>
                    <a:pt x="256" y="79"/>
                  </a:lnTo>
                  <a:lnTo>
                    <a:pt x="256" y="81"/>
                  </a:lnTo>
                  <a:lnTo>
                    <a:pt x="256" y="82"/>
                  </a:lnTo>
                  <a:lnTo>
                    <a:pt x="258" y="84"/>
                  </a:lnTo>
                  <a:lnTo>
                    <a:pt x="256" y="86"/>
                  </a:lnTo>
                  <a:lnTo>
                    <a:pt x="256" y="91"/>
                  </a:lnTo>
                  <a:lnTo>
                    <a:pt x="256" y="94"/>
                  </a:lnTo>
                  <a:lnTo>
                    <a:pt x="256" y="99"/>
                  </a:lnTo>
                  <a:lnTo>
                    <a:pt x="255" y="99"/>
                  </a:lnTo>
                  <a:lnTo>
                    <a:pt x="255" y="105"/>
                  </a:lnTo>
                  <a:lnTo>
                    <a:pt x="253" y="112"/>
                  </a:lnTo>
                  <a:lnTo>
                    <a:pt x="253" y="113"/>
                  </a:lnTo>
                  <a:lnTo>
                    <a:pt x="253" y="115"/>
                  </a:lnTo>
                  <a:lnTo>
                    <a:pt x="253" y="117"/>
                  </a:lnTo>
                  <a:lnTo>
                    <a:pt x="251" y="120"/>
                  </a:lnTo>
                  <a:lnTo>
                    <a:pt x="251" y="125"/>
                  </a:lnTo>
                  <a:lnTo>
                    <a:pt x="251" y="127"/>
                  </a:lnTo>
                  <a:lnTo>
                    <a:pt x="250" y="132"/>
                  </a:lnTo>
                  <a:lnTo>
                    <a:pt x="250" y="136"/>
                  </a:lnTo>
                  <a:lnTo>
                    <a:pt x="250" y="139"/>
                  </a:lnTo>
                  <a:lnTo>
                    <a:pt x="248" y="143"/>
                  </a:lnTo>
                  <a:lnTo>
                    <a:pt x="246" y="144"/>
                  </a:lnTo>
                  <a:lnTo>
                    <a:pt x="244" y="148"/>
                  </a:lnTo>
                  <a:lnTo>
                    <a:pt x="243" y="149"/>
                  </a:lnTo>
                  <a:lnTo>
                    <a:pt x="243" y="151"/>
                  </a:lnTo>
                  <a:lnTo>
                    <a:pt x="243" y="153"/>
                  </a:lnTo>
                  <a:lnTo>
                    <a:pt x="241" y="156"/>
                  </a:lnTo>
                  <a:lnTo>
                    <a:pt x="241" y="158"/>
                  </a:lnTo>
                  <a:lnTo>
                    <a:pt x="241" y="160"/>
                  </a:lnTo>
                  <a:lnTo>
                    <a:pt x="241" y="160"/>
                  </a:lnTo>
                  <a:lnTo>
                    <a:pt x="239" y="161"/>
                  </a:lnTo>
                  <a:lnTo>
                    <a:pt x="237" y="170"/>
                  </a:lnTo>
                  <a:lnTo>
                    <a:pt x="234" y="170"/>
                  </a:lnTo>
                  <a:lnTo>
                    <a:pt x="232" y="170"/>
                  </a:lnTo>
                  <a:lnTo>
                    <a:pt x="231" y="170"/>
                  </a:lnTo>
                  <a:lnTo>
                    <a:pt x="229" y="170"/>
                  </a:lnTo>
                  <a:lnTo>
                    <a:pt x="227" y="170"/>
                  </a:lnTo>
                  <a:lnTo>
                    <a:pt x="227" y="172"/>
                  </a:lnTo>
                  <a:lnTo>
                    <a:pt x="225" y="173"/>
                  </a:lnTo>
                  <a:lnTo>
                    <a:pt x="224" y="173"/>
                  </a:lnTo>
                  <a:lnTo>
                    <a:pt x="224" y="173"/>
                  </a:lnTo>
                  <a:lnTo>
                    <a:pt x="222" y="173"/>
                  </a:lnTo>
                  <a:lnTo>
                    <a:pt x="220" y="173"/>
                  </a:lnTo>
                  <a:lnTo>
                    <a:pt x="219" y="173"/>
                  </a:lnTo>
                  <a:lnTo>
                    <a:pt x="217" y="173"/>
                  </a:lnTo>
                  <a:lnTo>
                    <a:pt x="217" y="175"/>
                  </a:lnTo>
                  <a:lnTo>
                    <a:pt x="215" y="175"/>
                  </a:lnTo>
                  <a:lnTo>
                    <a:pt x="215" y="177"/>
                  </a:lnTo>
                  <a:lnTo>
                    <a:pt x="213" y="177"/>
                  </a:lnTo>
                  <a:lnTo>
                    <a:pt x="213" y="179"/>
                  </a:lnTo>
                  <a:lnTo>
                    <a:pt x="212" y="180"/>
                  </a:lnTo>
                  <a:lnTo>
                    <a:pt x="212" y="182"/>
                  </a:lnTo>
                  <a:lnTo>
                    <a:pt x="212" y="184"/>
                  </a:lnTo>
                  <a:lnTo>
                    <a:pt x="212" y="186"/>
                  </a:lnTo>
                  <a:lnTo>
                    <a:pt x="212" y="187"/>
                  </a:lnTo>
                  <a:lnTo>
                    <a:pt x="212" y="189"/>
                  </a:lnTo>
                  <a:lnTo>
                    <a:pt x="212" y="191"/>
                  </a:lnTo>
                  <a:lnTo>
                    <a:pt x="212" y="192"/>
                  </a:lnTo>
                  <a:lnTo>
                    <a:pt x="213" y="194"/>
                  </a:lnTo>
                  <a:lnTo>
                    <a:pt x="212" y="196"/>
                  </a:lnTo>
                  <a:lnTo>
                    <a:pt x="212" y="198"/>
                  </a:lnTo>
                  <a:lnTo>
                    <a:pt x="212" y="199"/>
                  </a:lnTo>
                  <a:lnTo>
                    <a:pt x="213" y="199"/>
                  </a:lnTo>
                  <a:lnTo>
                    <a:pt x="213" y="201"/>
                  </a:lnTo>
                  <a:lnTo>
                    <a:pt x="213" y="203"/>
                  </a:lnTo>
                  <a:lnTo>
                    <a:pt x="215" y="203"/>
                  </a:lnTo>
                  <a:lnTo>
                    <a:pt x="215" y="204"/>
                  </a:lnTo>
                  <a:lnTo>
                    <a:pt x="215" y="204"/>
                  </a:lnTo>
                  <a:lnTo>
                    <a:pt x="217" y="204"/>
                  </a:lnTo>
                  <a:lnTo>
                    <a:pt x="217" y="206"/>
                  </a:lnTo>
                  <a:lnTo>
                    <a:pt x="219" y="208"/>
                  </a:lnTo>
                  <a:lnTo>
                    <a:pt x="219" y="210"/>
                  </a:lnTo>
                  <a:lnTo>
                    <a:pt x="220" y="210"/>
                  </a:lnTo>
                  <a:lnTo>
                    <a:pt x="222" y="211"/>
                  </a:lnTo>
                  <a:lnTo>
                    <a:pt x="224" y="211"/>
                  </a:lnTo>
                  <a:lnTo>
                    <a:pt x="224" y="213"/>
                  </a:lnTo>
                  <a:lnTo>
                    <a:pt x="224" y="213"/>
                  </a:lnTo>
                  <a:lnTo>
                    <a:pt x="225" y="215"/>
                  </a:lnTo>
                  <a:lnTo>
                    <a:pt x="227" y="215"/>
                  </a:lnTo>
                  <a:lnTo>
                    <a:pt x="231" y="215"/>
                  </a:lnTo>
                  <a:lnTo>
                    <a:pt x="232" y="215"/>
                  </a:lnTo>
                  <a:lnTo>
                    <a:pt x="236" y="215"/>
                  </a:lnTo>
                  <a:lnTo>
                    <a:pt x="237" y="215"/>
                  </a:lnTo>
                  <a:lnTo>
                    <a:pt x="239" y="215"/>
                  </a:lnTo>
                  <a:lnTo>
                    <a:pt x="239" y="215"/>
                  </a:lnTo>
                  <a:lnTo>
                    <a:pt x="241" y="215"/>
                  </a:lnTo>
                  <a:lnTo>
                    <a:pt x="243" y="215"/>
                  </a:lnTo>
                  <a:lnTo>
                    <a:pt x="244" y="215"/>
                  </a:lnTo>
                  <a:lnTo>
                    <a:pt x="244" y="216"/>
                  </a:lnTo>
                  <a:lnTo>
                    <a:pt x="246" y="216"/>
                  </a:lnTo>
                  <a:lnTo>
                    <a:pt x="248" y="216"/>
                  </a:lnTo>
                  <a:lnTo>
                    <a:pt x="248" y="218"/>
                  </a:lnTo>
                  <a:lnTo>
                    <a:pt x="250" y="218"/>
                  </a:lnTo>
                  <a:lnTo>
                    <a:pt x="250" y="220"/>
                  </a:lnTo>
                  <a:lnTo>
                    <a:pt x="251" y="220"/>
                  </a:lnTo>
                  <a:lnTo>
                    <a:pt x="253" y="223"/>
                  </a:lnTo>
                  <a:lnTo>
                    <a:pt x="253" y="225"/>
                  </a:lnTo>
                  <a:lnTo>
                    <a:pt x="253" y="227"/>
                  </a:lnTo>
                  <a:lnTo>
                    <a:pt x="253" y="229"/>
                  </a:lnTo>
                  <a:lnTo>
                    <a:pt x="253" y="230"/>
                  </a:lnTo>
                  <a:lnTo>
                    <a:pt x="253" y="234"/>
                  </a:lnTo>
                  <a:lnTo>
                    <a:pt x="253" y="234"/>
                  </a:lnTo>
                  <a:lnTo>
                    <a:pt x="251" y="235"/>
                  </a:lnTo>
                  <a:lnTo>
                    <a:pt x="251" y="237"/>
                  </a:lnTo>
                  <a:lnTo>
                    <a:pt x="251" y="239"/>
                  </a:lnTo>
                  <a:lnTo>
                    <a:pt x="250" y="241"/>
                  </a:lnTo>
                  <a:lnTo>
                    <a:pt x="248" y="242"/>
                  </a:lnTo>
                  <a:lnTo>
                    <a:pt x="244" y="242"/>
                  </a:lnTo>
                  <a:lnTo>
                    <a:pt x="243" y="242"/>
                  </a:lnTo>
                  <a:lnTo>
                    <a:pt x="241" y="242"/>
                  </a:lnTo>
                  <a:lnTo>
                    <a:pt x="239" y="242"/>
                  </a:lnTo>
                  <a:lnTo>
                    <a:pt x="239" y="241"/>
                  </a:lnTo>
                  <a:lnTo>
                    <a:pt x="237" y="241"/>
                  </a:lnTo>
                  <a:lnTo>
                    <a:pt x="236" y="241"/>
                  </a:lnTo>
                  <a:lnTo>
                    <a:pt x="231" y="239"/>
                  </a:lnTo>
                  <a:lnTo>
                    <a:pt x="229" y="241"/>
                  </a:lnTo>
                  <a:lnTo>
                    <a:pt x="227" y="241"/>
                  </a:lnTo>
                  <a:lnTo>
                    <a:pt x="225" y="239"/>
                  </a:lnTo>
                  <a:lnTo>
                    <a:pt x="222" y="237"/>
                  </a:lnTo>
                  <a:lnTo>
                    <a:pt x="220" y="237"/>
                  </a:lnTo>
                  <a:lnTo>
                    <a:pt x="220" y="239"/>
                  </a:lnTo>
                  <a:lnTo>
                    <a:pt x="219" y="239"/>
                  </a:lnTo>
                  <a:lnTo>
                    <a:pt x="217" y="239"/>
                  </a:lnTo>
                  <a:lnTo>
                    <a:pt x="215" y="241"/>
                  </a:lnTo>
                  <a:lnTo>
                    <a:pt x="213" y="241"/>
                  </a:lnTo>
                  <a:lnTo>
                    <a:pt x="212" y="242"/>
                  </a:lnTo>
                  <a:lnTo>
                    <a:pt x="210" y="242"/>
                  </a:lnTo>
                  <a:lnTo>
                    <a:pt x="208" y="246"/>
                  </a:lnTo>
                  <a:lnTo>
                    <a:pt x="208" y="247"/>
                  </a:lnTo>
                  <a:lnTo>
                    <a:pt x="208" y="249"/>
                  </a:lnTo>
                  <a:lnTo>
                    <a:pt x="207" y="249"/>
                  </a:lnTo>
                  <a:lnTo>
                    <a:pt x="205" y="253"/>
                  </a:lnTo>
                  <a:lnTo>
                    <a:pt x="203" y="254"/>
                  </a:lnTo>
                  <a:lnTo>
                    <a:pt x="203" y="256"/>
                  </a:lnTo>
                  <a:lnTo>
                    <a:pt x="203" y="258"/>
                  </a:lnTo>
                  <a:lnTo>
                    <a:pt x="201" y="261"/>
                  </a:lnTo>
                  <a:lnTo>
                    <a:pt x="201" y="263"/>
                  </a:lnTo>
                  <a:lnTo>
                    <a:pt x="201" y="265"/>
                  </a:lnTo>
                  <a:lnTo>
                    <a:pt x="201" y="266"/>
                  </a:lnTo>
                  <a:lnTo>
                    <a:pt x="203" y="268"/>
                  </a:lnTo>
                  <a:lnTo>
                    <a:pt x="203" y="270"/>
                  </a:lnTo>
                  <a:lnTo>
                    <a:pt x="203" y="272"/>
                  </a:lnTo>
                  <a:lnTo>
                    <a:pt x="205" y="273"/>
                  </a:lnTo>
                  <a:lnTo>
                    <a:pt x="207" y="275"/>
                  </a:lnTo>
                  <a:lnTo>
                    <a:pt x="208" y="278"/>
                  </a:lnTo>
                  <a:lnTo>
                    <a:pt x="213" y="282"/>
                  </a:lnTo>
                  <a:lnTo>
                    <a:pt x="213" y="284"/>
                  </a:lnTo>
                  <a:lnTo>
                    <a:pt x="217" y="285"/>
                  </a:lnTo>
                  <a:lnTo>
                    <a:pt x="219" y="287"/>
                  </a:lnTo>
                  <a:lnTo>
                    <a:pt x="219" y="289"/>
                  </a:lnTo>
                  <a:lnTo>
                    <a:pt x="220" y="290"/>
                  </a:lnTo>
                  <a:lnTo>
                    <a:pt x="222" y="292"/>
                  </a:lnTo>
                  <a:lnTo>
                    <a:pt x="224" y="292"/>
                  </a:lnTo>
                  <a:lnTo>
                    <a:pt x="224" y="294"/>
                  </a:lnTo>
                  <a:lnTo>
                    <a:pt x="224" y="296"/>
                  </a:lnTo>
                  <a:lnTo>
                    <a:pt x="224" y="299"/>
                  </a:lnTo>
                  <a:lnTo>
                    <a:pt x="224" y="301"/>
                  </a:lnTo>
                  <a:lnTo>
                    <a:pt x="224" y="302"/>
                  </a:lnTo>
                  <a:lnTo>
                    <a:pt x="222" y="304"/>
                  </a:lnTo>
                  <a:lnTo>
                    <a:pt x="222" y="306"/>
                  </a:lnTo>
                  <a:lnTo>
                    <a:pt x="224" y="306"/>
                  </a:lnTo>
                  <a:lnTo>
                    <a:pt x="225" y="308"/>
                  </a:lnTo>
                  <a:lnTo>
                    <a:pt x="229" y="309"/>
                  </a:lnTo>
                  <a:lnTo>
                    <a:pt x="229" y="309"/>
                  </a:lnTo>
                  <a:lnTo>
                    <a:pt x="227" y="311"/>
                  </a:lnTo>
                  <a:lnTo>
                    <a:pt x="227" y="313"/>
                  </a:lnTo>
                  <a:lnTo>
                    <a:pt x="225" y="315"/>
                  </a:lnTo>
                  <a:lnTo>
                    <a:pt x="224" y="316"/>
                  </a:lnTo>
                  <a:lnTo>
                    <a:pt x="224" y="318"/>
                  </a:lnTo>
                  <a:lnTo>
                    <a:pt x="222" y="320"/>
                  </a:lnTo>
                  <a:lnTo>
                    <a:pt x="222" y="321"/>
                  </a:lnTo>
                  <a:lnTo>
                    <a:pt x="220" y="323"/>
                  </a:lnTo>
                  <a:lnTo>
                    <a:pt x="219" y="323"/>
                  </a:lnTo>
                  <a:lnTo>
                    <a:pt x="219" y="325"/>
                  </a:lnTo>
                  <a:lnTo>
                    <a:pt x="217" y="325"/>
                  </a:lnTo>
                  <a:lnTo>
                    <a:pt x="215" y="327"/>
                  </a:lnTo>
                  <a:lnTo>
                    <a:pt x="213" y="327"/>
                  </a:lnTo>
                  <a:lnTo>
                    <a:pt x="213" y="328"/>
                  </a:lnTo>
                  <a:lnTo>
                    <a:pt x="212" y="328"/>
                  </a:lnTo>
                  <a:lnTo>
                    <a:pt x="212" y="330"/>
                  </a:lnTo>
                  <a:lnTo>
                    <a:pt x="210" y="332"/>
                  </a:lnTo>
                  <a:lnTo>
                    <a:pt x="210" y="333"/>
                  </a:lnTo>
                  <a:lnTo>
                    <a:pt x="208" y="333"/>
                  </a:lnTo>
                  <a:lnTo>
                    <a:pt x="208" y="335"/>
                  </a:lnTo>
                  <a:lnTo>
                    <a:pt x="208" y="337"/>
                  </a:lnTo>
                  <a:lnTo>
                    <a:pt x="208" y="337"/>
                  </a:lnTo>
                  <a:lnTo>
                    <a:pt x="208" y="339"/>
                  </a:lnTo>
                  <a:lnTo>
                    <a:pt x="208" y="340"/>
                  </a:lnTo>
                  <a:lnTo>
                    <a:pt x="207" y="340"/>
                  </a:lnTo>
                  <a:lnTo>
                    <a:pt x="207" y="340"/>
                  </a:lnTo>
                  <a:lnTo>
                    <a:pt x="207" y="342"/>
                  </a:lnTo>
                  <a:lnTo>
                    <a:pt x="207" y="346"/>
                  </a:lnTo>
                  <a:lnTo>
                    <a:pt x="207" y="347"/>
                  </a:lnTo>
                  <a:lnTo>
                    <a:pt x="205" y="351"/>
                  </a:lnTo>
                  <a:lnTo>
                    <a:pt x="205" y="356"/>
                  </a:lnTo>
                  <a:lnTo>
                    <a:pt x="205" y="359"/>
                  </a:lnTo>
                  <a:lnTo>
                    <a:pt x="200" y="375"/>
                  </a:lnTo>
                  <a:lnTo>
                    <a:pt x="198" y="376"/>
                  </a:lnTo>
                  <a:lnTo>
                    <a:pt x="196" y="380"/>
                  </a:lnTo>
                  <a:lnTo>
                    <a:pt x="194" y="382"/>
                  </a:lnTo>
                  <a:lnTo>
                    <a:pt x="193" y="385"/>
                  </a:lnTo>
                  <a:lnTo>
                    <a:pt x="191" y="385"/>
                  </a:lnTo>
                  <a:lnTo>
                    <a:pt x="184" y="387"/>
                  </a:lnTo>
                  <a:lnTo>
                    <a:pt x="179" y="389"/>
                  </a:lnTo>
                  <a:lnTo>
                    <a:pt x="177" y="389"/>
                  </a:lnTo>
                  <a:lnTo>
                    <a:pt x="176" y="389"/>
                  </a:lnTo>
                  <a:lnTo>
                    <a:pt x="174" y="389"/>
                  </a:lnTo>
                  <a:lnTo>
                    <a:pt x="172" y="389"/>
                  </a:lnTo>
                  <a:lnTo>
                    <a:pt x="170" y="389"/>
                  </a:lnTo>
                  <a:lnTo>
                    <a:pt x="169" y="389"/>
                  </a:lnTo>
                  <a:lnTo>
                    <a:pt x="167" y="389"/>
                  </a:lnTo>
                  <a:lnTo>
                    <a:pt x="165" y="387"/>
                  </a:lnTo>
                  <a:lnTo>
                    <a:pt x="164" y="385"/>
                  </a:lnTo>
                  <a:lnTo>
                    <a:pt x="162" y="383"/>
                  </a:lnTo>
                  <a:lnTo>
                    <a:pt x="158" y="380"/>
                  </a:lnTo>
                  <a:lnTo>
                    <a:pt x="155" y="376"/>
                  </a:lnTo>
                  <a:lnTo>
                    <a:pt x="153" y="375"/>
                  </a:lnTo>
                  <a:lnTo>
                    <a:pt x="151" y="371"/>
                  </a:lnTo>
                  <a:lnTo>
                    <a:pt x="148" y="370"/>
                  </a:lnTo>
                  <a:lnTo>
                    <a:pt x="148" y="370"/>
                  </a:lnTo>
                  <a:lnTo>
                    <a:pt x="146" y="366"/>
                  </a:lnTo>
                  <a:lnTo>
                    <a:pt x="145" y="363"/>
                  </a:lnTo>
                  <a:lnTo>
                    <a:pt x="143" y="361"/>
                  </a:lnTo>
                  <a:lnTo>
                    <a:pt x="141" y="356"/>
                  </a:lnTo>
                  <a:lnTo>
                    <a:pt x="139" y="356"/>
                  </a:lnTo>
                  <a:lnTo>
                    <a:pt x="136" y="352"/>
                  </a:lnTo>
                  <a:lnTo>
                    <a:pt x="134" y="349"/>
                  </a:lnTo>
                  <a:lnTo>
                    <a:pt x="133" y="344"/>
                  </a:lnTo>
                  <a:lnTo>
                    <a:pt x="127" y="340"/>
                  </a:lnTo>
                  <a:lnTo>
                    <a:pt x="126" y="340"/>
                  </a:lnTo>
                  <a:lnTo>
                    <a:pt x="126" y="337"/>
                  </a:lnTo>
                  <a:lnTo>
                    <a:pt x="126" y="335"/>
                  </a:lnTo>
                  <a:lnTo>
                    <a:pt x="126" y="330"/>
                  </a:lnTo>
                  <a:lnTo>
                    <a:pt x="119" y="330"/>
                  </a:lnTo>
                  <a:lnTo>
                    <a:pt x="119" y="325"/>
                  </a:lnTo>
                  <a:lnTo>
                    <a:pt x="119" y="325"/>
                  </a:lnTo>
                  <a:lnTo>
                    <a:pt x="115" y="325"/>
                  </a:lnTo>
                  <a:lnTo>
                    <a:pt x="115" y="325"/>
                  </a:lnTo>
                  <a:lnTo>
                    <a:pt x="114" y="315"/>
                  </a:lnTo>
                  <a:lnTo>
                    <a:pt x="114" y="313"/>
                  </a:lnTo>
                  <a:lnTo>
                    <a:pt x="112" y="313"/>
                  </a:lnTo>
                  <a:lnTo>
                    <a:pt x="108" y="313"/>
                  </a:lnTo>
                  <a:lnTo>
                    <a:pt x="108" y="311"/>
                  </a:lnTo>
                  <a:lnTo>
                    <a:pt x="108" y="309"/>
                  </a:lnTo>
                  <a:lnTo>
                    <a:pt x="103" y="309"/>
                  </a:lnTo>
                  <a:lnTo>
                    <a:pt x="103" y="304"/>
                  </a:lnTo>
                  <a:lnTo>
                    <a:pt x="103" y="301"/>
                  </a:lnTo>
                  <a:lnTo>
                    <a:pt x="103" y="297"/>
                  </a:lnTo>
                  <a:lnTo>
                    <a:pt x="96" y="297"/>
                  </a:lnTo>
                  <a:lnTo>
                    <a:pt x="96" y="292"/>
                  </a:lnTo>
                  <a:lnTo>
                    <a:pt x="96" y="290"/>
                  </a:lnTo>
                  <a:lnTo>
                    <a:pt x="96" y="289"/>
                  </a:lnTo>
                  <a:lnTo>
                    <a:pt x="96" y="287"/>
                  </a:lnTo>
                  <a:lnTo>
                    <a:pt x="95" y="287"/>
                  </a:lnTo>
                  <a:lnTo>
                    <a:pt x="88" y="287"/>
                  </a:lnTo>
                  <a:lnTo>
                    <a:pt x="84" y="287"/>
                  </a:lnTo>
                  <a:lnTo>
                    <a:pt x="84" y="277"/>
                  </a:lnTo>
                  <a:lnTo>
                    <a:pt x="79" y="277"/>
                  </a:lnTo>
                  <a:lnTo>
                    <a:pt x="78" y="265"/>
                  </a:lnTo>
                  <a:lnTo>
                    <a:pt x="76" y="265"/>
                  </a:lnTo>
                  <a:lnTo>
                    <a:pt x="72" y="263"/>
                  </a:lnTo>
                  <a:lnTo>
                    <a:pt x="69" y="259"/>
                  </a:lnTo>
                  <a:lnTo>
                    <a:pt x="67" y="259"/>
                  </a:lnTo>
                  <a:lnTo>
                    <a:pt x="67" y="256"/>
                  </a:lnTo>
                  <a:lnTo>
                    <a:pt x="67" y="253"/>
                  </a:lnTo>
                  <a:lnTo>
                    <a:pt x="62" y="254"/>
                  </a:lnTo>
                  <a:lnTo>
                    <a:pt x="60" y="254"/>
                  </a:lnTo>
                  <a:lnTo>
                    <a:pt x="60" y="251"/>
                  </a:lnTo>
                  <a:lnTo>
                    <a:pt x="60" y="244"/>
                  </a:lnTo>
                  <a:lnTo>
                    <a:pt x="55" y="244"/>
                  </a:lnTo>
                  <a:lnTo>
                    <a:pt x="55" y="237"/>
                  </a:lnTo>
                  <a:lnTo>
                    <a:pt x="48" y="237"/>
                  </a:lnTo>
                  <a:lnTo>
                    <a:pt x="48" y="235"/>
                  </a:lnTo>
                  <a:lnTo>
                    <a:pt x="48" y="234"/>
                  </a:lnTo>
                  <a:lnTo>
                    <a:pt x="48" y="230"/>
                  </a:lnTo>
                  <a:lnTo>
                    <a:pt x="48" y="229"/>
                  </a:lnTo>
                  <a:lnTo>
                    <a:pt x="48" y="227"/>
                  </a:lnTo>
                  <a:lnTo>
                    <a:pt x="48" y="222"/>
                  </a:lnTo>
                  <a:lnTo>
                    <a:pt x="45" y="222"/>
                  </a:lnTo>
                  <a:lnTo>
                    <a:pt x="43" y="222"/>
                  </a:lnTo>
                  <a:lnTo>
                    <a:pt x="38" y="222"/>
                  </a:lnTo>
                  <a:lnTo>
                    <a:pt x="38" y="216"/>
                  </a:lnTo>
                  <a:lnTo>
                    <a:pt x="38" y="211"/>
                  </a:lnTo>
                  <a:lnTo>
                    <a:pt x="31" y="211"/>
                  </a:lnTo>
                  <a:lnTo>
                    <a:pt x="31" y="210"/>
                  </a:lnTo>
                  <a:lnTo>
                    <a:pt x="31" y="204"/>
                  </a:lnTo>
                  <a:lnTo>
                    <a:pt x="31" y="203"/>
                  </a:lnTo>
                  <a:lnTo>
                    <a:pt x="31" y="201"/>
                  </a:lnTo>
                  <a:lnTo>
                    <a:pt x="28" y="201"/>
                  </a:lnTo>
                  <a:lnTo>
                    <a:pt x="26" y="201"/>
                  </a:lnTo>
                  <a:lnTo>
                    <a:pt x="24" y="189"/>
                  </a:lnTo>
                  <a:lnTo>
                    <a:pt x="21" y="189"/>
                  </a:lnTo>
                  <a:lnTo>
                    <a:pt x="17" y="189"/>
                  </a:lnTo>
                  <a:lnTo>
                    <a:pt x="16" y="189"/>
                  </a:lnTo>
                  <a:lnTo>
                    <a:pt x="14" y="189"/>
                  </a:lnTo>
                  <a:lnTo>
                    <a:pt x="12" y="189"/>
                  </a:lnTo>
                  <a:lnTo>
                    <a:pt x="12" y="184"/>
                  </a:lnTo>
                  <a:lnTo>
                    <a:pt x="12" y="177"/>
                  </a:lnTo>
                  <a:lnTo>
                    <a:pt x="10" y="177"/>
                  </a:lnTo>
                  <a:lnTo>
                    <a:pt x="0" y="179"/>
                  </a:lnTo>
                  <a:lnTo>
                    <a:pt x="0" y="175"/>
                  </a:lnTo>
                  <a:lnTo>
                    <a:pt x="0" y="165"/>
                  </a:lnTo>
                  <a:lnTo>
                    <a:pt x="0" y="161"/>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7" name="Freeform 240"/>
            <p:cNvSpPr>
              <a:spLocks/>
            </p:cNvSpPr>
            <p:nvPr/>
          </p:nvSpPr>
          <p:spPr bwMode="auto">
            <a:xfrm>
              <a:off x="7404983" y="5344906"/>
              <a:ext cx="539750" cy="527050"/>
            </a:xfrm>
            <a:custGeom>
              <a:avLst/>
              <a:gdLst/>
              <a:ahLst/>
              <a:cxnLst>
                <a:cxn ang="0">
                  <a:pos x="264" y="10"/>
                </a:cxn>
                <a:cxn ang="0">
                  <a:pos x="261" y="15"/>
                </a:cxn>
                <a:cxn ang="0">
                  <a:pos x="266" y="26"/>
                </a:cxn>
                <a:cxn ang="0">
                  <a:pos x="266" y="34"/>
                </a:cxn>
                <a:cxn ang="0">
                  <a:pos x="261" y="41"/>
                </a:cxn>
                <a:cxn ang="0">
                  <a:pos x="273" y="48"/>
                </a:cxn>
                <a:cxn ang="0">
                  <a:pos x="277" y="55"/>
                </a:cxn>
                <a:cxn ang="0">
                  <a:pos x="283" y="58"/>
                </a:cxn>
                <a:cxn ang="0">
                  <a:pos x="282" y="69"/>
                </a:cxn>
                <a:cxn ang="0">
                  <a:pos x="285" y="81"/>
                </a:cxn>
                <a:cxn ang="0">
                  <a:pos x="290" y="86"/>
                </a:cxn>
                <a:cxn ang="0">
                  <a:pos x="299" y="93"/>
                </a:cxn>
                <a:cxn ang="0">
                  <a:pos x="297" y="100"/>
                </a:cxn>
                <a:cxn ang="0">
                  <a:pos x="297" y="113"/>
                </a:cxn>
                <a:cxn ang="0">
                  <a:pos x="302" y="119"/>
                </a:cxn>
                <a:cxn ang="0">
                  <a:pos x="307" y="125"/>
                </a:cxn>
                <a:cxn ang="0">
                  <a:pos x="313" y="134"/>
                </a:cxn>
                <a:cxn ang="0">
                  <a:pos x="318" y="139"/>
                </a:cxn>
                <a:cxn ang="0">
                  <a:pos x="323" y="151"/>
                </a:cxn>
                <a:cxn ang="0">
                  <a:pos x="328" y="158"/>
                </a:cxn>
                <a:cxn ang="0">
                  <a:pos x="328" y="167"/>
                </a:cxn>
                <a:cxn ang="0">
                  <a:pos x="335" y="174"/>
                </a:cxn>
                <a:cxn ang="0">
                  <a:pos x="335" y="181"/>
                </a:cxn>
                <a:cxn ang="0">
                  <a:pos x="333" y="191"/>
                </a:cxn>
                <a:cxn ang="0">
                  <a:pos x="338" y="196"/>
                </a:cxn>
                <a:cxn ang="0">
                  <a:pos x="335" y="208"/>
                </a:cxn>
                <a:cxn ang="0">
                  <a:pos x="333" y="217"/>
                </a:cxn>
                <a:cxn ang="0">
                  <a:pos x="333" y="224"/>
                </a:cxn>
                <a:cxn ang="0">
                  <a:pos x="332" y="227"/>
                </a:cxn>
                <a:cxn ang="0">
                  <a:pos x="328" y="230"/>
                </a:cxn>
                <a:cxn ang="0">
                  <a:pos x="328" y="236"/>
                </a:cxn>
                <a:cxn ang="0">
                  <a:pos x="321" y="237"/>
                </a:cxn>
                <a:cxn ang="0">
                  <a:pos x="318" y="248"/>
                </a:cxn>
                <a:cxn ang="0">
                  <a:pos x="318" y="249"/>
                </a:cxn>
                <a:cxn ang="0">
                  <a:pos x="313" y="253"/>
                </a:cxn>
                <a:cxn ang="0">
                  <a:pos x="313" y="263"/>
                </a:cxn>
                <a:cxn ang="0">
                  <a:pos x="311" y="268"/>
                </a:cxn>
                <a:cxn ang="0">
                  <a:pos x="309" y="282"/>
                </a:cxn>
                <a:cxn ang="0">
                  <a:pos x="307" y="289"/>
                </a:cxn>
                <a:cxn ang="0">
                  <a:pos x="301" y="294"/>
                </a:cxn>
                <a:cxn ang="0">
                  <a:pos x="297" y="301"/>
                </a:cxn>
                <a:cxn ang="0">
                  <a:pos x="294" y="308"/>
                </a:cxn>
                <a:cxn ang="0">
                  <a:pos x="294" y="322"/>
                </a:cxn>
                <a:cxn ang="0">
                  <a:pos x="273" y="327"/>
                </a:cxn>
                <a:cxn ang="0">
                  <a:pos x="197" y="328"/>
                </a:cxn>
                <a:cxn ang="0">
                  <a:pos x="137" y="330"/>
                </a:cxn>
                <a:cxn ang="0">
                  <a:pos x="99" y="332"/>
                </a:cxn>
                <a:cxn ang="0">
                  <a:pos x="70" y="325"/>
                </a:cxn>
                <a:cxn ang="0">
                  <a:pos x="70" y="272"/>
                </a:cxn>
                <a:cxn ang="0">
                  <a:pos x="58" y="241"/>
                </a:cxn>
                <a:cxn ang="0">
                  <a:pos x="58" y="206"/>
                </a:cxn>
                <a:cxn ang="0">
                  <a:pos x="34" y="184"/>
                </a:cxn>
                <a:cxn ang="0">
                  <a:pos x="34" y="124"/>
                </a:cxn>
                <a:cxn ang="0">
                  <a:pos x="12" y="62"/>
                </a:cxn>
                <a:cxn ang="0">
                  <a:pos x="0" y="22"/>
                </a:cxn>
                <a:cxn ang="0">
                  <a:pos x="24" y="5"/>
                </a:cxn>
                <a:cxn ang="0">
                  <a:pos x="94" y="3"/>
                </a:cxn>
                <a:cxn ang="0">
                  <a:pos x="122" y="3"/>
                </a:cxn>
                <a:cxn ang="0">
                  <a:pos x="178" y="2"/>
                </a:cxn>
                <a:cxn ang="0">
                  <a:pos x="218" y="0"/>
                </a:cxn>
                <a:cxn ang="0">
                  <a:pos x="254" y="2"/>
                </a:cxn>
              </a:cxnLst>
              <a:rect l="0" t="0" r="r" b="b"/>
              <a:pathLst>
                <a:path w="340" h="332">
                  <a:moveTo>
                    <a:pt x="259" y="2"/>
                  </a:moveTo>
                  <a:lnTo>
                    <a:pt x="259" y="3"/>
                  </a:lnTo>
                  <a:lnTo>
                    <a:pt x="259" y="5"/>
                  </a:lnTo>
                  <a:lnTo>
                    <a:pt x="259" y="7"/>
                  </a:lnTo>
                  <a:lnTo>
                    <a:pt x="259" y="9"/>
                  </a:lnTo>
                  <a:lnTo>
                    <a:pt x="259" y="10"/>
                  </a:lnTo>
                  <a:lnTo>
                    <a:pt x="259" y="10"/>
                  </a:lnTo>
                  <a:lnTo>
                    <a:pt x="259" y="10"/>
                  </a:lnTo>
                  <a:lnTo>
                    <a:pt x="261" y="10"/>
                  </a:lnTo>
                  <a:lnTo>
                    <a:pt x="261" y="10"/>
                  </a:lnTo>
                  <a:lnTo>
                    <a:pt x="263" y="10"/>
                  </a:lnTo>
                  <a:lnTo>
                    <a:pt x="264" y="10"/>
                  </a:lnTo>
                  <a:lnTo>
                    <a:pt x="264" y="10"/>
                  </a:lnTo>
                  <a:lnTo>
                    <a:pt x="263" y="10"/>
                  </a:lnTo>
                  <a:lnTo>
                    <a:pt x="263" y="12"/>
                  </a:lnTo>
                  <a:lnTo>
                    <a:pt x="261" y="12"/>
                  </a:lnTo>
                  <a:lnTo>
                    <a:pt x="259" y="12"/>
                  </a:lnTo>
                  <a:lnTo>
                    <a:pt x="259" y="12"/>
                  </a:lnTo>
                  <a:lnTo>
                    <a:pt x="258" y="12"/>
                  </a:lnTo>
                  <a:lnTo>
                    <a:pt x="258" y="14"/>
                  </a:lnTo>
                  <a:lnTo>
                    <a:pt x="259" y="14"/>
                  </a:lnTo>
                  <a:lnTo>
                    <a:pt x="259" y="14"/>
                  </a:lnTo>
                  <a:lnTo>
                    <a:pt x="259" y="12"/>
                  </a:lnTo>
                  <a:lnTo>
                    <a:pt x="259" y="14"/>
                  </a:lnTo>
                  <a:lnTo>
                    <a:pt x="261" y="14"/>
                  </a:lnTo>
                  <a:lnTo>
                    <a:pt x="261" y="15"/>
                  </a:lnTo>
                  <a:lnTo>
                    <a:pt x="261" y="17"/>
                  </a:lnTo>
                  <a:lnTo>
                    <a:pt x="263" y="17"/>
                  </a:lnTo>
                  <a:lnTo>
                    <a:pt x="261" y="17"/>
                  </a:lnTo>
                  <a:lnTo>
                    <a:pt x="261" y="19"/>
                  </a:lnTo>
                  <a:lnTo>
                    <a:pt x="261" y="21"/>
                  </a:lnTo>
                  <a:lnTo>
                    <a:pt x="263" y="21"/>
                  </a:lnTo>
                  <a:lnTo>
                    <a:pt x="264" y="21"/>
                  </a:lnTo>
                  <a:lnTo>
                    <a:pt x="264" y="22"/>
                  </a:lnTo>
                  <a:lnTo>
                    <a:pt x="266" y="22"/>
                  </a:lnTo>
                  <a:lnTo>
                    <a:pt x="266" y="24"/>
                  </a:lnTo>
                  <a:lnTo>
                    <a:pt x="264" y="24"/>
                  </a:lnTo>
                  <a:lnTo>
                    <a:pt x="264" y="26"/>
                  </a:lnTo>
                  <a:lnTo>
                    <a:pt x="266" y="26"/>
                  </a:lnTo>
                  <a:lnTo>
                    <a:pt x="268" y="26"/>
                  </a:lnTo>
                  <a:lnTo>
                    <a:pt x="268" y="26"/>
                  </a:lnTo>
                  <a:lnTo>
                    <a:pt x="266" y="26"/>
                  </a:lnTo>
                  <a:lnTo>
                    <a:pt x="266" y="27"/>
                  </a:lnTo>
                  <a:lnTo>
                    <a:pt x="264" y="27"/>
                  </a:lnTo>
                  <a:lnTo>
                    <a:pt x="264" y="26"/>
                  </a:lnTo>
                  <a:lnTo>
                    <a:pt x="263" y="26"/>
                  </a:lnTo>
                  <a:lnTo>
                    <a:pt x="263" y="27"/>
                  </a:lnTo>
                  <a:lnTo>
                    <a:pt x="263" y="29"/>
                  </a:lnTo>
                  <a:lnTo>
                    <a:pt x="263" y="31"/>
                  </a:lnTo>
                  <a:lnTo>
                    <a:pt x="263" y="33"/>
                  </a:lnTo>
                  <a:lnTo>
                    <a:pt x="264" y="34"/>
                  </a:lnTo>
                  <a:lnTo>
                    <a:pt x="266" y="34"/>
                  </a:lnTo>
                  <a:lnTo>
                    <a:pt x="266" y="36"/>
                  </a:lnTo>
                  <a:lnTo>
                    <a:pt x="264" y="36"/>
                  </a:lnTo>
                  <a:lnTo>
                    <a:pt x="263" y="36"/>
                  </a:lnTo>
                  <a:lnTo>
                    <a:pt x="263" y="38"/>
                  </a:lnTo>
                  <a:lnTo>
                    <a:pt x="261" y="36"/>
                  </a:lnTo>
                  <a:lnTo>
                    <a:pt x="261" y="34"/>
                  </a:lnTo>
                  <a:lnTo>
                    <a:pt x="259" y="34"/>
                  </a:lnTo>
                  <a:lnTo>
                    <a:pt x="259" y="36"/>
                  </a:lnTo>
                  <a:lnTo>
                    <a:pt x="259" y="38"/>
                  </a:lnTo>
                  <a:lnTo>
                    <a:pt x="261" y="38"/>
                  </a:lnTo>
                  <a:lnTo>
                    <a:pt x="261" y="39"/>
                  </a:lnTo>
                  <a:lnTo>
                    <a:pt x="261" y="39"/>
                  </a:lnTo>
                  <a:lnTo>
                    <a:pt x="261" y="41"/>
                  </a:lnTo>
                  <a:lnTo>
                    <a:pt x="263" y="41"/>
                  </a:lnTo>
                  <a:lnTo>
                    <a:pt x="263" y="43"/>
                  </a:lnTo>
                  <a:lnTo>
                    <a:pt x="264" y="43"/>
                  </a:lnTo>
                  <a:lnTo>
                    <a:pt x="266" y="43"/>
                  </a:lnTo>
                  <a:lnTo>
                    <a:pt x="268" y="43"/>
                  </a:lnTo>
                  <a:lnTo>
                    <a:pt x="270" y="43"/>
                  </a:lnTo>
                  <a:lnTo>
                    <a:pt x="270" y="45"/>
                  </a:lnTo>
                  <a:lnTo>
                    <a:pt x="270" y="46"/>
                  </a:lnTo>
                  <a:lnTo>
                    <a:pt x="271" y="46"/>
                  </a:lnTo>
                  <a:lnTo>
                    <a:pt x="271" y="48"/>
                  </a:lnTo>
                  <a:lnTo>
                    <a:pt x="271" y="50"/>
                  </a:lnTo>
                  <a:lnTo>
                    <a:pt x="273" y="50"/>
                  </a:lnTo>
                  <a:lnTo>
                    <a:pt x="273" y="48"/>
                  </a:lnTo>
                  <a:lnTo>
                    <a:pt x="273" y="46"/>
                  </a:lnTo>
                  <a:lnTo>
                    <a:pt x="273" y="48"/>
                  </a:lnTo>
                  <a:lnTo>
                    <a:pt x="275" y="48"/>
                  </a:lnTo>
                  <a:lnTo>
                    <a:pt x="275" y="50"/>
                  </a:lnTo>
                  <a:lnTo>
                    <a:pt x="275" y="52"/>
                  </a:lnTo>
                  <a:lnTo>
                    <a:pt x="275" y="52"/>
                  </a:lnTo>
                  <a:lnTo>
                    <a:pt x="277" y="52"/>
                  </a:lnTo>
                  <a:lnTo>
                    <a:pt x="277" y="50"/>
                  </a:lnTo>
                  <a:lnTo>
                    <a:pt x="277" y="52"/>
                  </a:lnTo>
                  <a:lnTo>
                    <a:pt x="278" y="52"/>
                  </a:lnTo>
                  <a:lnTo>
                    <a:pt x="278" y="53"/>
                  </a:lnTo>
                  <a:lnTo>
                    <a:pt x="277" y="53"/>
                  </a:lnTo>
                  <a:lnTo>
                    <a:pt x="277" y="55"/>
                  </a:lnTo>
                  <a:lnTo>
                    <a:pt x="278" y="55"/>
                  </a:lnTo>
                  <a:lnTo>
                    <a:pt x="280" y="53"/>
                  </a:lnTo>
                  <a:lnTo>
                    <a:pt x="280" y="55"/>
                  </a:lnTo>
                  <a:lnTo>
                    <a:pt x="278" y="55"/>
                  </a:lnTo>
                  <a:lnTo>
                    <a:pt x="277" y="55"/>
                  </a:lnTo>
                  <a:lnTo>
                    <a:pt x="277" y="57"/>
                  </a:lnTo>
                  <a:lnTo>
                    <a:pt x="278" y="57"/>
                  </a:lnTo>
                  <a:lnTo>
                    <a:pt x="280" y="58"/>
                  </a:lnTo>
                  <a:lnTo>
                    <a:pt x="282" y="58"/>
                  </a:lnTo>
                  <a:lnTo>
                    <a:pt x="282" y="57"/>
                  </a:lnTo>
                  <a:lnTo>
                    <a:pt x="282" y="55"/>
                  </a:lnTo>
                  <a:lnTo>
                    <a:pt x="283" y="57"/>
                  </a:lnTo>
                  <a:lnTo>
                    <a:pt x="283" y="58"/>
                  </a:lnTo>
                  <a:lnTo>
                    <a:pt x="283" y="60"/>
                  </a:lnTo>
                  <a:lnTo>
                    <a:pt x="285" y="60"/>
                  </a:lnTo>
                  <a:lnTo>
                    <a:pt x="285" y="62"/>
                  </a:lnTo>
                  <a:lnTo>
                    <a:pt x="287" y="62"/>
                  </a:lnTo>
                  <a:lnTo>
                    <a:pt x="287" y="64"/>
                  </a:lnTo>
                  <a:lnTo>
                    <a:pt x="285" y="64"/>
                  </a:lnTo>
                  <a:lnTo>
                    <a:pt x="285" y="65"/>
                  </a:lnTo>
                  <a:lnTo>
                    <a:pt x="283" y="65"/>
                  </a:lnTo>
                  <a:lnTo>
                    <a:pt x="282" y="65"/>
                  </a:lnTo>
                  <a:lnTo>
                    <a:pt x="282" y="67"/>
                  </a:lnTo>
                  <a:lnTo>
                    <a:pt x="283" y="67"/>
                  </a:lnTo>
                  <a:lnTo>
                    <a:pt x="283" y="69"/>
                  </a:lnTo>
                  <a:lnTo>
                    <a:pt x="282" y="69"/>
                  </a:lnTo>
                  <a:lnTo>
                    <a:pt x="282" y="70"/>
                  </a:lnTo>
                  <a:lnTo>
                    <a:pt x="282" y="70"/>
                  </a:lnTo>
                  <a:lnTo>
                    <a:pt x="283" y="72"/>
                  </a:lnTo>
                  <a:lnTo>
                    <a:pt x="285" y="72"/>
                  </a:lnTo>
                  <a:lnTo>
                    <a:pt x="285" y="74"/>
                  </a:lnTo>
                  <a:lnTo>
                    <a:pt x="287" y="74"/>
                  </a:lnTo>
                  <a:lnTo>
                    <a:pt x="287" y="76"/>
                  </a:lnTo>
                  <a:lnTo>
                    <a:pt x="285" y="76"/>
                  </a:lnTo>
                  <a:lnTo>
                    <a:pt x="285" y="77"/>
                  </a:lnTo>
                  <a:lnTo>
                    <a:pt x="283" y="77"/>
                  </a:lnTo>
                  <a:lnTo>
                    <a:pt x="283" y="79"/>
                  </a:lnTo>
                  <a:lnTo>
                    <a:pt x="283" y="81"/>
                  </a:lnTo>
                  <a:lnTo>
                    <a:pt x="285" y="81"/>
                  </a:lnTo>
                  <a:lnTo>
                    <a:pt x="287" y="81"/>
                  </a:lnTo>
                  <a:lnTo>
                    <a:pt x="287" y="79"/>
                  </a:lnTo>
                  <a:lnTo>
                    <a:pt x="289" y="79"/>
                  </a:lnTo>
                  <a:lnTo>
                    <a:pt x="290" y="79"/>
                  </a:lnTo>
                  <a:lnTo>
                    <a:pt x="290" y="81"/>
                  </a:lnTo>
                  <a:lnTo>
                    <a:pt x="290" y="82"/>
                  </a:lnTo>
                  <a:lnTo>
                    <a:pt x="290" y="82"/>
                  </a:lnTo>
                  <a:lnTo>
                    <a:pt x="290" y="82"/>
                  </a:lnTo>
                  <a:lnTo>
                    <a:pt x="289" y="82"/>
                  </a:lnTo>
                  <a:lnTo>
                    <a:pt x="287" y="84"/>
                  </a:lnTo>
                  <a:lnTo>
                    <a:pt x="289" y="84"/>
                  </a:lnTo>
                  <a:lnTo>
                    <a:pt x="289" y="86"/>
                  </a:lnTo>
                  <a:lnTo>
                    <a:pt x="290" y="86"/>
                  </a:lnTo>
                  <a:lnTo>
                    <a:pt x="290" y="86"/>
                  </a:lnTo>
                  <a:lnTo>
                    <a:pt x="292" y="86"/>
                  </a:lnTo>
                  <a:lnTo>
                    <a:pt x="292" y="86"/>
                  </a:lnTo>
                  <a:lnTo>
                    <a:pt x="290" y="86"/>
                  </a:lnTo>
                  <a:lnTo>
                    <a:pt x="290" y="88"/>
                  </a:lnTo>
                  <a:lnTo>
                    <a:pt x="292" y="88"/>
                  </a:lnTo>
                  <a:lnTo>
                    <a:pt x="294" y="88"/>
                  </a:lnTo>
                  <a:lnTo>
                    <a:pt x="295" y="88"/>
                  </a:lnTo>
                  <a:lnTo>
                    <a:pt x="295" y="89"/>
                  </a:lnTo>
                  <a:lnTo>
                    <a:pt x="297" y="89"/>
                  </a:lnTo>
                  <a:lnTo>
                    <a:pt x="297" y="91"/>
                  </a:lnTo>
                  <a:lnTo>
                    <a:pt x="299" y="91"/>
                  </a:lnTo>
                  <a:lnTo>
                    <a:pt x="299" y="93"/>
                  </a:lnTo>
                  <a:lnTo>
                    <a:pt x="297" y="93"/>
                  </a:lnTo>
                  <a:lnTo>
                    <a:pt x="295" y="93"/>
                  </a:lnTo>
                  <a:lnTo>
                    <a:pt x="294" y="93"/>
                  </a:lnTo>
                  <a:lnTo>
                    <a:pt x="294" y="95"/>
                  </a:lnTo>
                  <a:lnTo>
                    <a:pt x="295" y="95"/>
                  </a:lnTo>
                  <a:lnTo>
                    <a:pt x="295" y="96"/>
                  </a:lnTo>
                  <a:lnTo>
                    <a:pt x="297" y="96"/>
                  </a:lnTo>
                  <a:lnTo>
                    <a:pt x="297" y="98"/>
                  </a:lnTo>
                  <a:lnTo>
                    <a:pt x="297" y="100"/>
                  </a:lnTo>
                  <a:lnTo>
                    <a:pt x="299" y="100"/>
                  </a:lnTo>
                  <a:lnTo>
                    <a:pt x="299" y="100"/>
                  </a:lnTo>
                  <a:lnTo>
                    <a:pt x="297" y="100"/>
                  </a:lnTo>
                  <a:lnTo>
                    <a:pt x="297" y="100"/>
                  </a:lnTo>
                  <a:lnTo>
                    <a:pt x="295" y="100"/>
                  </a:lnTo>
                  <a:lnTo>
                    <a:pt x="295" y="100"/>
                  </a:lnTo>
                  <a:lnTo>
                    <a:pt x="295" y="101"/>
                  </a:lnTo>
                  <a:lnTo>
                    <a:pt x="297" y="101"/>
                  </a:lnTo>
                  <a:lnTo>
                    <a:pt x="297" y="103"/>
                  </a:lnTo>
                  <a:lnTo>
                    <a:pt x="297" y="105"/>
                  </a:lnTo>
                  <a:lnTo>
                    <a:pt x="295" y="105"/>
                  </a:lnTo>
                  <a:lnTo>
                    <a:pt x="295" y="107"/>
                  </a:lnTo>
                  <a:lnTo>
                    <a:pt x="297" y="107"/>
                  </a:lnTo>
                  <a:lnTo>
                    <a:pt x="297" y="108"/>
                  </a:lnTo>
                  <a:lnTo>
                    <a:pt x="297" y="110"/>
                  </a:lnTo>
                  <a:lnTo>
                    <a:pt x="297" y="112"/>
                  </a:lnTo>
                  <a:lnTo>
                    <a:pt x="297" y="113"/>
                  </a:lnTo>
                  <a:lnTo>
                    <a:pt x="295" y="113"/>
                  </a:lnTo>
                  <a:lnTo>
                    <a:pt x="295" y="115"/>
                  </a:lnTo>
                  <a:lnTo>
                    <a:pt x="294" y="115"/>
                  </a:lnTo>
                  <a:lnTo>
                    <a:pt x="294" y="115"/>
                  </a:lnTo>
                  <a:lnTo>
                    <a:pt x="295" y="115"/>
                  </a:lnTo>
                  <a:lnTo>
                    <a:pt x="297" y="115"/>
                  </a:lnTo>
                  <a:lnTo>
                    <a:pt x="297" y="115"/>
                  </a:lnTo>
                  <a:lnTo>
                    <a:pt x="299" y="115"/>
                  </a:lnTo>
                  <a:lnTo>
                    <a:pt x="299" y="115"/>
                  </a:lnTo>
                  <a:lnTo>
                    <a:pt x="299" y="117"/>
                  </a:lnTo>
                  <a:lnTo>
                    <a:pt x="301" y="117"/>
                  </a:lnTo>
                  <a:lnTo>
                    <a:pt x="301" y="119"/>
                  </a:lnTo>
                  <a:lnTo>
                    <a:pt x="302" y="119"/>
                  </a:lnTo>
                  <a:lnTo>
                    <a:pt x="302" y="117"/>
                  </a:lnTo>
                  <a:lnTo>
                    <a:pt x="304" y="117"/>
                  </a:lnTo>
                  <a:lnTo>
                    <a:pt x="304" y="115"/>
                  </a:lnTo>
                  <a:lnTo>
                    <a:pt x="306" y="115"/>
                  </a:lnTo>
                  <a:lnTo>
                    <a:pt x="306" y="117"/>
                  </a:lnTo>
                  <a:lnTo>
                    <a:pt x="306" y="119"/>
                  </a:lnTo>
                  <a:lnTo>
                    <a:pt x="306" y="120"/>
                  </a:lnTo>
                  <a:lnTo>
                    <a:pt x="304" y="122"/>
                  </a:lnTo>
                  <a:lnTo>
                    <a:pt x="304" y="124"/>
                  </a:lnTo>
                  <a:lnTo>
                    <a:pt x="306" y="124"/>
                  </a:lnTo>
                  <a:lnTo>
                    <a:pt x="306" y="124"/>
                  </a:lnTo>
                  <a:lnTo>
                    <a:pt x="307" y="124"/>
                  </a:lnTo>
                  <a:lnTo>
                    <a:pt x="307" y="125"/>
                  </a:lnTo>
                  <a:lnTo>
                    <a:pt x="309" y="127"/>
                  </a:lnTo>
                  <a:lnTo>
                    <a:pt x="307" y="127"/>
                  </a:lnTo>
                  <a:lnTo>
                    <a:pt x="306" y="129"/>
                  </a:lnTo>
                  <a:lnTo>
                    <a:pt x="306" y="127"/>
                  </a:lnTo>
                  <a:lnTo>
                    <a:pt x="306" y="129"/>
                  </a:lnTo>
                  <a:lnTo>
                    <a:pt x="307" y="129"/>
                  </a:lnTo>
                  <a:lnTo>
                    <a:pt x="309" y="131"/>
                  </a:lnTo>
                  <a:lnTo>
                    <a:pt x="311" y="131"/>
                  </a:lnTo>
                  <a:lnTo>
                    <a:pt x="311" y="131"/>
                  </a:lnTo>
                  <a:lnTo>
                    <a:pt x="313" y="131"/>
                  </a:lnTo>
                  <a:lnTo>
                    <a:pt x="314" y="131"/>
                  </a:lnTo>
                  <a:lnTo>
                    <a:pt x="313" y="132"/>
                  </a:lnTo>
                  <a:lnTo>
                    <a:pt x="313" y="134"/>
                  </a:lnTo>
                  <a:lnTo>
                    <a:pt x="314" y="134"/>
                  </a:lnTo>
                  <a:lnTo>
                    <a:pt x="316" y="134"/>
                  </a:lnTo>
                  <a:lnTo>
                    <a:pt x="314" y="136"/>
                  </a:lnTo>
                  <a:lnTo>
                    <a:pt x="313" y="136"/>
                  </a:lnTo>
                  <a:lnTo>
                    <a:pt x="311" y="136"/>
                  </a:lnTo>
                  <a:lnTo>
                    <a:pt x="311" y="138"/>
                  </a:lnTo>
                  <a:lnTo>
                    <a:pt x="313" y="138"/>
                  </a:lnTo>
                  <a:lnTo>
                    <a:pt x="313" y="139"/>
                  </a:lnTo>
                  <a:lnTo>
                    <a:pt x="314" y="139"/>
                  </a:lnTo>
                  <a:lnTo>
                    <a:pt x="316" y="139"/>
                  </a:lnTo>
                  <a:lnTo>
                    <a:pt x="318" y="139"/>
                  </a:lnTo>
                  <a:lnTo>
                    <a:pt x="320" y="139"/>
                  </a:lnTo>
                  <a:lnTo>
                    <a:pt x="318" y="139"/>
                  </a:lnTo>
                  <a:lnTo>
                    <a:pt x="318" y="141"/>
                  </a:lnTo>
                  <a:lnTo>
                    <a:pt x="320" y="143"/>
                  </a:lnTo>
                  <a:lnTo>
                    <a:pt x="318" y="144"/>
                  </a:lnTo>
                  <a:lnTo>
                    <a:pt x="320" y="144"/>
                  </a:lnTo>
                  <a:lnTo>
                    <a:pt x="321" y="144"/>
                  </a:lnTo>
                  <a:lnTo>
                    <a:pt x="321" y="146"/>
                  </a:lnTo>
                  <a:lnTo>
                    <a:pt x="321" y="146"/>
                  </a:lnTo>
                  <a:lnTo>
                    <a:pt x="321" y="146"/>
                  </a:lnTo>
                  <a:lnTo>
                    <a:pt x="321" y="148"/>
                  </a:lnTo>
                  <a:lnTo>
                    <a:pt x="321" y="148"/>
                  </a:lnTo>
                  <a:lnTo>
                    <a:pt x="321" y="150"/>
                  </a:lnTo>
                  <a:lnTo>
                    <a:pt x="321" y="151"/>
                  </a:lnTo>
                  <a:lnTo>
                    <a:pt x="323" y="151"/>
                  </a:lnTo>
                  <a:lnTo>
                    <a:pt x="321" y="151"/>
                  </a:lnTo>
                  <a:lnTo>
                    <a:pt x="321" y="151"/>
                  </a:lnTo>
                  <a:lnTo>
                    <a:pt x="321" y="151"/>
                  </a:lnTo>
                  <a:lnTo>
                    <a:pt x="321" y="153"/>
                  </a:lnTo>
                  <a:lnTo>
                    <a:pt x="323" y="153"/>
                  </a:lnTo>
                  <a:lnTo>
                    <a:pt x="325" y="153"/>
                  </a:lnTo>
                  <a:lnTo>
                    <a:pt x="325" y="155"/>
                  </a:lnTo>
                  <a:lnTo>
                    <a:pt x="325" y="156"/>
                  </a:lnTo>
                  <a:lnTo>
                    <a:pt x="326" y="156"/>
                  </a:lnTo>
                  <a:lnTo>
                    <a:pt x="326" y="158"/>
                  </a:lnTo>
                  <a:lnTo>
                    <a:pt x="326" y="160"/>
                  </a:lnTo>
                  <a:lnTo>
                    <a:pt x="328" y="160"/>
                  </a:lnTo>
                  <a:lnTo>
                    <a:pt x="328" y="158"/>
                  </a:lnTo>
                  <a:lnTo>
                    <a:pt x="330" y="158"/>
                  </a:lnTo>
                  <a:lnTo>
                    <a:pt x="330" y="160"/>
                  </a:lnTo>
                  <a:lnTo>
                    <a:pt x="328" y="162"/>
                  </a:lnTo>
                  <a:lnTo>
                    <a:pt x="328" y="162"/>
                  </a:lnTo>
                  <a:lnTo>
                    <a:pt x="328" y="163"/>
                  </a:lnTo>
                  <a:lnTo>
                    <a:pt x="330" y="163"/>
                  </a:lnTo>
                  <a:lnTo>
                    <a:pt x="330" y="162"/>
                  </a:lnTo>
                  <a:lnTo>
                    <a:pt x="332" y="162"/>
                  </a:lnTo>
                  <a:lnTo>
                    <a:pt x="332" y="163"/>
                  </a:lnTo>
                  <a:lnTo>
                    <a:pt x="330" y="163"/>
                  </a:lnTo>
                  <a:lnTo>
                    <a:pt x="330" y="165"/>
                  </a:lnTo>
                  <a:lnTo>
                    <a:pt x="328" y="165"/>
                  </a:lnTo>
                  <a:lnTo>
                    <a:pt x="328" y="167"/>
                  </a:lnTo>
                  <a:lnTo>
                    <a:pt x="328" y="168"/>
                  </a:lnTo>
                  <a:lnTo>
                    <a:pt x="328" y="170"/>
                  </a:lnTo>
                  <a:lnTo>
                    <a:pt x="330" y="170"/>
                  </a:lnTo>
                  <a:lnTo>
                    <a:pt x="330" y="172"/>
                  </a:lnTo>
                  <a:lnTo>
                    <a:pt x="332" y="172"/>
                  </a:lnTo>
                  <a:lnTo>
                    <a:pt x="333" y="172"/>
                  </a:lnTo>
                  <a:lnTo>
                    <a:pt x="333" y="174"/>
                  </a:lnTo>
                  <a:lnTo>
                    <a:pt x="333" y="175"/>
                  </a:lnTo>
                  <a:lnTo>
                    <a:pt x="335" y="175"/>
                  </a:lnTo>
                  <a:lnTo>
                    <a:pt x="335" y="174"/>
                  </a:lnTo>
                  <a:lnTo>
                    <a:pt x="335" y="172"/>
                  </a:lnTo>
                  <a:lnTo>
                    <a:pt x="335" y="172"/>
                  </a:lnTo>
                  <a:lnTo>
                    <a:pt x="335" y="174"/>
                  </a:lnTo>
                  <a:lnTo>
                    <a:pt x="337" y="174"/>
                  </a:lnTo>
                  <a:lnTo>
                    <a:pt x="337" y="175"/>
                  </a:lnTo>
                  <a:lnTo>
                    <a:pt x="337" y="175"/>
                  </a:lnTo>
                  <a:lnTo>
                    <a:pt x="335" y="175"/>
                  </a:lnTo>
                  <a:lnTo>
                    <a:pt x="335" y="175"/>
                  </a:lnTo>
                  <a:lnTo>
                    <a:pt x="333" y="175"/>
                  </a:lnTo>
                  <a:lnTo>
                    <a:pt x="333" y="177"/>
                  </a:lnTo>
                  <a:lnTo>
                    <a:pt x="335" y="177"/>
                  </a:lnTo>
                  <a:lnTo>
                    <a:pt x="335" y="177"/>
                  </a:lnTo>
                  <a:lnTo>
                    <a:pt x="335" y="179"/>
                  </a:lnTo>
                  <a:lnTo>
                    <a:pt x="337" y="181"/>
                  </a:lnTo>
                  <a:lnTo>
                    <a:pt x="335" y="181"/>
                  </a:lnTo>
                  <a:lnTo>
                    <a:pt x="335" y="181"/>
                  </a:lnTo>
                  <a:lnTo>
                    <a:pt x="335" y="182"/>
                  </a:lnTo>
                  <a:lnTo>
                    <a:pt x="333" y="182"/>
                  </a:lnTo>
                  <a:lnTo>
                    <a:pt x="332" y="182"/>
                  </a:lnTo>
                  <a:lnTo>
                    <a:pt x="332" y="184"/>
                  </a:lnTo>
                  <a:lnTo>
                    <a:pt x="333" y="186"/>
                  </a:lnTo>
                  <a:lnTo>
                    <a:pt x="335" y="186"/>
                  </a:lnTo>
                  <a:lnTo>
                    <a:pt x="335" y="186"/>
                  </a:lnTo>
                  <a:lnTo>
                    <a:pt x="335" y="187"/>
                  </a:lnTo>
                  <a:lnTo>
                    <a:pt x="335" y="187"/>
                  </a:lnTo>
                  <a:lnTo>
                    <a:pt x="333" y="187"/>
                  </a:lnTo>
                  <a:lnTo>
                    <a:pt x="332" y="187"/>
                  </a:lnTo>
                  <a:lnTo>
                    <a:pt x="332" y="189"/>
                  </a:lnTo>
                  <a:lnTo>
                    <a:pt x="333" y="191"/>
                  </a:lnTo>
                  <a:lnTo>
                    <a:pt x="335" y="191"/>
                  </a:lnTo>
                  <a:lnTo>
                    <a:pt x="335" y="191"/>
                  </a:lnTo>
                  <a:lnTo>
                    <a:pt x="333" y="191"/>
                  </a:lnTo>
                  <a:lnTo>
                    <a:pt x="332" y="191"/>
                  </a:lnTo>
                  <a:lnTo>
                    <a:pt x="333" y="193"/>
                  </a:lnTo>
                  <a:lnTo>
                    <a:pt x="335" y="193"/>
                  </a:lnTo>
                  <a:lnTo>
                    <a:pt x="335" y="193"/>
                  </a:lnTo>
                  <a:lnTo>
                    <a:pt x="337" y="193"/>
                  </a:lnTo>
                  <a:lnTo>
                    <a:pt x="337" y="194"/>
                  </a:lnTo>
                  <a:lnTo>
                    <a:pt x="335" y="194"/>
                  </a:lnTo>
                  <a:lnTo>
                    <a:pt x="335" y="196"/>
                  </a:lnTo>
                  <a:lnTo>
                    <a:pt x="337" y="196"/>
                  </a:lnTo>
                  <a:lnTo>
                    <a:pt x="338" y="196"/>
                  </a:lnTo>
                  <a:lnTo>
                    <a:pt x="340" y="196"/>
                  </a:lnTo>
                  <a:lnTo>
                    <a:pt x="340" y="198"/>
                  </a:lnTo>
                  <a:lnTo>
                    <a:pt x="340" y="199"/>
                  </a:lnTo>
                  <a:lnTo>
                    <a:pt x="340" y="201"/>
                  </a:lnTo>
                  <a:lnTo>
                    <a:pt x="338" y="203"/>
                  </a:lnTo>
                  <a:lnTo>
                    <a:pt x="337" y="203"/>
                  </a:lnTo>
                  <a:lnTo>
                    <a:pt x="335" y="205"/>
                  </a:lnTo>
                  <a:lnTo>
                    <a:pt x="335" y="205"/>
                  </a:lnTo>
                  <a:lnTo>
                    <a:pt x="335" y="203"/>
                  </a:lnTo>
                  <a:lnTo>
                    <a:pt x="333" y="205"/>
                  </a:lnTo>
                  <a:lnTo>
                    <a:pt x="335" y="206"/>
                  </a:lnTo>
                  <a:lnTo>
                    <a:pt x="335" y="206"/>
                  </a:lnTo>
                  <a:lnTo>
                    <a:pt x="335" y="208"/>
                  </a:lnTo>
                  <a:lnTo>
                    <a:pt x="335" y="210"/>
                  </a:lnTo>
                  <a:lnTo>
                    <a:pt x="335" y="210"/>
                  </a:lnTo>
                  <a:lnTo>
                    <a:pt x="337" y="210"/>
                  </a:lnTo>
                  <a:lnTo>
                    <a:pt x="338" y="212"/>
                  </a:lnTo>
                  <a:lnTo>
                    <a:pt x="337" y="212"/>
                  </a:lnTo>
                  <a:lnTo>
                    <a:pt x="337" y="213"/>
                  </a:lnTo>
                  <a:lnTo>
                    <a:pt x="338" y="213"/>
                  </a:lnTo>
                  <a:lnTo>
                    <a:pt x="338" y="215"/>
                  </a:lnTo>
                  <a:lnTo>
                    <a:pt x="338" y="217"/>
                  </a:lnTo>
                  <a:lnTo>
                    <a:pt x="337" y="217"/>
                  </a:lnTo>
                  <a:lnTo>
                    <a:pt x="335" y="217"/>
                  </a:lnTo>
                  <a:lnTo>
                    <a:pt x="335" y="217"/>
                  </a:lnTo>
                  <a:lnTo>
                    <a:pt x="333" y="217"/>
                  </a:lnTo>
                  <a:lnTo>
                    <a:pt x="333" y="218"/>
                  </a:lnTo>
                  <a:lnTo>
                    <a:pt x="335" y="218"/>
                  </a:lnTo>
                  <a:lnTo>
                    <a:pt x="335" y="217"/>
                  </a:lnTo>
                  <a:lnTo>
                    <a:pt x="335" y="217"/>
                  </a:lnTo>
                  <a:lnTo>
                    <a:pt x="335" y="218"/>
                  </a:lnTo>
                  <a:lnTo>
                    <a:pt x="337" y="218"/>
                  </a:lnTo>
                  <a:lnTo>
                    <a:pt x="335" y="220"/>
                  </a:lnTo>
                  <a:lnTo>
                    <a:pt x="335" y="222"/>
                  </a:lnTo>
                  <a:lnTo>
                    <a:pt x="335" y="222"/>
                  </a:lnTo>
                  <a:lnTo>
                    <a:pt x="335" y="222"/>
                  </a:lnTo>
                  <a:lnTo>
                    <a:pt x="335" y="222"/>
                  </a:lnTo>
                  <a:lnTo>
                    <a:pt x="333" y="222"/>
                  </a:lnTo>
                  <a:lnTo>
                    <a:pt x="333" y="224"/>
                  </a:lnTo>
                  <a:lnTo>
                    <a:pt x="335" y="224"/>
                  </a:lnTo>
                  <a:lnTo>
                    <a:pt x="335" y="225"/>
                  </a:lnTo>
                  <a:lnTo>
                    <a:pt x="333" y="225"/>
                  </a:lnTo>
                  <a:lnTo>
                    <a:pt x="333" y="224"/>
                  </a:lnTo>
                  <a:lnTo>
                    <a:pt x="332" y="224"/>
                  </a:lnTo>
                  <a:lnTo>
                    <a:pt x="332" y="225"/>
                  </a:lnTo>
                  <a:lnTo>
                    <a:pt x="330" y="225"/>
                  </a:lnTo>
                  <a:lnTo>
                    <a:pt x="330" y="224"/>
                  </a:lnTo>
                  <a:lnTo>
                    <a:pt x="328" y="224"/>
                  </a:lnTo>
                  <a:lnTo>
                    <a:pt x="328" y="225"/>
                  </a:lnTo>
                  <a:lnTo>
                    <a:pt x="330" y="225"/>
                  </a:lnTo>
                  <a:lnTo>
                    <a:pt x="330" y="227"/>
                  </a:lnTo>
                  <a:lnTo>
                    <a:pt x="332" y="227"/>
                  </a:lnTo>
                  <a:lnTo>
                    <a:pt x="333" y="227"/>
                  </a:lnTo>
                  <a:lnTo>
                    <a:pt x="333" y="225"/>
                  </a:lnTo>
                  <a:lnTo>
                    <a:pt x="333" y="227"/>
                  </a:lnTo>
                  <a:lnTo>
                    <a:pt x="335" y="229"/>
                  </a:lnTo>
                  <a:lnTo>
                    <a:pt x="335" y="230"/>
                  </a:lnTo>
                  <a:lnTo>
                    <a:pt x="333" y="230"/>
                  </a:lnTo>
                  <a:lnTo>
                    <a:pt x="332" y="230"/>
                  </a:lnTo>
                  <a:lnTo>
                    <a:pt x="330" y="230"/>
                  </a:lnTo>
                  <a:lnTo>
                    <a:pt x="330" y="229"/>
                  </a:lnTo>
                  <a:lnTo>
                    <a:pt x="328" y="229"/>
                  </a:lnTo>
                  <a:lnTo>
                    <a:pt x="328" y="227"/>
                  </a:lnTo>
                  <a:lnTo>
                    <a:pt x="328" y="229"/>
                  </a:lnTo>
                  <a:lnTo>
                    <a:pt x="328" y="230"/>
                  </a:lnTo>
                  <a:lnTo>
                    <a:pt x="328" y="232"/>
                  </a:lnTo>
                  <a:lnTo>
                    <a:pt x="330" y="232"/>
                  </a:lnTo>
                  <a:lnTo>
                    <a:pt x="330" y="234"/>
                  </a:lnTo>
                  <a:lnTo>
                    <a:pt x="328" y="234"/>
                  </a:lnTo>
                  <a:lnTo>
                    <a:pt x="328" y="232"/>
                  </a:lnTo>
                  <a:lnTo>
                    <a:pt x="326" y="232"/>
                  </a:lnTo>
                  <a:lnTo>
                    <a:pt x="326" y="230"/>
                  </a:lnTo>
                  <a:lnTo>
                    <a:pt x="325" y="230"/>
                  </a:lnTo>
                  <a:lnTo>
                    <a:pt x="325" y="232"/>
                  </a:lnTo>
                  <a:lnTo>
                    <a:pt x="326" y="234"/>
                  </a:lnTo>
                  <a:lnTo>
                    <a:pt x="328" y="234"/>
                  </a:lnTo>
                  <a:lnTo>
                    <a:pt x="328" y="236"/>
                  </a:lnTo>
                  <a:lnTo>
                    <a:pt x="328" y="236"/>
                  </a:lnTo>
                  <a:lnTo>
                    <a:pt x="326" y="236"/>
                  </a:lnTo>
                  <a:lnTo>
                    <a:pt x="326" y="237"/>
                  </a:lnTo>
                  <a:lnTo>
                    <a:pt x="325" y="237"/>
                  </a:lnTo>
                  <a:lnTo>
                    <a:pt x="325" y="236"/>
                  </a:lnTo>
                  <a:lnTo>
                    <a:pt x="325" y="236"/>
                  </a:lnTo>
                  <a:lnTo>
                    <a:pt x="325" y="234"/>
                  </a:lnTo>
                  <a:lnTo>
                    <a:pt x="323" y="234"/>
                  </a:lnTo>
                  <a:lnTo>
                    <a:pt x="323" y="236"/>
                  </a:lnTo>
                  <a:lnTo>
                    <a:pt x="321" y="236"/>
                  </a:lnTo>
                  <a:lnTo>
                    <a:pt x="321" y="236"/>
                  </a:lnTo>
                  <a:lnTo>
                    <a:pt x="321" y="236"/>
                  </a:lnTo>
                  <a:lnTo>
                    <a:pt x="321" y="236"/>
                  </a:lnTo>
                  <a:lnTo>
                    <a:pt x="321" y="237"/>
                  </a:lnTo>
                  <a:lnTo>
                    <a:pt x="321" y="239"/>
                  </a:lnTo>
                  <a:lnTo>
                    <a:pt x="321" y="241"/>
                  </a:lnTo>
                  <a:lnTo>
                    <a:pt x="323" y="241"/>
                  </a:lnTo>
                  <a:lnTo>
                    <a:pt x="325" y="241"/>
                  </a:lnTo>
                  <a:lnTo>
                    <a:pt x="325" y="242"/>
                  </a:lnTo>
                  <a:lnTo>
                    <a:pt x="325" y="244"/>
                  </a:lnTo>
                  <a:lnTo>
                    <a:pt x="323" y="244"/>
                  </a:lnTo>
                  <a:lnTo>
                    <a:pt x="321" y="244"/>
                  </a:lnTo>
                  <a:lnTo>
                    <a:pt x="321" y="244"/>
                  </a:lnTo>
                  <a:lnTo>
                    <a:pt x="321" y="246"/>
                  </a:lnTo>
                  <a:lnTo>
                    <a:pt x="321" y="248"/>
                  </a:lnTo>
                  <a:lnTo>
                    <a:pt x="320" y="248"/>
                  </a:lnTo>
                  <a:lnTo>
                    <a:pt x="318" y="248"/>
                  </a:lnTo>
                  <a:lnTo>
                    <a:pt x="316" y="248"/>
                  </a:lnTo>
                  <a:lnTo>
                    <a:pt x="318" y="248"/>
                  </a:lnTo>
                  <a:lnTo>
                    <a:pt x="318" y="246"/>
                  </a:lnTo>
                  <a:lnTo>
                    <a:pt x="318" y="244"/>
                  </a:lnTo>
                  <a:lnTo>
                    <a:pt x="320" y="244"/>
                  </a:lnTo>
                  <a:lnTo>
                    <a:pt x="318" y="244"/>
                  </a:lnTo>
                  <a:lnTo>
                    <a:pt x="318" y="242"/>
                  </a:lnTo>
                  <a:lnTo>
                    <a:pt x="318" y="244"/>
                  </a:lnTo>
                  <a:lnTo>
                    <a:pt x="316" y="244"/>
                  </a:lnTo>
                  <a:lnTo>
                    <a:pt x="316" y="246"/>
                  </a:lnTo>
                  <a:lnTo>
                    <a:pt x="316" y="248"/>
                  </a:lnTo>
                  <a:lnTo>
                    <a:pt x="316" y="249"/>
                  </a:lnTo>
                  <a:lnTo>
                    <a:pt x="318" y="249"/>
                  </a:lnTo>
                  <a:lnTo>
                    <a:pt x="318" y="251"/>
                  </a:lnTo>
                  <a:lnTo>
                    <a:pt x="316" y="251"/>
                  </a:lnTo>
                  <a:lnTo>
                    <a:pt x="318" y="251"/>
                  </a:lnTo>
                  <a:lnTo>
                    <a:pt x="318" y="253"/>
                  </a:lnTo>
                  <a:lnTo>
                    <a:pt x="320" y="253"/>
                  </a:lnTo>
                  <a:lnTo>
                    <a:pt x="318" y="253"/>
                  </a:lnTo>
                  <a:lnTo>
                    <a:pt x="316" y="253"/>
                  </a:lnTo>
                  <a:lnTo>
                    <a:pt x="314" y="253"/>
                  </a:lnTo>
                  <a:lnTo>
                    <a:pt x="314" y="251"/>
                  </a:lnTo>
                  <a:lnTo>
                    <a:pt x="314" y="251"/>
                  </a:lnTo>
                  <a:lnTo>
                    <a:pt x="313" y="251"/>
                  </a:lnTo>
                  <a:lnTo>
                    <a:pt x="313" y="251"/>
                  </a:lnTo>
                  <a:lnTo>
                    <a:pt x="313" y="253"/>
                  </a:lnTo>
                  <a:lnTo>
                    <a:pt x="313" y="255"/>
                  </a:lnTo>
                  <a:lnTo>
                    <a:pt x="311" y="255"/>
                  </a:lnTo>
                  <a:lnTo>
                    <a:pt x="313" y="256"/>
                  </a:lnTo>
                  <a:lnTo>
                    <a:pt x="314" y="256"/>
                  </a:lnTo>
                  <a:lnTo>
                    <a:pt x="314" y="258"/>
                  </a:lnTo>
                  <a:lnTo>
                    <a:pt x="313" y="258"/>
                  </a:lnTo>
                  <a:lnTo>
                    <a:pt x="311" y="258"/>
                  </a:lnTo>
                  <a:lnTo>
                    <a:pt x="311" y="256"/>
                  </a:lnTo>
                  <a:lnTo>
                    <a:pt x="309" y="258"/>
                  </a:lnTo>
                  <a:lnTo>
                    <a:pt x="311" y="260"/>
                  </a:lnTo>
                  <a:lnTo>
                    <a:pt x="311" y="261"/>
                  </a:lnTo>
                  <a:lnTo>
                    <a:pt x="311" y="263"/>
                  </a:lnTo>
                  <a:lnTo>
                    <a:pt x="313" y="263"/>
                  </a:lnTo>
                  <a:lnTo>
                    <a:pt x="313" y="261"/>
                  </a:lnTo>
                  <a:lnTo>
                    <a:pt x="314" y="261"/>
                  </a:lnTo>
                  <a:lnTo>
                    <a:pt x="314" y="263"/>
                  </a:lnTo>
                  <a:lnTo>
                    <a:pt x="313" y="263"/>
                  </a:lnTo>
                  <a:lnTo>
                    <a:pt x="311" y="263"/>
                  </a:lnTo>
                  <a:lnTo>
                    <a:pt x="311" y="265"/>
                  </a:lnTo>
                  <a:lnTo>
                    <a:pt x="309" y="265"/>
                  </a:lnTo>
                  <a:lnTo>
                    <a:pt x="309" y="267"/>
                  </a:lnTo>
                  <a:lnTo>
                    <a:pt x="311" y="267"/>
                  </a:lnTo>
                  <a:lnTo>
                    <a:pt x="313" y="267"/>
                  </a:lnTo>
                  <a:lnTo>
                    <a:pt x="313" y="267"/>
                  </a:lnTo>
                  <a:lnTo>
                    <a:pt x="311" y="267"/>
                  </a:lnTo>
                  <a:lnTo>
                    <a:pt x="311" y="268"/>
                  </a:lnTo>
                  <a:lnTo>
                    <a:pt x="311" y="270"/>
                  </a:lnTo>
                  <a:lnTo>
                    <a:pt x="313" y="270"/>
                  </a:lnTo>
                  <a:lnTo>
                    <a:pt x="314" y="272"/>
                  </a:lnTo>
                  <a:lnTo>
                    <a:pt x="314" y="273"/>
                  </a:lnTo>
                  <a:lnTo>
                    <a:pt x="313" y="273"/>
                  </a:lnTo>
                  <a:lnTo>
                    <a:pt x="313" y="275"/>
                  </a:lnTo>
                  <a:lnTo>
                    <a:pt x="313" y="277"/>
                  </a:lnTo>
                  <a:lnTo>
                    <a:pt x="313" y="279"/>
                  </a:lnTo>
                  <a:lnTo>
                    <a:pt x="313" y="280"/>
                  </a:lnTo>
                  <a:lnTo>
                    <a:pt x="311" y="280"/>
                  </a:lnTo>
                  <a:lnTo>
                    <a:pt x="311" y="282"/>
                  </a:lnTo>
                  <a:lnTo>
                    <a:pt x="309" y="282"/>
                  </a:lnTo>
                  <a:lnTo>
                    <a:pt x="309" y="282"/>
                  </a:lnTo>
                  <a:lnTo>
                    <a:pt x="309" y="284"/>
                  </a:lnTo>
                  <a:lnTo>
                    <a:pt x="311" y="284"/>
                  </a:lnTo>
                  <a:lnTo>
                    <a:pt x="311" y="285"/>
                  </a:lnTo>
                  <a:lnTo>
                    <a:pt x="311" y="287"/>
                  </a:lnTo>
                  <a:lnTo>
                    <a:pt x="313" y="287"/>
                  </a:lnTo>
                  <a:lnTo>
                    <a:pt x="311" y="289"/>
                  </a:lnTo>
                  <a:lnTo>
                    <a:pt x="311" y="291"/>
                  </a:lnTo>
                  <a:lnTo>
                    <a:pt x="309" y="291"/>
                  </a:lnTo>
                  <a:lnTo>
                    <a:pt x="309" y="292"/>
                  </a:lnTo>
                  <a:lnTo>
                    <a:pt x="307" y="292"/>
                  </a:lnTo>
                  <a:lnTo>
                    <a:pt x="306" y="291"/>
                  </a:lnTo>
                  <a:lnTo>
                    <a:pt x="306" y="289"/>
                  </a:lnTo>
                  <a:lnTo>
                    <a:pt x="307" y="289"/>
                  </a:lnTo>
                  <a:lnTo>
                    <a:pt x="309" y="289"/>
                  </a:lnTo>
                  <a:lnTo>
                    <a:pt x="309" y="287"/>
                  </a:lnTo>
                  <a:lnTo>
                    <a:pt x="307" y="287"/>
                  </a:lnTo>
                  <a:lnTo>
                    <a:pt x="306" y="289"/>
                  </a:lnTo>
                  <a:lnTo>
                    <a:pt x="306" y="289"/>
                  </a:lnTo>
                  <a:lnTo>
                    <a:pt x="306" y="287"/>
                  </a:lnTo>
                  <a:lnTo>
                    <a:pt x="304" y="287"/>
                  </a:lnTo>
                  <a:lnTo>
                    <a:pt x="304" y="289"/>
                  </a:lnTo>
                  <a:lnTo>
                    <a:pt x="304" y="291"/>
                  </a:lnTo>
                  <a:lnTo>
                    <a:pt x="304" y="292"/>
                  </a:lnTo>
                  <a:lnTo>
                    <a:pt x="304" y="294"/>
                  </a:lnTo>
                  <a:lnTo>
                    <a:pt x="302" y="294"/>
                  </a:lnTo>
                  <a:lnTo>
                    <a:pt x="301" y="294"/>
                  </a:lnTo>
                  <a:lnTo>
                    <a:pt x="301" y="292"/>
                  </a:lnTo>
                  <a:lnTo>
                    <a:pt x="301" y="291"/>
                  </a:lnTo>
                  <a:lnTo>
                    <a:pt x="299" y="291"/>
                  </a:lnTo>
                  <a:lnTo>
                    <a:pt x="299" y="292"/>
                  </a:lnTo>
                  <a:lnTo>
                    <a:pt x="297" y="292"/>
                  </a:lnTo>
                  <a:lnTo>
                    <a:pt x="297" y="294"/>
                  </a:lnTo>
                  <a:lnTo>
                    <a:pt x="297" y="296"/>
                  </a:lnTo>
                  <a:lnTo>
                    <a:pt x="297" y="296"/>
                  </a:lnTo>
                  <a:lnTo>
                    <a:pt x="295" y="296"/>
                  </a:lnTo>
                  <a:lnTo>
                    <a:pt x="295" y="298"/>
                  </a:lnTo>
                  <a:lnTo>
                    <a:pt x="295" y="299"/>
                  </a:lnTo>
                  <a:lnTo>
                    <a:pt x="297" y="299"/>
                  </a:lnTo>
                  <a:lnTo>
                    <a:pt x="297" y="301"/>
                  </a:lnTo>
                  <a:lnTo>
                    <a:pt x="299" y="301"/>
                  </a:lnTo>
                  <a:lnTo>
                    <a:pt x="301" y="301"/>
                  </a:lnTo>
                  <a:lnTo>
                    <a:pt x="301" y="303"/>
                  </a:lnTo>
                  <a:lnTo>
                    <a:pt x="299" y="303"/>
                  </a:lnTo>
                  <a:lnTo>
                    <a:pt x="297" y="303"/>
                  </a:lnTo>
                  <a:lnTo>
                    <a:pt x="295" y="303"/>
                  </a:lnTo>
                  <a:lnTo>
                    <a:pt x="294" y="303"/>
                  </a:lnTo>
                  <a:lnTo>
                    <a:pt x="292" y="304"/>
                  </a:lnTo>
                  <a:lnTo>
                    <a:pt x="292" y="306"/>
                  </a:lnTo>
                  <a:lnTo>
                    <a:pt x="294" y="306"/>
                  </a:lnTo>
                  <a:lnTo>
                    <a:pt x="294" y="308"/>
                  </a:lnTo>
                  <a:lnTo>
                    <a:pt x="295" y="308"/>
                  </a:lnTo>
                  <a:lnTo>
                    <a:pt x="294" y="308"/>
                  </a:lnTo>
                  <a:lnTo>
                    <a:pt x="294" y="310"/>
                  </a:lnTo>
                  <a:lnTo>
                    <a:pt x="292" y="310"/>
                  </a:lnTo>
                  <a:lnTo>
                    <a:pt x="290" y="310"/>
                  </a:lnTo>
                  <a:lnTo>
                    <a:pt x="290" y="311"/>
                  </a:lnTo>
                  <a:lnTo>
                    <a:pt x="292" y="311"/>
                  </a:lnTo>
                  <a:lnTo>
                    <a:pt x="292" y="313"/>
                  </a:lnTo>
                  <a:lnTo>
                    <a:pt x="292" y="315"/>
                  </a:lnTo>
                  <a:lnTo>
                    <a:pt x="292" y="316"/>
                  </a:lnTo>
                  <a:lnTo>
                    <a:pt x="290" y="318"/>
                  </a:lnTo>
                  <a:lnTo>
                    <a:pt x="290" y="320"/>
                  </a:lnTo>
                  <a:lnTo>
                    <a:pt x="292" y="320"/>
                  </a:lnTo>
                  <a:lnTo>
                    <a:pt x="294" y="320"/>
                  </a:lnTo>
                  <a:lnTo>
                    <a:pt x="294" y="322"/>
                  </a:lnTo>
                  <a:lnTo>
                    <a:pt x="292" y="322"/>
                  </a:lnTo>
                  <a:lnTo>
                    <a:pt x="292" y="323"/>
                  </a:lnTo>
                  <a:lnTo>
                    <a:pt x="292" y="325"/>
                  </a:lnTo>
                  <a:lnTo>
                    <a:pt x="294" y="325"/>
                  </a:lnTo>
                  <a:lnTo>
                    <a:pt x="292" y="325"/>
                  </a:lnTo>
                  <a:lnTo>
                    <a:pt x="292" y="327"/>
                  </a:lnTo>
                  <a:lnTo>
                    <a:pt x="292" y="327"/>
                  </a:lnTo>
                  <a:lnTo>
                    <a:pt x="290" y="327"/>
                  </a:lnTo>
                  <a:lnTo>
                    <a:pt x="287" y="327"/>
                  </a:lnTo>
                  <a:lnTo>
                    <a:pt x="285" y="327"/>
                  </a:lnTo>
                  <a:lnTo>
                    <a:pt x="275" y="327"/>
                  </a:lnTo>
                  <a:lnTo>
                    <a:pt x="275" y="327"/>
                  </a:lnTo>
                  <a:lnTo>
                    <a:pt x="273" y="327"/>
                  </a:lnTo>
                  <a:lnTo>
                    <a:pt x="263" y="327"/>
                  </a:lnTo>
                  <a:lnTo>
                    <a:pt x="256" y="328"/>
                  </a:lnTo>
                  <a:lnTo>
                    <a:pt x="251" y="328"/>
                  </a:lnTo>
                  <a:lnTo>
                    <a:pt x="249" y="328"/>
                  </a:lnTo>
                  <a:lnTo>
                    <a:pt x="246" y="328"/>
                  </a:lnTo>
                  <a:lnTo>
                    <a:pt x="242" y="328"/>
                  </a:lnTo>
                  <a:lnTo>
                    <a:pt x="240" y="328"/>
                  </a:lnTo>
                  <a:lnTo>
                    <a:pt x="235" y="328"/>
                  </a:lnTo>
                  <a:lnTo>
                    <a:pt x="230" y="328"/>
                  </a:lnTo>
                  <a:lnTo>
                    <a:pt x="227" y="328"/>
                  </a:lnTo>
                  <a:lnTo>
                    <a:pt x="216" y="328"/>
                  </a:lnTo>
                  <a:lnTo>
                    <a:pt x="206" y="328"/>
                  </a:lnTo>
                  <a:lnTo>
                    <a:pt x="197" y="328"/>
                  </a:lnTo>
                  <a:lnTo>
                    <a:pt x="196" y="328"/>
                  </a:lnTo>
                  <a:lnTo>
                    <a:pt x="194" y="328"/>
                  </a:lnTo>
                  <a:lnTo>
                    <a:pt x="191" y="328"/>
                  </a:lnTo>
                  <a:lnTo>
                    <a:pt x="182" y="330"/>
                  </a:lnTo>
                  <a:lnTo>
                    <a:pt x="165" y="330"/>
                  </a:lnTo>
                  <a:lnTo>
                    <a:pt x="161" y="330"/>
                  </a:lnTo>
                  <a:lnTo>
                    <a:pt x="160" y="330"/>
                  </a:lnTo>
                  <a:lnTo>
                    <a:pt x="158" y="330"/>
                  </a:lnTo>
                  <a:lnTo>
                    <a:pt x="154" y="330"/>
                  </a:lnTo>
                  <a:lnTo>
                    <a:pt x="149" y="330"/>
                  </a:lnTo>
                  <a:lnTo>
                    <a:pt x="146" y="330"/>
                  </a:lnTo>
                  <a:lnTo>
                    <a:pt x="139" y="330"/>
                  </a:lnTo>
                  <a:lnTo>
                    <a:pt x="137" y="330"/>
                  </a:lnTo>
                  <a:lnTo>
                    <a:pt x="130" y="330"/>
                  </a:lnTo>
                  <a:lnTo>
                    <a:pt x="129" y="332"/>
                  </a:lnTo>
                  <a:lnTo>
                    <a:pt x="127" y="332"/>
                  </a:lnTo>
                  <a:lnTo>
                    <a:pt x="122" y="332"/>
                  </a:lnTo>
                  <a:lnTo>
                    <a:pt x="118" y="332"/>
                  </a:lnTo>
                  <a:lnTo>
                    <a:pt x="115" y="332"/>
                  </a:lnTo>
                  <a:lnTo>
                    <a:pt x="113" y="332"/>
                  </a:lnTo>
                  <a:lnTo>
                    <a:pt x="111" y="332"/>
                  </a:lnTo>
                  <a:lnTo>
                    <a:pt x="110" y="332"/>
                  </a:lnTo>
                  <a:lnTo>
                    <a:pt x="108" y="332"/>
                  </a:lnTo>
                  <a:lnTo>
                    <a:pt x="106" y="332"/>
                  </a:lnTo>
                  <a:lnTo>
                    <a:pt x="105" y="332"/>
                  </a:lnTo>
                  <a:lnTo>
                    <a:pt x="99" y="332"/>
                  </a:lnTo>
                  <a:lnTo>
                    <a:pt x="98" y="332"/>
                  </a:lnTo>
                  <a:lnTo>
                    <a:pt x="96" y="332"/>
                  </a:lnTo>
                  <a:lnTo>
                    <a:pt x="94" y="332"/>
                  </a:lnTo>
                  <a:lnTo>
                    <a:pt x="94" y="332"/>
                  </a:lnTo>
                  <a:lnTo>
                    <a:pt x="91" y="332"/>
                  </a:lnTo>
                  <a:lnTo>
                    <a:pt x="87" y="332"/>
                  </a:lnTo>
                  <a:lnTo>
                    <a:pt x="84" y="332"/>
                  </a:lnTo>
                  <a:lnTo>
                    <a:pt x="82" y="332"/>
                  </a:lnTo>
                  <a:lnTo>
                    <a:pt x="80" y="332"/>
                  </a:lnTo>
                  <a:lnTo>
                    <a:pt x="77" y="332"/>
                  </a:lnTo>
                  <a:lnTo>
                    <a:pt x="75" y="332"/>
                  </a:lnTo>
                  <a:lnTo>
                    <a:pt x="70" y="332"/>
                  </a:lnTo>
                  <a:lnTo>
                    <a:pt x="70" y="325"/>
                  </a:lnTo>
                  <a:lnTo>
                    <a:pt x="70" y="318"/>
                  </a:lnTo>
                  <a:lnTo>
                    <a:pt x="70" y="316"/>
                  </a:lnTo>
                  <a:lnTo>
                    <a:pt x="70" y="311"/>
                  </a:lnTo>
                  <a:lnTo>
                    <a:pt x="70" y="308"/>
                  </a:lnTo>
                  <a:lnTo>
                    <a:pt x="70" y="304"/>
                  </a:lnTo>
                  <a:lnTo>
                    <a:pt x="70" y="301"/>
                  </a:lnTo>
                  <a:lnTo>
                    <a:pt x="70" y="296"/>
                  </a:lnTo>
                  <a:lnTo>
                    <a:pt x="70" y="294"/>
                  </a:lnTo>
                  <a:lnTo>
                    <a:pt x="70" y="289"/>
                  </a:lnTo>
                  <a:lnTo>
                    <a:pt x="70" y="284"/>
                  </a:lnTo>
                  <a:lnTo>
                    <a:pt x="70" y="279"/>
                  </a:lnTo>
                  <a:lnTo>
                    <a:pt x="70" y="273"/>
                  </a:lnTo>
                  <a:lnTo>
                    <a:pt x="70" y="272"/>
                  </a:lnTo>
                  <a:lnTo>
                    <a:pt x="70" y="261"/>
                  </a:lnTo>
                  <a:lnTo>
                    <a:pt x="68" y="261"/>
                  </a:lnTo>
                  <a:lnTo>
                    <a:pt x="65" y="261"/>
                  </a:lnTo>
                  <a:lnTo>
                    <a:pt x="63" y="261"/>
                  </a:lnTo>
                  <a:lnTo>
                    <a:pt x="63" y="261"/>
                  </a:lnTo>
                  <a:lnTo>
                    <a:pt x="60" y="261"/>
                  </a:lnTo>
                  <a:lnTo>
                    <a:pt x="58" y="261"/>
                  </a:lnTo>
                  <a:lnTo>
                    <a:pt x="58" y="255"/>
                  </a:lnTo>
                  <a:lnTo>
                    <a:pt x="58" y="253"/>
                  </a:lnTo>
                  <a:lnTo>
                    <a:pt x="58" y="251"/>
                  </a:lnTo>
                  <a:lnTo>
                    <a:pt x="58" y="246"/>
                  </a:lnTo>
                  <a:lnTo>
                    <a:pt x="58" y="244"/>
                  </a:lnTo>
                  <a:lnTo>
                    <a:pt x="58" y="241"/>
                  </a:lnTo>
                  <a:lnTo>
                    <a:pt x="58" y="237"/>
                  </a:lnTo>
                  <a:lnTo>
                    <a:pt x="58" y="236"/>
                  </a:lnTo>
                  <a:lnTo>
                    <a:pt x="58" y="236"/>
                  </a:lnTo>
                  <a:lnTo>
                    <a:pt x="58" y="234"/>
                  </a:lnTo>
                  <a:lnTo>
                    <a:pt x="58" y="229"/>
                  </a:lnTo>
                  <a:lnTo>
                    <a:pt x="58" y="227"/>
                  </a:lnTo>
                  <a:lnTo>
                    <a:pt x="58" y="225"/>
                  </a:lnTo>
                  <a:lnTo>
                    <a:pt x="58" y="224"/>
                  </a:lnTo>
                  <a:lnTo>
                    <a:pt x="58" y="222"/>
                  </a:lnTo>
                  <a:lnTo>
                    <a:pt x="58" y="217"/>
                  </a:lnTo>
                  <a:lnTo>
                    <a:pt x="58" y="210"/>
                  </a:lnTo>
                  <a:lnTo>
                    <a:pt x="58" y="208"/>
                  </a:lnTo>
                  <a:lnTo>
                    <a:pt x="58" y="206"/>
                  </a:lnTo>
                  <a:lnTo>
                    <a:pt x="58" y="205"/>
                  </a:lnTo>
                  <a:lnTo>
                    <a:pt x="58" y="203"/>
                  </a:lnTo>
                  <a:lnTo>
                    <a:pt x="58" y="199"/>
                  </a:lnTo>
                  <a:lnTo>
                    <a:pt x="58" y="196"/>
                  </a:lnTo>
                  <a:lnTo>
                    <a:pt x="58" y="194"/>
                  </a:lnTo>
                  <a:lnTo>
                    <a:pt x="56" y="194"/>
                  </a:lnTo>
                  <a:lnTo>
                    <a:pt x="46" y="194"/>
                  </a:lnTo>
                  <a:lnTo>
                    <a:pt x="36" y="194"/>
                  </a:lnTo>
                  <a:lnTo>
                    <a:pt x="34" y="194"/>
                  </a:lnTo>
                  <a:lnTo>
                    <a:pt x="34" y="193"/>
                  </a:lnTo>
                  <a:lnTo>
                    <a:pt x="34" y="191"/>
                  </a:lnTo>
                  <a:lnTo>
                    <a:pt x="34" y="191"/>
                  </a:lnTo>
                  <a:lnTo>
                    <a:pt x="34" y="184"/>
                  </a:lnTo>
                  <a:lnTo>
                    <a:pt x="34" y="179"/>
                  </a:lnTo>
                  <a:lnTo>
                    <a:pt x="34" y="175"/>
                  </a:lnTo>
                  <a:lnTo>
                    <a:pt x="34" y="174"/>
                  </a:lnTo>
                  <a:lnTo>
                    <a:pt x="34" y="168"/>
                  </a:lnTo>
                  <a:lnTo>
                    <a:pt x="34" y="165"/>
                  </a:lnTo>
                  <a:lnTo>
                    <a:pt x="34" y="162"/>
                  </a:lnTo>
                  <a:lnTo>
                    <a:pt x="34" y="162"/>
                  </a:lnTo>
                  <a:lnTo>
                    <a:pt x="34" y="141"/>
                  </a:lnTo>
                  <a:lnTo>
                    <a:pt x="34" y="139"/>
                  </a:lnTo>
                  <a:lnTo>
                    <a:pt x="34" y="138"/>
                  </a:lnTo>
                  <a:lnTo>
                    <a:pt x="34" y="132"/>
                  </a:lnTo>
                  <a:lnTo>
                    <a:pt x="34" y="129"/>
                  </a:lnTo>
                  <a:lnTo>
                    <a:pt x="34" y="124"/>
                  </a:lnTo>
                  <a:lnTo>
                    <a:pt x="34" y="115"/>
                  </a:lnTo>
                  <a:lnTo>
                    <a:pt x="34" y="112"/>
                  </a:lnTo>
                  <a:lnTo>
                    <a:pt x="34" y="107"/>
                  </a:lnTo>
                  <a:lnTo>
                    <a:pt x="34" y="105"/>
                  </a:lnTo>
                  <a:lnTo>
                    <a:pt x="34" y="93"/>
                  </a:lnTo>
                  <a:lnTo>
                    <a:pt x="24" y="95"/>
                  </a:lnTo>
                  <a:lnTo>
                    <a:pt x="20" y="95"/>
                  </a:lnTo>
                  <a:lnTo>
                    <a:pt x="17" y="95"/>
                  </a:lnTo>
                  <a:lnTo>
                    <a:pt x="15" y="95"/>
                  </a:lnTo>
                  <a:lnTo>
                    <a:pt x="12" y="95"/>
                  </a:lnTo>
                  <a:lnTo>
                    <a:pt x="12" y="91"/>
                  </a:lnTo>
                  <a:lnTo>
                    <a:pt x="12" y="82"/>
                  </a:lnTo>
                  <a:lnTo>
                    <a:pt x="12" y="62"/>
                  </a:lnTo>
                  <a:lnTo>
                    <a:pt x="12" y="60"/>
                  </a:lnTo>
                  <a:lnTo>
                    <a:pt x="12" y="45"/>
                  </a:lnTo>
                  <a:lnTo>
                    <a:pt x="10" y="45"/>
                  </a:lnTo>
                  <a:lnTo>
                    <a:pt x="10" y="41"/>
                  </a:lnTo>
                  <a:lnTo>
                    <a:pt x="10" y="39"/>
                  </a:lnTo>
                  <a:lnTo>
                    <a:pt x="6" y="39"/>
                  </a:lnTo>
                  <a:lnTo>
                    <a:pt x="5" y="39"/>
                  </a:lnTo>
                  <a:lnTo>
                    <a:pt x="1" y="39"/>
                  </a:lnTo>
                  <a:lnTo>
                    <a:pt x="0" y="39"/>
                  </a:lnTo>
                  <a:lnTo>
                    <a:pt x="0" y="29"/>
                  </a:lnTo>
                  <a:lnTo>
                    <a:pt x="0" y="27"/>
                  </a:lnTo>
                  <a:lnTo>
                    <a:pt x="0" y="26"/>
                  </a:lnTo>
                  <a:lnTo>
                    <a:pt x="0" y="22"/>
                  </a:lnTo>
                  <a:lnTo>
                    <a:pt x="0" y="19"/>
                  </a:lnTo>
                  <a:lnTo>
                    <a:pt x="0" y="15"/>
                  </a:lnTo>
                  <a:lnTo>
                    <a:pt x="0" y="12"/>
                  </a:lnTo>
                  <a:lnTo>
                    <a:pt x="0" y="7"/>
                  </a:lnTo>
                  <a:lnTo>
                    <a:pt x="0" y="5"/>
                  </a:lnTo>
                  <a:lnTo>
                    <a:pt x="1" y="5"/>
                  </a:lnTo>
                  <a:lnTo>
                    <a:pt x="3" y="5"/>
                  </a:lnTo>
                  <a:lnTo>
                    <a:pt x="12" y="5"/>
                  </a:lnTo>
                  <a:lnTo>
                    <a:pt x="15" y="5"/>
                  </a:lnTo>
                  <a:lnTo>
                    <a:pt x="17" y="5"/>
                  </a:lnTo>
                  <a:lnTo>
                    <a:pt x="19" y="5"/>
                  </a:lnTo>
                  <a:lnTo>
                    <a:pt x="22" y="5"/>
                  </a:lnTo>
                  <a:lnTo>
                    <a:pt x="24" y="5"/>
                  </a:lnTo>
                  <a:lnTo>
                    <a:pt x="29" y="5"/>
                  </a:lnTo>
                  <a:lnTo>
                    <a:pt x="32" y="5"/>
                  </a:lnTo>
                  <a:lnTo>
                    <a:pt x="36" y="5"/>
                  </a:lnTo>
                  <a:lnTo>
                    <a:pt x="41" y="5"/>
                  </a:lnTo>
                  <a:lnTo>
                    <a:pt x="44" y="5"/>
                  </a:lnTo>
                  <a:lnTo>
                    <a:pt x="55" y="5"/>
                  </a:lnTo>
                  <a:lnTo>
                    <a:pt x="58" y="5"/>
                  </a:lnTo>
                  <a:lnTo>
                    <a:pt x="65" y="3"/>
                  </a:lnTo>
                  <a:lnTo>
                    <a:pt x="67" y="3"/>
                  </a:lnTo>
                  <a:lnTo>
                    <a:pt x="72" y="3"/>
                  </a:lnTo>
                  <a:lnTo>
                    <a:pt x="77" y="3"/>
                  </a:lnTo>
                  <a:lnTo>
                    <a:pt x="87" y="3"/>
                  </a:lnTo>
                  <a:lnTo>
                    <a:pt x="94" y="3"/>
                  </a:lnTo>
                  <a:lnTo>
                    <a:pt x="94" y="3"/>
                  </a:lnTo>
                  <a:lnTo>
                    <a:pt x="96" y="3"/>
                  </a:lnTo>
                  <a:lnTo>
                    <a:pt x="98" y="3"/>
                  </a:lnTo>
                  <a:lnTo>
                    <a:pt x="99" y="3"/>
                  </a:lnTo>
                  <a:lnTo>
                    <a:pt x="101" y="3"/>
                  </a:lnTo>
                  <a:lnTo>
                    <a:pt x="103" y="3"/>
                  </a:lnTo>
                  <a:lnTo>
                    <a:pt x="106" y="3"/>
                  </a:lnTo>
                  <a:lnTo>
                    <a:pt x="108" y="3"/>
                  </a:lnTo>
                  <a:lnTo>
                    <a:pt x="110" y="3"/>
                  </a:lnTo>
                  <a:lnTo>
                    <a:pt x="110" y="3"/>
                  </a:lnTo>
                  <a:lnTo>
                    <a:pt x="113" y="2"/>
                  </a:lnTo>
                  <a:lnTo>
                    <a:pt x="117" y="3"/>
                  </a:lnTo>
                  <a:lnTo>
                    <a:pt x="122" y="3"/>
                  </a:lnTo>
                  <a:lnTo>
                    <a:pt x="125" y="3"/>
                  </a:lnTo>
                  <a:lnTo>
                    <a:pt x="134" y="2"/>
                  </a:lnTo>
                  <a:lnTo>
                    <a:pt x="135" y="2"/>
                  </a:lnTo>
                  <a:lnTo>
                    <a:pt x="139" y="2"/>
                  </a:lnTo>
                  <a:lnTo>
                    <a:pt x="141" y="2"/>
                  </a:lnTo>
                  <a:lnTo>
                    <a:pt x="142" y="2"/>
                  </a:lnTo>
                  <a:lnTo>
                    <a:pt x="144" y="2"/>
                  </a:lnTo>
                  <a:lnTo>
                    <a:pt x="154" y="2"/>
                  </a:lnTo>
                  <a:lnTo>
                    <a:pt x="156" y="2"/>
                  </a:lnTo>
                  <a:lnTo>
                    <a:pt x="161" y="2"/>
                  </a:lnTo>
                  <a:lnTo>
                    <a:pt x="168" y="2"/>
                  </a:lnTo>
                  <a:lnTo>
                    <a:pt x="177" y="2"/>
                  </a:lnTo>
                  <a:lnTo>
                    <a:pt x="178" y="2"/>
                  </a:lnTo>
                  <a:lnTo>
                    <a:pt x="185" y="2"/>
                  </a:lnTo>
                  <a:lnTo>
                    <a:pt x="185" y="2"/>
                  </a:lnTo>
                  <a:lnTo>
                    <a:pt x="196" y="0"/>
                  </a:lnTo>
                  <a:lnTo>
                    <a:pt x="199" y="0"/>
                  </a:lnTo>
                  <a:lnTo>
                    <a:pt x="199" y="0"/>
                  </a:lnTo>
                  <a:lnTo>
                    <a:pt x="201" y="0"/>
                  </a:lnTo>
                  <a:lnTo>
                    <a:pt x="209" y="0"/>
                  </a:lnTo>
                  <a:lnTo>
                    <a:pt x="211" y="0"/>
                  </a:lnTo>
                  <a:lnTo>
                    <a:pt x="213" y="0"/>
                  </a:lnTo>
                  <a:lnTo>
                    <a:pt x="215" y="0"/>
                  </a:lnTo>
                  <a:lnTo>
                    <a:pt x="215" y="0"/>
                  </a:lnTo>
                  <a:lnTo>
                    <a:pt x="216" y="0"/>
                  </a:lnTo>
                  <a:lnTo>
                    <a:pt x="218" y="0"/>
                  </a:lnTo>
                  <a:lnTo>
                    <a:pt x="220" y="0"/>
                  </a:lnTo>
                  <a:lnTo>
                    <a:pt x="221" y="0"/>
                  </a:lnTo>
                  <a:lnTo>
                    <a:pt x="225" y="2"/>
                  </a:lnTo>
                  <a:lnTo>
                    <a:pt x="227" y="2"/>
                  </a:lnTo>
                  <a:lnTo>
                    <a:pt x="234" y="2"/>
                  </a:lnTo>
                  <a:lnTo>
                    <a:pt x="235" y="2"/>
                  </a:lnTo>
                  <a:lnTo>
                    <a:pt x="237" y="2"/>
                  </a:lnTo>
                  <a:lnTo>
                    <a:pt x="239" y="2"/>
                  </a:lnTo>
                  <a:lnTo>
                    <a:pt x="240" y="2"/>
                  </a:lnTo>
                  <a:lnTo>
                    <a:pt x="242" y="2"/>
                  </a:lnTo>
                  <a:lnTo>
                    <a:pt x="246" y="2"/>
                  </a:lnTo>
                  <a:lnTo>
                    <a:pt x="252" y="2"/>
                  </a:lnTo>
                  <a:lnTo>
                    <a:pt x="254" y="2"/>
                  </a:lnTo>
                  <a:lnTo>
                    <a:pt x="256" y="2"/>
                  </a:lnTo>
                  <a:lnTo>
                    <a:pt x="259" y="2"/>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8" name="Freeform 242"/>
            <p:cNvSpPr>
              <a:spLocks/>
            </p:cNvSpPr>
            <p:nvPr/>
          </p:nvSpPr>
          <p:spPr bwMode="auto">
            <a:xfrm>
              <a:off x="8114596" y="5387769"/>
              <a:ext cx="625475" cy="650875"/>
            </a:xfrm>
            <a:custGeom>
              <a:avLst/>
              <a:gdLst/>
              <a:ahLst/>
              <a:cxnLst>
                <a:cxn ang="0">
                  <a:pos x="204" y="9"/>
                </a:cxn>
                <a:cxn ang="0">
                  <a:pos x="218" y="4"/>
                </a:cxn>
                <a:cxn ang="0">
                  <a:pos x="235" y="0"/>
                </a:cxn>
                <a:cxn ang="0">
                  <a:pos x="256" y="0"/>
                </a:cxn>
                <a:cxn ang="0">
                  <a:pos x="280" y="16"/>
                </a:cxn>
                <a:cxn ang="0">
                  <a:pos x="299" y="42"/>
                </a:cxn>
                <a:cxn ang="0">
                  <a:pos x="316" y="68"/>
                </a:cxn>
                <a:cxn ang="0">
                  <a:pos x="335" y="92"/>
                </a:cxn>
                <a:cxn ang="0">
                  <a:pos x="363" y="126"/>
                </a:cxn>
                <a:cxn ang="0">
                  <a:pos x="376" y="150"/>
                </a:cxn>
                <a:cxn ang="0">
                  <a:pos x="394" y="174"/>
                </a:cxn>
                <a:cxn ang="0">
                  <a:pos x="368" y="188"/>
                </a:cxn>
                <a:cxn ang="0">
                  <a:pos x="363" y="203"/>
                </a:cxn>
                <a:cxn ang="0">
                  <a:pos x="361" y="221"/>
                </a:cxn>
                <a:cxn ang="0">
                  <a:pos x="356" y="234"/>
                </a:cxn>
                <a:cxn ang="0">
                  <a:pos x="354" y="250"/>
                </a:cxn>
                <a:cxn ang="0">
                  <a:pos x="344" y="277"/>
                </a:cxn>
                <a:cxn ang="0">
                  <a:pos x="327" y="307"/>
                </a:cxn>
                <a:cxn ang="0">
                  <a:pos x="296" y="308"/>
                </a:cxn>
                <a:cxn ang="0">
                  <a:pos x="303" y="283"/>
                </a:cxn>
                <a:cxn ang="0">
                  <a:pos x="311" y="267"/>
                </a:cxn>
                <a:cxn ang="0">
                  <a:pos x="311" y="250"/>
                </a:cxn>
                <a:cxn ang="0">
                  <a:pos x="304" y="234"/>
                </a:cxn>
                <a:cxn ang="0">
                  <a:pos x="287" y="224"/>
                </a:cxn>
                <a:cxn ang="0">
                  <a:pos x="256" y="226"/>
                </a:cxn>
                <a:cxn ang="0">
                  <a:pos x="251" y="260"/>
                </a:cxn>
                <a:cxn ang="0">
                  <a:pos x="268" y="289"/>
                </a:cxn>
                <a:cxn ang="0">
                  <a:pos x="280" y="305"/>
                </a:cxn>
                <a:cxn ang="0">
                  <a:pos x="268" y="329"/>
                </a:cxn>
                <a:cxn ang="0">
                  <a:pos x="282" y="367"/>
                </a:cxn>
                <a:cxn ang="0">
                  <a:pos x="272" y="410"/>
                </a:cxn>
                <a:cxn ang="0">
                  <a:pos x="249" y="381"/>
                </a:cxn>
                <a:cxn ang="0">
                  <a:pos x="235" y="360"/>
                </a:cxn>
                <a:cxn ang="0">
                  <a:pos x="210" y="362"/>
                </a:cxn>
                <a:cxn ang="0">
                  <a:pos x="189" y="365"/>
                </a:cxn>
                <a:cxn ang="0">
                  <a:pos x="175" y="358"/>
                </a:cxn>
                <a:cxn ang="0">
                  <a:pos x="160" y="348"/>
                </a:cxn>
                <a:cxn ang="0">
                  <a:pos x="144" y="346"/>
                </a:cxn>
                <a:cxn ang="0">
                  <a:pos x="143" y="362"/>
                </a:cxn>
                <a:cxn ang="0">
                  <a:pos x="139" y="372"/>
                </a:cxn>
                <a:cxn ang="0">
                  <a:pos x="131" y="375"/>
                </a:cxn>
                <a:cxn ang="0">
                  <a:pos x="101" y="377"/>
                </a:cxn>
                <a:cxn ang="0">
                  <a:pos x="58" y="379"/>
                </a:cxn>
                <a:cxn ang="0">
                  <a:pos x="19" y="379"/>
                </a:cxn>
                <a:cxn ang="0">
                  <a:pos x="2" y="374"/>
                </a:cxn>
                <a:cxn ang="0">
                  <a:pos x="5" y="358"/>
                </a:cxn>
                <a:cxn ang="0">
                  <a:pos x="8" y="336"/>
                </a:cxn>
                <a:cxn ang="0">
                  <a:pos x="7" y="317"/>
                </a:cxn>
                <a:cxn ang="0">
                  <a:pos x="8" y="300"/>
                </a:cxn>
                <a:cxn ang="0">
                  <a:pos x="7" y="281"/>
                </a:cxn>
                <a:cxn ang="0">
                  <a:pos x="7" y="265"/>
                </a:cxn>
                <a:cxn ang="0">
                  <a:pos x="8" y="252"/>
                </a:cxn>
                <a:cxn ang="0">
                  <a:pos x="7" y="236"/>
                </a:cxn>
                <a:cxn ang="0">
                  <a:pos x="2" y="214"/>
                </a:cxn>
                <a:cxn ang="0">
                  <a:pos x="0" y="197"/>
                </a:cxn>
                <a:cxn ang="0">
                  <a:pos x="51" y="195"/>
                </a:cxn>
                <a:cxn ang="0">
                  <a:pos x="75" y="195"/>
                </a:cxn>
                <a:cxn ang="0">
                  <a:pos x="96" y="193"/>
                </a:cxn>
                <a:cxn ang="0">
                  <a:pos x="144" y="191"/>
                </a:cxn>
                <a:cxn ang="0">
                  <a:pos x="161" y="164"/>
                </a:cxn>
                <a:cxn ang="0">
                  <a:pos x="160" y="102"/>
                </a:cxn>
                <a:cxn ang="0">
                  <a:pos x="158" y="57"/>
                </a:cxn>
              </a:cxnLst>
              <a:rect l="0" t="0" r="r" b="b"/>
              <a:pathLst>
                <a:path w="394" h="410">
                  <a:moveTo>
                    <a:pt x="161" y="12"/>
                  </a:moveTo>
                  <a:lnTo>
                    <a:pt x="165" y="12"/>
                  </a:lnTo>
                  <a:lnTo>
                    <a:pt x="175" y="12"/>
                  </a:lnTo>
                  <a:lnTo>
                    <a:pt x="177" y="12"/>
                  </a:lnTo>
                  <a:lnTo>
                    <a:pt x="182" y="11"/>
                  </a:lnTo>
                  <a:lnTo>
                    <a:pt x="189" y="11"/>
                  </a:lnTo>
                  <a:lnTo>
                    <a:pt x="192" y="11"/>
                  </a:lnTo>
                  <a:lnTo>
                    <a:pt x="194" y="11"/>
                  </a:lnTo>
                  <a:lnTo>
                    <a:pt x="196" y="11"/>
                  </a:lnTo>
                  <a:lnTo>
                    <a:pt x="199" y="11"/>
                  </a:lnTo>
                  <a:lnTo>
                    <a:pt x="204" y="9"/>
                  </a:lnTo>
                  <a:lnTo>
                    <a:pt x="204" y="9"/>
                  </a:lnTo>
                  <a:lnTo>
                    <a:pt x="206" y="9"/>
                  </a:lnTo>
                  <a:lnTo>
                    <a:pt x="208" y="9"/>
                  </a:lnTo>
                  <a:lnTo>
                    <a:pt x="210" y="9"/>
                  </a:lnTo>
                  <a:lnTo>
                    <a:pt x="215" y="9"/>
                  </a:lnTo>
                  <a:lnTo>
                    <a:pt x="217" y="9"/>
                  </a:lnTo>
                  <a:lnTo>
                    <a:pt x="218" y="9"/>
                  </a:lnTo>
                  <a:lnTo>
                    <a:pt x="217" y="7"/>
                  </a:lnTo>
                  <a:lnTo>
                    <a:pt x="217" y="6"/>
                  </a:lnTo>
                  <a:lnTo>
                    <a:pt x="218" y="6"/>
                  </a:lnTo>
                  <a:lnTo>
                    <a:pt x="218" y="4"/>
                  </a:lnTo>
                  <a:lnTo>
                    <a:pt x="220" y="4"/>
                  </a:lnTo>
                  <a:lnTo>
                    <a:pt x="220" y="4"/>
                  </a:lnTo>
                  <a:lnTo>
                    <a:pt x="222" y="4"/>
                  </a:lnTo>
                  <a:lnTo>
                    <a:pt x="223" y="4"/>
                  </a:lnTo>
                  <a:lnTo>
                    <a:pt x="225" y="2"/>
                  </a:lnTo>
                  <a:lnTo>
                    <a:pt x="227" y="2"/>
                  </a:lnTo>
                  <a:lnTo>
                    <a:pt x="229" y="2"/>
                  </a:lnTo>
                  <a:lnTo>
                    <a:pt x="230" y="2"/>
                  </a:lnTo>
                  <a:lnTo>
                    <a:pt x="232" y="2"/>
                  </a:lnTo>
                  <a:lnTo>
                    <a:pt x="234" y="2"/>
                  </a:lnTo>
                  <a:lnTo>
                    <a:pt x="235" y="0"/>
                  </a:lnTo>
                  <a:lnTo>
                    <a:pt x="235" y="0"/>
                  </a:lnTo>
                  <a:lnTo>
                    <a:pt x="239" y="0"/>
                  </a:lnTo>
                  <a:lnTo>
                    <a:pt x="239" y="2"/>
                  </a:lnTo>
                  <a:lnTo>
                    <a:pt x="242" y="0"/>
                  </a:lnTo>
                  <a:lnTo>
                    <a:pt x="247" y="0"/>
                  </a:lnTo>
                  <a:lnTo>
                    <a:pt x="249" y="0"/>
                  </a:lnTo>
                  <a:lnTo>
                    <a:pt x="251" y="0"/>
                  </a:lnTo>
                  <a:lnTo>
                    <a:pt x="251" y="0"/>
                  </a:lnTo>
                  <a:lnTo>
                    <a:pt x="253" y="0"/>
                  </a:lnTo>
                  <a:lnTo>
                    <a:pt x="254" y="0"/>
                  </a:lnTo>
                  <a:lnTo>
                    <a:pt x="256" y="0"/>
                  </a:lnTo>
                  <a:lnTo>
                    <a:pt x="258" y="0"/>
                  </a:lnTo>
                  <a:lnTo>
                    <a:pt x="261" y="0"/>
                  </a:lnTo>
                  <a:lnTo>
                    <a:pt x="263" y="0"/>
                  </a:lnTo>
                  <a:lnTo>
                    <a:pt x="265" y="0"/>
                  </a:lnTo>
                  <a:lnTo>
                    <a:pt x="265" y="0"/>
                  </a:lnTo>
                  <a:lnTo>
                    <a:pt x="268" y="0"/>
                  </a:lnTo>
                  <a:lnTo>
                    <a:pt x="268" y="4"/>
                  </a:lnTo>
                  <a:lnTo>
                    <a:pt x="268" y="14"/>
                  </a:lnTo>
                  <a:lnTo>
                    <a:pt x="268" y="18"/>
                  </a:lnTo>
                  <a:lnTo>
                    <a:pt x="278" y="16"/>
                  </a:lnTo>
                  <a:lnTo>
                    <a:pt x="280" y="16"/>
                  </a:lnTo>
                  <a:lnTo>
                    <a:pt x="280" y="23"/>
                  </a:lnTo>
                  <a:lnTo>
                    <a:pt x="280" y="28"/>
                  </a:lnTo>
                  <a:lnTo>
                    <a:pt x="282" y="28"/>
                  </a:lnTo>
                  <a:lnTo>
                    <a:pt x="284" y="28"/>
                  </a:lnTo>
                  <a:lnTo>
                    <a:pt x="285" y="28"/>
                  </a:lnTo>
                  <a:lnTo>
                    <a:pt x="289" y="28"/>
                  </a:lnTo>
                  <a:lnTo>
                    <a:pt x="292" y="28"/>
                  </a:lnTo>
                  <a:lnTo>
                    <a:pt x="294" y="40"/>
                  </a:lnTo>
                  <a:lnTo>
                    <a:pt x="296" y="40"/>
                  </a:lnTo>
                  <a:lnTo>
                    <a:pt x="299" y="40"/>
                  </a:lnTo>
                  <a:lnTo>
                    <a:pt x="299" y="42"/>
                  </a:lnTo>
                  <a:lnTo>
                    <a:pt x="299" y="43"/>
                  </a:lnTo>
                  <a:lnTo>
                    <a:pt x="299" y="49"/>
                  </a:lnTo>
                  <a:lnTo>
                    <a:pt x="299" y="50"/>
                  </a:lnTo>
                  <a:lnTo>
                    <a:pt x="306" y="50"/>
                  </a:lnTo>
                  <a:lnTo>
                    <a:pt x="306" y="55"/>
                  </a:lnTo>
                  <a:lnTo>
                    <a:pt x="306" y="61"/>
                  </a:lnTo>
                  <a:lnTo>
                    <a:pt x="311" y="61"/>
                  </a:lnTo>
                  <a:lnTo>
                    <a:pt x="313" y="61"/>
                  </a:lnTo>
                  <a:lnTo>
                    <a:pt x="316" y="61"/>
                  </a:lnTo>
                  <a:lnTo>
                    <a:pt x="316" y="66"/>
                  </a:lnTo>
                  <a:lnTo>
                    <a:pt x="316" y="68"/>
                  </a:lnTo>
                  <a:lnTo>
                    <a:pt x="316" y="69"/>
                  </a:lnTo>
                  <a:lnTo>
                    <a:pt x="316" y="73"/>
                  </a:lnTo>
                  <a:lnTo>
                    <a:pt x="316" y="74"/>
                  </a:lnTo>
                  <a:lnTo>
                    <a:pt x="316" y="76"/>
                  </a:lnTo>
                  <a:lnTo>
                    <a:pt x="323" y="76"/>
                  </a:lnTo>
                  <a:lnTo>
                    <a:pt x="323" y="83"/>
                  </a:lnTo>
                  <a:lnTo>
                    <a:pt x="328" y="83"/>
                  </a:lnTo>
                  <a:lnTo>
                    <a:pt x="328" y="90"/>
                  </a:lnTo>
                  <a:lnTo>
                    <a:pt x="328" y="93"/>
                  </a:lnTo>
                  <a:lnTo>
                    <a:pt x="330" y="93"/>
                  </a:lnTo>
                  <a:lnTo>
                    <a:pt x="335" y="92"/>
                  </a:lnTo>
                  <a:lnTo>
                    <a:pt x="335" y="95"/>
                  </a:lnTo>
                  <a:lnTo>
                    <a:pt x="335" y="98"/>
                  </a:lnTo>
                  <a:lnTo>
                    <a:pt x="337" y="98"/>
                  </a:lnTo>
                  <a:lnTo>
                    <a:pt x="340" y="102"/>
                  </a:lnTo>
                  <a:lnTo>
                    <a:pt x="344" y="104"/>
                  </a:lnTo>
                  <a:lnTo>
                    <a:pt x="346" y="104"/>
                  </a:lnTo>
                  <a:lnTo>
                    <a:pt x="347" y="116"/>
                  </a:lnTo>
                  <a:lnTo>
                    <a:pt x="352" y="116"/>
                  </a:lnTo>
                  <a:lnTo>
                    <a:pt x="352" y="126"/>
                  </a:lnTo>
                  <a:lnTo>
                    <a:pt x="356" y="126"/>
                  </a:lnTo>
                  <a:lnTo>
                    <a:pt x="363" y="126"/>
                  </a:lnTo>
                  <a:lnTo>
                    <a:pt x="364" y="126"/>
                  </a:lnTo>
                  <a:lnTo>
                    <a:pt x="364" y="128"/>
                  </a:lnTo>
                  <a:lnTo>
                    <a:pt x="364" y="129"/>
                  </a:lnTo>
                  <a:lnTo>
                    <a:pt x="364" y="131"/>
                  </a:lnTo>
                  <a:lnTo>
                    <a:pt x="364" y="136"/>
                  </a:lnTo>
                  <a:lnTo>
                    <a:pt x="371" y="136"/>
                  </a:lnTo>
                  <a:lnTo>
                    <a:pt x="371" y="140"/>
                  </a:lnTo>
                  <a:lnTo>
                    <a:pt x="371" y="143"/>
                  </a:lnTo>
                  <a:lnTo>
                    <a:pt x="371" y="148"/>
                  </a:lnTo>
                  <a:lnTo>
                    <a:pt x="376" y="148"/>
                  </a:lnTo>
                  <a:lnTo>
                    <a:pt x="376" y="150"/>
                  </a:lnTo>
                  <a:lnTo>
                    <a:pt x="376" y="152"/>
                  </a:lnTo>
                  <a:lnTo>
                    <a:pt x="380" y="152"/>
                  </a:lnTo>
                  <a:lnTo>
                    <a:pt x="382" y="152"/>
                  </a:lnTo>
                  <a:lnTo>
                    <a:pt x="382" y="154"/>
                  </a:lnTo>
                  <a:lnTo>
                    <a:pt x="383" y="164"/>
                  </a:lnTo>
                  <a:lnTo>
                    <a:pt x="383" y="164"/>
                  </a:lnTo>
                  <a:lnTo>
                    <a:pt x="387" y="164"/>
                  </a:lnTo>
                  <a:lnTo>
                    <a:pt x="387" y="164"/>
                  </a:lnTo>
                  <a:lnTo>
                    <a:pt x="387" y="169"/>
                  </a:lnTo>
                  <a:lnTo>
                    <a:pt x="394" y="169"/>
                  </a:lnTo>
                  <a:lnTo>
                    <a:pt x="394" y="174"/>
                  </a:lnTo>
                  <a:lnTo>
                    <a:pt x="394" y="176"/>
                  </a:lnTo>
                  <a:lnTo>
                    <a:pt x="394" y="179"/>
                  </a:lnTo>
                  <a:lnTo>
                    <a:pt x="390" y="179"/>
                  </a:lnTo>
                  <a:lnTo>
                    <a:pt x="385" y="179"/>
                  </a:lnTo>
                  <a:lnTo>
                    <a:pt x="376" y="181"/>
                  </a:lnTo>
                  <a:lnTo>
                    <a:pt x="371" y="185"/>
                  </a:lnTo>
                  <a:lnTo>
                    <a:pt x="371" y="185"/>
                  </a:lnTo>
                  <a:lnTo>
                    <a:pt x="371" y="186"/>
                  </a:lnTo>
                  <a:lnTo>
                    <a:pt x="370" y="186"/>
                  </a:lnTo>
                  <a:lnTo>
                    <a:pt x="370" y="188"/>
                  </a:lnTo>
                  <a:lnTo>
                    <a:pt x="368" y="188"/>
                  </a:lnTo>
                  <a:lnTo>
                    <a:pt x="368" y="190"/>
                  </a:lnTo>
                  <a:lnTo>
                    <a:pt x="366" y="191"/>
                  </a:lnTo>
                  <a:lnTo>
                    <a:pt x="366" y="193"/>
                  </a:lnTo>
                  <a:lnTo>
                    <a:pt x="364" y="193"/>
                  </a:lnTo>
                  <a:lnTo>
                    <a:pt x="364" y="195"/>
                  </a:lnTo>
                  <a:lnTo>
                    <a:pt x="364" y="195"/>
                  </a:lnTo>
                  <a:lnTo>
                    <a:pt x="364" y="197"/>
                  </a:lnTo>
                  <a:lnTo>
                    <a:pt x="364" y="198"/>
                  </a:lnTo>
                  <a:lnTo>
                    <a:pt x="364" y="200"/>
                  </a:lnTo>
                  <a:lnTo>
                    <a:pt x="363" y="202"/>
                  </a:lnTo>
                  <a:lnTo>
                    <a:pt x="363" y="203"/>
                  </a:lnTo>
                  <a:lnTo>
                    <a:pt x="363" y="205"/>
                  </a:lnTo>
                  <a:lnTo>
                    <a:pt x="363" y="207"/>
                  </a:lnTo>
                  <a:lnTo>
                    <a:pt x="363" y="209"/>
                  </a:lnTo>
                  <a:lnTo>
                    <a:pt x="363" y="209"/>
                  </a:lnTo>
                  <a:lnTo>
                    <a:pt x="363" y="210"/>
                  </a:lnTo>
                  <a:lnTo>
                    <a:pt x="363" y="212"/>
                  </a:lnTo>
                  <a:lnTo>
                    <a:pt x="363" y="214"/>
                  </a:lnTo>
                  <a:lnTo>
                    <a:pt x="361" y="215"/>
                  </a:lnTo>
                  <a:lnTo>
                    <a:pt x="361" y="217"/>
                  </a:lnTo>
                  <a:lnTo>
                    <a:pt x="361" y="219"/>
                  </a:lnTo>
                  <a:lnTo>
                    <a:pt x="361" y="221"/>
                  </a:lnTo>
                  <a:lnTo>
                    <a:pt x="359" y="221"/>
                  </a:lnTo>
                  <a:lnTo>
                    <a:pt x="359" y="222"/>
                  </a:lnTo>
                  <a:lnTo>
                    <a:pt x="359" y="224"/>
                  </a:lnTo>
                  <a:lnTo>
                    <a:pt x="358" y="224"/>
                  </a:lnTo>
                  <a:lnTo>
                    <a:pt x="358" y="226"/>
                  </a:lnTo>
                  <a:lnTo>
                    <a:pt x="358" y="228"/>
                  </a:lnTo>
                  <a:lnTo>
                    <a:pt x="356" y="228"/>
                  </a:lnTo>
                  <a:lnTo>
                    <a:pt x="356" y="229"/>
                  </a:lnTo>
                  <a:lnTo>
                    <a:pt x="356" y="231"/>
                  </a:lnTo>
                  <a:lnTo>
                    <a:pt x="356" y="233"/>
                  </a:lnTo>
                  <a:lnTo>
                    <a:pt x="356" y="234"/>
                  </a:lnTo>
                  <a:lnTo>
                    <a:pt x="356" y="236"/>
                  </a:lnTo>
                  <a:lnTo>
                    <a:pt x="354" y="236"/>
                  </a:lnTo>
                  <a:lnTo>
                    <a:pt x="354" y="238"/>
                  </a:lnTo>
                  <a:lnTo>
                    <a:pt x="354" y="240"/>
                  </a:lnTo>
                  <a:lnTo>
                    <a:pt x="354" y="240"/>
                  </a:lnTo>
                  <a:lnTo>
                    <a:pt x="354" y="241"/>
                  </a:lnTo>
                  <a:lnTo>
                    <a:pt x="354" y="243"/>
                  </a:lnTo>
                  <a:lnTo>
                    <a:pt x="354" y="245"/>
                  </a:lnTo>
                  <a:lnTo>
                    <a:pt x="354" y="246"/>
                  </a:lnTo>
                  <a:lnTo>
                    <a:pt x="354" y="248"/>
                  </a:lnTo>
                  <a:lnTo>
                    <a:pt x="354" y="250"/>
                  </a:lnTo>
                  <a:lnTo>
                    <a:pt x="352" y="252"/>
                  </a:lnTo>
                  <a:lnTo>
                    <a:pt x="352" y="253"/>
                  </a:lnTo>
                  <a:lnTo>
                    <a:pt x="351" y="255"/>
                  </a:lnTo>
                  <a:lnTo>
                    <a:pt x="351" y="257"/>
                  </a:lnTo>
                  <a:lnTo>
                    <a:pt x="349" y="260"/>
                  </a:lnTo>
                  <a:lnTo>
                    <a:pt x="347" y="264"/>
                  </a:lnTo>
                  <a:lnTo>
                    <a:pt x="347" y="265"/>
                  </a:lnTo>
                  <a:lnTo>
                    <a:pt x="347" y="269"/>
                  </a:lnTo>
                  <a:lnTo>
                    <a:pt x="346" y="271"/>
                  </a:lnTo>
                  <a:lnTo>
                    <a:pt x="344" y="274"/>
                  </a:lnTo>
                  <a:lnTo>
                    <a:pt x="344" y="277"/>
                  </a:lnTo>
                  <a:lnTo>
                    <a:pt x="344" y="279"/>
                  </a:lnTo>
                  <a:lnTo>
                    <a:pt x="342" y="281"/>
                  </a:lnTo>
                  <a:lnTo>
                    <a:pt x="342" y="283"/>
                  </a:lnTo>
                  <a:lnTo>
                    <a:pt x="342" y="284"/>
                  </a:lnTo>
                  <a:lnTo>
                    <a:pt x="340" y="286"/>
                  </a:lnTo>
                  <a:lnTo>
                    <a:pt x="340" y="291"/>
                  </a:lnTo>
                  <a:lnTo>
                    <a:pt x="337" y="295"/>
                  </a:lnTo>
                  <a:lnTo>
                    <a:pt x="335" y="296"/>
                  </a:lnTo>
                  <a:lnTo>
                    <a:pt x="333" y="300"/>
                  </a:lnTo>
                  <a:lnTo>
                    <a:pt x="332" y="301"/>
                  </a:lnTo>
                  <a:lnTo>
                    <a:pt x="327" y="307"/>
                  </a:lnTo>
                  <a:lnTo>
                    <a:pt x="325" y="310"/>
                  </a:lnTo>
                  <a:lnTo>
                    <a:pt x="321" y="314"/>
                  </a:lnTo>
                  <a:lnTo>
                    <a:pt x="316" y="315"/>
                  </a:lnTo>
                  <a:lnTo>
                    <a:pt x="315" y="315"/>
                  </a:lnTo>
                  <a:lnTo>
                    <a:pt x="311" y="315"/>
                  </a:lnTo>
                  <a:lnTo>
                    <a:pt x="308" y="315"/>
                  </a:lnTo>
                  <a:lnTo>
                    <a:pt x="304" y="315"/>
                  </a:lnTo>
                  <a:lnTo>
                    <a:pt x="301" y="314"/>
                  </a:lnTo>
                  <a:lnTo>
                    <a:pt x="299" y="312"/>
                  </a:lnTo>
                  <a:lnTo>
                    <a:pt x="297" y="310"/>
                  </a:lnTo>
                  <a:lnTo>
                    <a:pt x="296" y="308"/>
                  </a:lnTo>
                  <a:lnTo>
                    <a:pt x="296" y="307"/>
                  </a:lnTo>
                  <a:lnTo>
                    <a:pt x="296" y="305"/>
                  </a:lnTo>
                  <a:lnTo>
                    <a:pt x="296" y="301"/>
                  </a:lnTo>
                  <a:lnTo>
                    <a:pt x="296" y="300"/>
                  </a:lnTo>
                  <a:lnTo>
                    <a:pt x="296" y="298"/>
                  </a:lnTo>
                  <a:lnTo>
                    <a:pt x="297" y="295"/>
                  </a:lnTo>
                  <a:lnTo>
                    <a:pt x="297" y="291"/>
                  </a:lnTo>
                  <a:lnTo>
                    <a:pt x="299" y="288"/>
                  </a:lnTo>
                  <a:lnTo>
                    <a:pt x="301" y="284"/>
                  </a:lnTo>
                  <a:lnTo>
                    <a:pt x="301" y="284"/>
                  </a:lnTo>
                  <a:lnTo>
                    <a:pt x="303" y="283"/>
                  </a:lnTo>
                  <a:lnTo>
                    <a:pt x="304" y="281"/>
                  </a:lnTo>
                  <a:lnTo>
                    <a:pt x="304" y="279"/>
                  </a:lnTo>
                  <a:lnTo>
                    <a:pt x="306" y="279"/>
                  </a:lnTo>
                  <a:lnTo>
                    <a:pt x="306" y="277"/>
                  </a:lnTo>
                  <a:lnTo>
                    <a:pt x="308" y="276"/>
                  </a:lnTo>
                  <a:lnTo>
                    <a:pt x="308" y="274"/>
                  </a:lnTo>
                  <a:lnTo>
                    <a:pt x="308" y="272"/>
                  </a:lnTo>
                  <a:lnTo>
                    <a:pt x="309" y="271"/>
                  </a:lnTo>
                  <a:lnTo>
                    <a:pt x="309" y="269"/>
                  </a:lnTo>
                  <a:lnTo>
                    <a:pt x="311" y="269"/>
                  </a:lnTo>
                  <a:lnTo>
                    <a:pt x="311" y="267"/>
                  </a:lnTo>
                  <a:lnTo>
                    <a:pt x="311" y="265"/>
                  </a:lnTo>
                  <a:lnTo>
                    <a:pt x="311" y="264"/>
                  </a:lnTo>
                  <a:lnTo>
                    <a:pt x="311" y="262"/>
                  </a:lnTo>
                  <a:lnTo>
                    <a:pt x="311" y="260"/>
                  </a:lnTo>
                  <a:lnTo>
                    <a:pt x="311" y="258"/>
                  </a:lnTo>
                  <a:lnTo>
                    <a:pt x="311" y="257"/>
                  </a:lnTo>
                  <a:lnTo>
                    <a:pt x="311" y="255"/>
                  </a:lnTo>
                  <a:lnTo>
                    <a:pt x="311" y="255"/>
                  </a:lnTo>
                  <a:lnTo>
                    <a:pt x="311" y="253"/>
                  </a:lnTo>
                  <a:lnTo>
                    <a:pt x="311" y="252"/>
                  </a:lnTo>
                  <a:lnTo>
                    <a:pt x="311" y="250"/>
                  </a:lnTo>
                  <a:lnTo>
                    <a:pt x="311" y="248"/>
                  </a:lnTo>
                  <a:lnTo>
                    <a:pt x="311" y="246"/>
                  </a:lnTo>
                  <a:lnTo>
                    <a:pt x="309" y="245"/>
                  </a:lnTo>
                  <a:lnTo>
                    <a:pt x="309" y="243"/>
                  </a:lnTo>
                  <a:lnTo>
                    <a:pt x="308" y="241"/>
                  </a:lnTo>
                  <a:lnTo>
                    <a:pt x="308" y="240"/>
                  </a:lnTo>
                  <a:lnTo>
                    <a:pt x="308" y="240"/>
                  </a:lnTo>
                  <a:lnTo>
                    <a:pt x="306" y="238"/>
                  </a:lnTo>
                  <a:lnTo>
                    <a:pt x="306" y="236"/>
                  </a:lnTo>
                  <a:lnTo>
                    <a:pt x="304" y="236"/>
                  </a:lnTo>
                  <a:lnTo>
                    <a:pt x="304" y="234"/>
                  </a:lnTo>
                  <a:lnTo>
                    <a:pt x="303" y="233"/>
                  </a:lnTo>
                  <a:lnTo>
                    <a:pt x="303" y="231"/>
                  </a:lnTo>
                  <a:lnTo>
                    <a:pt x="301" y="231"/>
                  </a:lnTo>
                  <a:lnTo>
                    <a:pt x="301" y="229"/>
                  </a:lnTo>
                  <a:lnTo>
                    <a:pt x="299" y="229"/>
                  </a:lnTo>
                  <a:lnTo>
                    <a:pt x="297" y="228"/>
                  </a:lnTo>
                  <a:lnTo>
                    <a:pt x="296" y="228"/>
                  </a:lnTo>
                  <a:lnTo>
                    <a:pt x="296" y="228"/>
                  </a:lnTo>
                  <a:lnTo>
                    <a:pt x="294" y="228"/>
                  </a:lnTo>
                  <a:lnTo>
                    <a:pt x="289" y="224"/>
                  </a:lnTo>
                  <a:lnTo>
                    <a:pt x="287" y="224"/>
                  </a:lnTo>
                  <a:lnTo>
                    <a:pt x="282" y="224"/>
                  </a:lnTo>
                  <a:lnTo>
                    <a:pt x="280" y="224"/>
                  </a:lnTo>
                  <a:lnTo>
                    <a:pt x="278" y="224"/>
                  </a:lnTo>
                  <a:lnTo>
                    <a:pt x="275" y="224"/>
                  </a:lnTo>
                  <a:lnTo>
                    <a:pt x="273" y="224"/>
                  </a:lnTo>
                  <a:lnTo>
                    <a:pt x="272" y="222"/>
                  </a:lnTo>
                  <a:lnTo>
                    <a:pt x="265" y="224"/>
                  </a:lnTo>
                  <a:lnTo>
                    <a:pt x="263" y="224"/>
                  </a:lnTo>
                  <a:lnTo>
                    <a:pt x="261" y="224"/>
                  </a:lnTo>
                  <a:lnTo>
                    <a:pt x="258" y="226"/>
                  </a:lnTo>
                  <a:lnTo>
                    <a:pt x="256" y="226"/>
                  </a:lnTo>
                  <a:lnTo>
                    <a:pt x="253" y="229"/>
                  </a:lnTo>
                  <a:lnTo>
                    <a:pt x="251" y="233"/>
                  </a:lnTo>
                  <a:lnTo>
                    <a:pt x="249" y="236"/>
                  </a:lnTo>
                  <a:lnTo>
                    <a:pt x="247" y="240"/>
                  </a:lnTo>
                  <a:lnTo>
                    <a:pt x="247" y="241"/>
                  </a:lnTo>
                  <a:lnTo>
                    <a:pt x="246" y="245"/>
                  </a:lnTo>
                  <a:lnTo>
                    <a:pt x="246" y="250"/>
                  </a:lnTo>
                  <a:lnTo>
                    <a:pt x="247" y="252"/>
                  </a:lnTo>
                  <a:lnTo>
                    <a:pt x="249" y="255"/>
                  </a:lnTo>
                  <a:lnTo>
                    <a:pt x="251" y="257"/>
                  </a:lnTo>
                  <a:lnTo>
                    <a:pt x="251" y="260"/>
                  </a:lnTo>
                  <a:lnTo>
                    <a:pt x="251" y="264"/>
                  </a:lnTo>
                  <a:lnTo>
                    <a:pt x="253" y="267"/>
                  </a:lnTo>
                  <a:lnTo>
                    <a:pt x="254" y="269"/>
                  </a:lnTo>
                  <a:lnTo>
                    <a:pt x="258" y="272"/>
                  </a:lnTo>
                  <a:lnTo>
                    <a:pt x="260" y="276"/>
                  </a:lnTo>
                  <a:lnTo>
                    <a:pt x="263" y="279"/>
                  </a:lnTo>
                  <a:lnTo>
                    <a:pt x="265" y="283"/>
                  </a:lnTo>
                  <a:lnTo>
                    <a:pt x="266" y="284"/>
                  </a:lnTo>
                  <a:lnTo>
                    <a:pt x="266" y="286"/>
                  </a:lnTo>
                  <a:lnTo>
                    <a:pt x="266" y="288"/>
                  </a:lnTo>
                  <a:lnTo>
                    <a:pt x="268" y="289"/>
                  </a:lnTo>
                  <a:lnTo>
                    <a:pt x="270" y="291"/>
                  </a:lnTo>
                  <a:lnTo>
                    <a:pt x="272" y="293"/>
                  </a:lnTo>
                  <a:lnTo>
                    <a:pt x="273" y="295"/>
                  </a:lnTo>
                  <a:lnTo>
                    <a:pt x="275" y="296"/>
                  </a:lnTo>
                  <a:lnTo>
                    <a:pt x="277" y="298"/>
                  </a:lnTo>
                  <a:lnTo>
                    <a:pt x="278" y="300"/>
                  </a:lnTo>
                  <a:lnTo>
                    <a:pt x="278" y="300"/>
                  </a:lnTo>
                  <a:lnTo>
                    <a:pt x="280" y="300"/>
                  </a:lnTo>
                  <a:lnTo>
                    <a:pt x="280" y="301"/>
                  </a:lnTo>
                  <a:lnTo>
                    <a:pt x="280" y="303"/>
                  </a:lnTo>
                  <a:lnTo>
                    <a:pt x="280" y="305"/>
                  </a:lnTo>
                  <a:lnTo>
                    <a:pt x="280" y="308"/>
                  </a:lnTo>
                  <a:lnTo>
                    <a:pt x="280" y="310"/>
                  </a:lnTo>
                  <a:lnTo>
                    <a:pt x="280" y="312"/>
                  </a:lnTo>
                  <a:lnTo>
                    <a:pt x="280" y="315"/>
                  </a:lnTo>
                  <a:lnTo>
                    <a:pt x="278" y="315"/>
                  </a:lnTo>
                  <a:lnTo>
                    <a:pt x="278" y="317"/>
                  </a:lnTo>
                  <a:lnTo>
                    <a:pt x="277" y="320"/>
                  </a:lnTo>
                  <a:lnTo>
                    <a:pt x="277" y="322"/>
                  </a:lnTo>
                  <a:lnTo>
                    <a:pt x="273" y="324"/>
                  </a:lnTo>
                  <a:lnTo>
                    <a:pt x="272" y="327"/>
                  </a:lnTo>
                  <a:lnTo>
                    <a:pt x="268" y="329"/>
                  </a:lnTo>
                  <a:lnTo>
                    <a:pt x="266" y="329"/>
                  </a:lnTo>
                  <a:lnTo>
                    <a:pt x="265" y="332"/>
                  </a:lnTo>
                  <a:lnTo>
                    <a:pt x="265" y="334"/>
                  </a:lnTo>
                  <a:lnTo>
                    <a:pt x="265" y="339"/>
                  </a:lnTo>
                  <a:lnTo>
                    <a:pt x="265" y="341"/>
                  </a:lnTo>
                  <a:lnTo>
                    <a:pt x="265" y="344"/>
                  </a:lnTo>
                  <a:lnTo>
                    <a:pt x="266" y="346"/>
                  </a:lnTo>
                  <a:lnTo>
                    <a:pt x="270" y="350"/>
                  </a:lnTo>
                  <a:lnTo>
                    <a:pt x="275" y="357"/>
                  </a:lnTo>
                  <a:lnTo>
                    <a:pt x="278" y="360"/>
                  </a:lnTo>
                  <a:lnTo>
                    <a:pt x="282" y="367"/>
                  </a:lnTo>
                  <a:lnTo>
                    <a:pt x="285" y="374"/>
                  </a:lnTo>
                  <a:lnTo>
                    <a:pt x="289" y="377"/>
                  </a:lnTo>
                  <a:lnTo>
                    <a:pt x="289" y="381"/>
                  </a:lnTo>
                  <a:lnTo>
                    <a:pt x="289" y="388"/>
                  </a:lnTo>
                  <a:lnTo>
                    <a:pt x="287" y="391"/>
                  </a:lnTo>
                  <a:lnTo>
                    <a:pt x="285" y="396"/>
                  </a:lnTo>
                  <a:lnTo>
                    <a:pt x="284" y="401"/>
                  </a:lnTo>
                  <a:lnTo>
                    <a:pt x="280" y="405"/>
                  </a:lnTo>
                  <a:lnTo>
                    <a:pt x="280" y="406"/>
                  </a:lnTo>
                  <a:lnTo>
                    <a:pt x="277" y="408"/>
                  </a:lnTo>
                  <a:lnTo>
                    <a:pt x="272" y="410"/>
                  </a:lnTo>
                  <a:lnTo>
                    <a:pt x="266" y="410"/>
                  </a:lnTo>
                  <a:lnTo>
                    <a:pt x="265" y="405"/>
                  </a:lnTo>
                  <a:lnTo>
                    <a:pt x="263" y="401"/>
                  </a:lnTo>
                  <a:lnTo>
                    <a:pt x="256" y="391"/>
                  </a:lnTo>
                  <a:lnTo>
                    <a:pt x="254" y="389"/>
                  </a:lnTo>
                  <a:lnTo>
                    <a:pt x="253" y="388"/>
                  </a:lnTo>
                  <a:lnTo>
                    <a:pt x="251" y="384"/>
                  </a:lnTo>
                  <a:lnTo>
                    <a:pt x="251" y="384"/>
                  </a:lnTo>
                  <a:lnTo>
                    <a:pt x="251" y="382"/>
                  </a:lnTo>
                  <a:lnTo>
                    <a:pt x="249" y="382"/>
                  </a:lnTo>
                  <a:lnTo>
                    <a:pt x="249" y="381"/>
                  </a:lnTo>
                  <a:lnTo>
                    <a:pt x="244" y="377"/>
                  </a:lnTo>
                  <a:lnTo>
                    <a:pt x="242" y="375"/>
                  </a:lnTo>
                  <a:lnTo>
                    <a:pt x="242" y="375"/>
                  </a:lnTo>
                  <a:lnTo>
                    <a:pt x="241" y="374"/>
                  </a:lnTo>
                  <a:lnTo>
                    <a:pt x="241" y="372"/>
                  </a:lnTo>
                  <a:lnTo>
                    <a:pt x="241" y="370"/>
                  </a:lnTo>
                  <a:lnTo>
                    <a:pt x="239" y="369"/>
                  </a:lnTo>
                  <a:lnTo>
                    <a:pt x="239" y="367"/>
                  </a:lnTo>
                  <a:lnTo>
                    <a:pt x="237" y="360"/>
                  </a:lnTo>
                  <a:lnTo>
                    <a:pt x="235" y="360"/>
                  </a:lnTo>
                  <a:lnTo>
                    <a:pt x="235" y="360"/>
                  </a:lnTo>
                  <a:lnTo>
                    <a:pt x="227" y="357"/>
                  </a:lnTo>
                  <a:lnTo>
                    <a:pt x="225" y="355"/>
                  </a:lnTo>
                  <a:lnTo>
                    <a:pt x="223" y="355"/>
                  </a:lnTo>
                  <a:lnTo>
                    <a:pt x="223" y="357"/>
                  </a:lnTo>
                  <a:lnTo>
                    <a:pt x="222" y="357"/>
                  </a:lnTo>
                  <a:lnTo>
                    <a:pt x="220" y="357"/>
                  </a:lnTo>
                  <a:lnTo>
                    <a:pt x="218" y="358"/>
                  </a:lnTo>
                  <a:lnTo>
                    <a:pt x="217" y="360"/>
                  </a:lnTo>
                  <a:lnTo>
                    <a:pt x="215" y="360"/>
                  </a:lnTo>
                  <a:lnTo>
                    <a:pt x="213" y="360"/>
                  </a:lnTo>
                  <a:lnTo>
                    <a:pt x="210" y="362"/>
                  </a:lnTo>
                  <a:lnTo>
                    <a:pt x="206" y="363"/>
                  </a:lnTo>
                  <a:lnTo>
                    <a:pt x="204" y="363"/>
                  </a:lnTo>
                  <a:lnTo>
                    <a:pt x="203" y="363"/>
                  </a:lnTo>
                  <a:lnTo>
                    <a:pt x="201" y="363"/>
                  </a:lnTo>
                  <a:lnTo>
                    <a:pt x="201" y="365"/>
                  </a:lnTo>
                  <a:lnTo>
                    <a:pt x="198" y="365"/>
                  </a:lnTo>
                  <a:lnTo>
                    <a:pt x="196" y="365"/>
                  </a:lnTo>
                  <a:lnTo>
                    <a:pt x="194" y="365"/>
                  </a:lnTo>
                  <a:lnTo>
                    <a:pt x="192" y="365"/>
                  </a:lnTo>
                  <a:lnTo>
                    <a:pt x="191" y="365"/>
                  </a:lnTo>
                  <a:lnTo>
                    <a:pt x="189" y="365"/>
                  </a:lnTo>
                  <a:lnTo>
                    <a:pt x="187" y="365"/>
                  </a:lnTo>
                  <a:lnTo>
                    <a:pt x="186" y="363"/>
                  </a:lnTo>
                  <a:lnTo>
                    <a:pt x="184" y="363"/>
                  </a:lnTo>
                  <a:lnTo>
                    <a:pt x="182" y="363"/>
                  </a:lnTo>
                  <a:lnTo>
                    <a:pt x="182" y="362"/>
                  </a:lnTo>
                  <a:lnTo>
                    <a:pt x="179" y="362"/>
                  </a:lnTo>
                  <a:lnTo>
                    <a:pt x="177" y="360"/>
                  </a:lnTo>
                  <a:lnTo>
                    <a:pt x="177" y="360"/>
                  </a:lnTo>
                  <a:lnTo>
                    <a:pt x="175" y="360"/>
                  </a:lnTo>
                  <a:lnTo>
                    <a:pt x="175" y="358"/>
                  </a:lnTo>
                  <a:lnTo>
                    <a:pt x="175" y="358"/>
                  </a:lnTo>
                  <a:lnTo>
                    <a:pt x="174" y="355"/>
                  </a:lnTo>
                  <a:lnTo>
                    <a:pt x="174" y="353"/>
                  </a:lnTo>
                  <a:lnTo>
                    <a:pt x="172" y="353"/>
                  </a:lnTo>
                  <a:lnTo>
                    <a:pt x="170" y="351"/>
                  </a:lnTo>
                  <a:lnTo>
                    <a:pt x="168" y="351"/>
                  </a:lnTo>
                  <a:lnTo>
                    <a:pt x="167" y="351"/>
                  </a:lnTo>
                  <a:lnTo>
                    <a:pt x="167" y="350"/>
                  </a:lnTo>
                  <a:lnTo>
                    <a:pt x="165" y="350"/>
                  </a:lnTo>
                  <a:lnTo>
                    <a:pt x="163" y="350"/>
                  </a:lnTo>
                  <a:lnTo>
                    <a:pt x="161" y="348"/>
                  </a:lnTo>
                  <a:lnTo>
                    <a:pt x="160" y="348"/>
                  </a:lnTo>
                  <a:lnTo>
                    <a:pt x="160" y="348"/>
                  </a:lnTo>
                  <a:lnTo>
                    <a:pt x="160" y="346"/>
                  </a:lnTo>
                  <a:lnTo>
                    <a:pt x="158" y="346"/>
                  </a:lnTo>
                  <a:lnTo>
                    <a:pt x="156" y="344"/>
                  </a:lnTo>
                  <a:lnTo>
                    <a:pt x="155" y="344"/>
                  </a:lnTo>
                  <a:lnTo>
                    <a:pt x="153" y="344"/>
                  </a:lnTo>
                  <a:lnTo>
                    <a:pt x="149" y="344"/>
                  </a:lnTo>
                  <a:lnTo>
                    <a:pt x="148" y="344"/>
                  </a:lnTo>
                  <a:lnTo>
                    <a:pt x="146" y="344"/>
                  </a:lnTo>
                  <a:lnTo>
                    <a:pt x="144" y="344"/>
                  </a:lnTo>
                  <a:lnTo>
                    <a:pt x="144" y="346"/>
                  </a:lnTo>
                  <a:lnTo>
                    <a:pt x="144" y="348"/>
                  </a:lnTo>
                  <a:lnTo>
                    <a:pt x="143" y="348"/>
                  </a:lnTo>
                  <a:lnTo>
                    <a:pt x="143" y="350"/>
                  </a:lnTo>
                  <a:lnTo>
                    <a:pt x="143" y="351"/>
                  </a:lnTo>
                  <a:lnTo>
                    <a:pt x="143" y="353"/>
                  </a:lnTo>
                  <a:lnTo>
                    <a:pt x="143" y="355"/>
                  </a:lnTo>
                  <a:lnTo>
                    <a:pt x="143" y="357"/>
                  </a:lnTo>
                  <a:lnTo>
                    <a:pt x="141" y="358"/>
                  </a:lnTo>
                  <a:lnTo>
                    <a:pt x="141" y="360"/>
                  </a:lnTo>
                  <a:lnTo>
                    <a:pt x="141" y="360"/>
                  </a:lnTo>
                  <a:lnTo>
                    <a:pt x="143" y="362"/>
                  </a:lnTo>
                  <a:lnTo>
                    <a:pt x="141" y="363"/>
                  </a:lnTo>
                  <a:lnTo>
                    <a:pt x="139" y="363"/>
                  </a:lnTo>
                  <a:lnTo>
                    <a:pt x="137" y="363"/>
                  </a:lnTo>
                  <a:lnTo>
                    <a:pt x="137" y="365"/>
                  </a:lnTo>
                  <a:lnTo>
                    <a:pt x="136" y="365"/>
                  </a:lnTo>
                  <a:lnTo>
                    <a:pt x="136" y="367"/>
                  </a:lnTo>
                  <a:lnTo>
                    <a:pt x="137" y="367"/>
                  </a:lnTo>
                  <a:lnTo>
                    <a:pt x="139" y="367"/>
                  </a:lnTo>
                  <a:lnTo>
                    <a:pt x="139" y="369"/>
                  </a:lnTo>
                  <a:lnTo>
                    <a:pt x="139" y="370"/>
                  </a:lnTo>
                  <a:lnTo>
                    <a:pt x="139" y="372"/>
                  </a:lnTo>
                  <a:lnTo>
                    <a:pt x="139" y="374"/>
                  </a:lnTo>
                  <a:lnTo>
                    <a:pt x="139" y="375"/>
                  </a:lnTo>
                  <a:lnTo>
                    <a:pt x="137" y="375"/>
                  </a:lnTo>
                  <a:lnTo>
                    <a:pt x="137" y="377"/>
                  </a:lnTo>
                  <a:lnTo>
                    <a:pt x="136" y="377"/>
                  </a:lnTo>
                  <a:lnTo>
                    <a:pt x="134" y="379"/>
                  </a:lnTo>
                  <a:lnTo>
                    <a:pt x="134" y="377"/>
                  </a:lnTo>
                  <a:lnTo>
                    <a:pt x="132" y="377"/>
                  </a:lnTo>
                  <a:lnTo>
                    <a:pt x="132" y="375"/>
                  </a:lnTo>
                  <a:lnTo>
                    <a:pt x="131" y="375"/>
                  </a:lnTo>
                  <a:lnTo>
                    <a:pt x="131" y="375"/>
                  </a:lnTo>
                  <a:lnTo>
                    <a:pt x="129" y="375"/>
                  </a:lnTo>
                  <a:lnTo>
                    <a:pt x="129" y="377"/>
                  </a:lnTo>
                  <a:lnTo>
                    <a:pt x="125" y="377"/>
                  </a:lnTo>
                  <a:lnTo>
                    <a:pt x="117" y="377"/>
                  </a:lnTo>
                  <a:lnTo>
                    <a:pt x="115" y="377"/>
                  </a:lnTo>
                  <a:lnTo>
                    <a:pt x="113" y="377"/>
                  </a:lnTo>
                  <a:lnTo>
                    <a:pt x="108" y="377"/>
                  </a:lnTo>
                  <a:lnTo>
                    <a:pt x="105" y="377"/>
                  </a:lnTo>
                  <a:lnTo>
                    <a:pt x="103" y="379"/>
                  </a:lnTo>
                  <a:lnTo>
                    <a:pt x="101" y="379"/>
                  </a:lnTo>
                  <a:lnTo>
                    <a:pt x="101" y="377"/>
                  </a:lnTo>
                  <a:lnTo>
                    <a:pt x="98" y="377"/>
                  </a:lnTo>
                  <a:lnTo>
                    <a:pt x="94" y="377"/>
                  </a:lnTo>
                  <a:lnTo>
                    <a:pt x="86" y="379"/>
                  </a:lnTo>
                  <a:lnTo>
                    <a:pt x="81" y="379"/>
                  </a:lnTo>
                  <a:lnTo>
                    <a:pt x="77" y="379"/>
                  </a:lnTo>
                  <a:lnTo>
                    <a:pt x="74" y="379"/>
                  </a:lnTo>
                  <a:lnTo>
                    <a:pt x="69" y="379"/>
                  </a:lnTo>
                  <a:lnTo>
                    <a:pt x="67" y="379"/>
                  </a:lnTo>
                  <a:lnTo>
                    <a:pt x="62" y="379"/>
                  </a:lnTo>
                  <a:lnTo>
                    <a:pt x="60" y="379"/>
                  </a:lnTo>
                  <a:lnTo>
                    <a:pt x="58" y="379"/>
                  </a:lnTo>
                  <a:lnTo>
                    <a:pt x="57" y="379"/>
                  </a:lnTo>
                  <a:lnTo>
                    <a:pt x="53" y="379"/>
                  </a:lnTo>
                  <a:lnTo>
                    <a:pt x="50" y="379"/>
                  </a:lnTo>
                  <a:lnTo>
                    <a:pt x="48" y="379"/>
                  </a:lnTo>
                  <a:lnTo>
                    <a:pt x="39" y="381"/>
                  </a:lnTo>
                  <a:lnTo>
                    <a:pt x="38" y="381"/>
                  </a:lnTo>
                  <a:lnTo>
                    <a:pt x="32" y="381"/>
                  </a:lnTo>
                  <a:lnTo>
                    <a:pt x="31" y="381"/>
                  </a:lnTo>
                  <a:lnTo>
                    <a:pt x="24" y="379"/>
                  </a:lnTo>
                  <a:lnTo>
                    <a:pt x="22" y="379"/>
                  </a:lnTo>
                  <a:lnTo>
                    <a:pt x="19" y="379"/>
                  </a:lnTo>
                  <a:lnTo>
                    <a:pt x="17" y="379"/>
                  </a:lnTo>
                  <a:lnTo>
                    <a:pt x="14" y="379"/>
                  </a:lnTo>
                  <a:lnTo>
                    <a:pt x="12" y="379"/>
                  </a:lnTo>
                  <a:lnTo>
                    <a:pt x="8" y="379"/>
                  </a:lnTo>
                  <a:lnTo>
                    <a:pt x="7" y="379"/>
                  </a:lnTo>
                  <a:lnTo>
                    <a:pt x="3" y="379"/>
                  </a:lnTo>
                  <a:lnTo>
                    <a:pt x="2" y="379"/>
                  </a:lnTo>
                  <a:lnTo>
                    <a:pt x="2" y="377"/>
                  </a:lnTo>
                  <a:lnTo>
                    <a:pt x="2" y="375"/>
                  </a:lnTo>
                  <a:lnTo>
                    <a:pt x="2" y="375"/>
                  </a:lnTo>
                  <a:lnTo>
                    <a:pt x="2" y="374"/>
                  </a:lnTo>
                  <a:lnTo>
                    <a:pt x="3" y="372"/>
                  </a:lnTo>
                  <a:lnTo>
                    <a:pt x="3" y="370"/>
                  </a:lnTo>
                  <a:lnTo>
                    <a:pt x="3" y="369"/>
                  </a:lnTo>
                  <a:lnTo>
                    <a:pt x="3" y="367"/>
                  </a:lnTo>
                  <a:lnTo>
                    <a:pt x="3" y="365"/>
                  </a:lnTo>
                  <a:lnTo>
                    <a:pt x="5" y="365"/>
                  </a:lnTo>
                  <a:lnTo>
                    <a:pt x="5" y="363"/>
                  </a:lnTo>
                  <a:lnTo>
                    <a:pt x="7" y="362"/>
                  </a:lnTo>
                  <a:lnTo>
                    <a:pt x="7" y="360"/>
                  </a:lnTo>
                  <a:lnTo>
                    <a:pt x="5" y="360"/>
                  </a:lnTo>
                  <a:lnTo>
                    <a:pt x="5" y="358"/>
                  </a:lnTo>
                  <a:lnTo>
                    <a:pt x="5" y="357"/>
                  </a:lnTo>
                  <a:lnTo>
                    <a:pt x="5" y="353"/>
                  </a:lnTo>
                  <a:lnTo>
                    <a:pt x="5" y="351"/>
                  </a:lnTo>
                  <a:lnTo>
                    <a:pt x="7" y="350"/>
                  </a:lnTo>
                  <a:lnTo>
                    <a:pt x="7" y="346"/>
                  </a:lnTo>
                  <a:lnTo>
                    <a:pt x="7" y="344"/>
                  </a:lnTo>
                  <a:lnTo>
                    <a:pt x="7" y="344"/>
                  </a:lnTo>
                  <a:lnTo>
                    <a:pt x="7" y="343"/>
                  </a:lnTo>
                  <a:lnTo>
                    <a:pt x="7" y="341"/>
                  </a:lnTo>
                  <a:lnTo>
                    <a:pt x="7" y="338"/>
                  </a:lnTo>
                  <a:lnTo>
                    <a:pt x="8" y="336"/>
                  </a:lnTo>
                  <a:lnTo>
                    <a:pt x="8" y="334"/>
                  </a:lnTo>
                  <a:lnTo>
                    <a:pt x="8" y="332"/>
                  </a:lnTo>
                  <a:lnTo>
                    <a:pt x="8" y="331"/>
                  </a:lnTo>
                  <a:lnTo>
                    <a:pt x="8" y="329"/>
                  </a:lnTo>
                  <a:lnTo>
                    <a:pt x="8" y="329"/>
                  </a:lnTo>
                  <a:lnTo>
                    <a:pt x="8" y="327"/>
                  </a:lnTo>
                  <a:lnTo>
                    <a:pt x="8" y="326"/>
                  </a:lnTo>
                  <a:lnTo>
                    <a:pt x="8" y="324"/>
                  </a:lnTo>
                  <a:lnTo>
                    <a:pt x="7" y="322"/>
                  </a:lnTo>
                  <a:lnTo>
                    <a:pt x="7" y="319"/>
                  </a:lnTo>
                  <a:lnTo>
                    <a:pt x="7" y="317"/>
                  </a:lnTo>
                  <a:lnTo>
                    <a:pt x="8" y="315"/>
                  </a:lnTo>
                  <a:lnTo>
                    <a:pt x="8" y="315"/>
                  </a:lnTo>
                  <a:lnTo>
                    <a:pt x="8" y="314"/>
                  </a:lnTo>
                  <a:lnTo>
                    <a:pt x="8" y="312"/>
                  </a:lnTo>
                  <a:lnTo>
                    <a:pt x="8" y="310"/>
                  </a:lnTo>
                  <a:lnTo>
                    <a:pt x="8" y="308"/>
                  </a:lnTo>
                  <a:lnTo>
                    <a:pt x="8" y="307"/>
                  </a:lnTo>
                  <a:lnTo>
                    <a:pt x="8" y="305"/>
                  </a:lnTo>
                  <a:lnTo>
                    <a:pt x="8" y="303"/>
                  </a:lnTo>
                  <a:lnTo>
                    <a:pt x="8" y="301"/>
                  </a:lnTo>
                  <a:lnTo>
                    <a:pt x="8" y="300"/>
                  </a:lnTo>
                  <a:lnTo>
                    <a:pt x="8" y="300"/>
                  </a:lnTo>
                  <a:lnTo>
                    <a:pt x="8" y="298"/>
                  </a:lnTo>
                  <a:lnTo>
                    <a:pt x="7" y="296"/>
                  </a:lnTo>
                  <a:lnTo>
                    <a:pt x="7" y="295"/>
                  </a:lnTo>
                  <a:lnTo>
                    <a:pt x="7" y="293"/>
                  </a:lnTo>
                  <a:lnTo>
                    <a:pt x="7" y="291"/>
                  </a:lnTo>
                  <a:lnTo>
                    <a:pt x="7" y="289"/>
                  </a:lnTo>
                  <a:lnTo>
                    <a:pt x="7" y="286"/>
                  </a:lnTo>
                  <a:lnTo>
                    <a:pt x="7" y="284"/>
                  </a:lnTo>
                  <a:lnTo>
                    <a:pt x="7" y="283"/>
                  </a:lnTo>
                  <a:lnTo>
                    <a:pt x="7" y="281"/>
                  </a:lnTo>
                  <a:lnTo>
                    <a:pt x="5" y="279"/>
                  </a:lnTo>
                  <a:lnTo>
                    <a:pt x="5" y="277"/>
                  </a:lnTo>
                  <a:lnTo>
                    <a:pt x="7" y="276"/>
                  </a:lnTo>
                  <a:lnTo>
                    <a:pt x="7" y="274"/>
                  </a:lnTo>
                  <a:lnTo>
                    <a:pt x="5" y="272"/>
                  </a:lnTo>
                  <a:lnTo>
                    <a:pt x="5" y="271"/>
                  </a:lnTo>
                  <a:lnTo>
                    <a:pt x="7" y="269"/>
                  </a:lnTo>
                  <a:lnTo>
                    <a:pt x="7" y="269"/>
                  </a:lnTo>
                  <a:lnTo>
                    <a:pt x="8" y="267"/>
                  </a:lnTo>
                  <a:lnTo>
                    <a:pt x="7" y="267"/>
                  </a:lnTo>
                  <a:lnTo>
                    <a:pt x="7" y="265"/>
                  </a:lnTo>
                  <a:lnTo>
                    <a:pt x="7" y="264"/>
                  </a:lnTo>
                  <a:lnTo>
                    <a:pt x="7" y="262"/>
                  </a:lnTo>
                  <a:lnTo>
                    <a:pt x="8" y="260"/>
                  </a:lnTo>
                  <a:lnTo>
                    <a:pt x="8" y="258"/>
                  </a:lnTo>
                  <a:lnTo>
                    <a:pt x="8" y="258"/>
                  </a:lnTo>
                  <a:lnTo>
                    <a:pt x="8" y="257"/>
                  </a:lnTo>
                  <a:lnTo>
                    <a:pt x="8" y="255"/>
                  </a:lnTo>
                  <a:lnTo>
                    <a:pt x="8" y="255"/>
                  </a:lnTo>
                  <a:lnTo>
                    <a:pt x="8" y="255"/>
                  </a:lnTo>
                  <a:lnTo>
                    <a:pt x="8" y="253"/>
                  </a:lnTo>
                  <a:lnTo>
                    <a:pt x="8" y="252"/>
                  </a:lnTo>
                  <a:lnTo>
                    <a:pt x="7" y="252"/>
                  </a:lnTo>
                  <a:lnTo>
                    <a:pt x="7" y="250"/>
                  </a:lnTo>
                  <a:lnTo>
                    <a:pt x="7" y="248"/>
                  </a:lnTo>
                  <a:lnTo>
                    <a:pt x="7" y="246"/>
                  </a:lnTo>
                  <a:lnTo>
                    <a:pt x="7" y="245"/>
                  </a:lnTo>
                  <a:lnTo>
                    <a:pt x="7" y="243"/>
                  </a:lnTo>
                  <a:lnTo>
                    <a:pt x="7" y="241"/>
                  </a:lnTo>
                  <a:lnTo>
                    <a:pt x="7" y="240"/>
                  </a:lnTo>
                  <a:lnTo>
                    <a:pt x="7" y="238"/>
                  </a:lnTo>
                  <a:lnTo>
                    <a:pt x="5" y="238"/>
                  </a:lnTo>
                  <a:lnTo>
                    <a:pt x="7" y="236"/>
                  </a:lnTo>
                  <a:lnTo>
                    <a:pt x="5" y="233"/>
                  </a:lnTo>
                  <a:lnTo>
                    <a:pt x="5" y="231"/>
                  </a:lnTo>
                  <a:lnTo>
                    <a:pt x="5" y="228"/>
                  </a:lnTo>
                  <a:lnTo>
                    <a:pt x="5" y="226"/>
                  </a:lnTo>
                  <a:lnTo>
                    <a:pt x="5" y="224"/>
                  </a:lnTo>
                  <a:lnTo>
                    <a:pt x="3" y="222"/>
                  </a:lnTo>
                  <a:lnTo>
                    <a:pt x="3" y="221"/>
                  </a:lnTo>
                  <a:lnTo>
                    <a:pt x="3" y="219"/>
                  </a:lnTo>
                  <a:lnTo>
                    <a:pt x="2" y="217"/>
                  </a:lnTo>
                  <a:lnTo>
                    <a:pt x="2" y="215"/>
                  </a:lnTo>
                  <a:lnTo>
                    <a:pt x="2" y="214"/>
                  </a:lnTo>
                  <a:lnTo>
                    <a:pt x="2" y="212"/>
                  </a:lnTo>
                  <a:lnTo>
                    <a:pt x="2" y="210"/>
                  </a:lnTo>
                  <a:lnTo>
                    <a:pt x="2" y="209"/>
                  </a:lnTo>
                  <a:lnTo>
                    <a:pt x="2" y="209"/>
                  </a:lnTo>
                  <a:lnTo>
                    <a:pt x="2" y="207"/>
                  </a:lnTo>
                  <a:lnTo>
                    <a:pt x="2" y="205"/>
                  </a:lnTo>
                  <a:lnTo>
                    <a:pt x="2" y="203"/>
                  </a:lnTo>
                  <a:lnTo>
                    <a:pt x="2" y="202"/>
                  </a:lnTo>
                  <a:lnTo>
                    <a:pt x="0" y="202"/>
                  </a:lnTo>
                  <a:lnTo>
                    <a:pt x="2" y="200"/>
                  </a:lnTo>
                  <a:lnTo>
                    <a:pt x="0" y="197"/>
                  </a:lnTo>
                  <a:lnTo>
                    <a:pt x="2" y="197"/>
                  </a:lnTo>
                  <a:lnTo>
                    <a:pt x="3" y="195"/>
                  </a:lnTo>
                  <a:lnTo>
                    <a:pt x="5" y="195"/>
                  </a:lnTo>
                  <a:lnTo>
                    <a:pt x="15" y="195"/>
                  </a:lnTo>
                  <a:lnTo>
                    <a:pt x="22" y="195"/>
                  </a:lnTo>
                  <a:lnTo>
                    <a:pt x="27" y="195"/>
                  </a:lnTo>
                  <a:lnTo>
                    <a:pt x="38" y="195"/>
                  </a:lnTo>
                  <a:lnTo>
                    <a:pt x="39" y="195"/>
                  </a:lnTo>
                  <a:lnTo>
                    <a:pt x="45" y="195"/>
                  </a:lnTo>
                  <a:lnTo>
                    <a:pt x="48" y="195"/>
                  </a:lnTo>
                  <a:lnTo>
                    <a:pt x="51" y="195"/>
                  </a:lnTo>
                  <a:lnTo>
                    <a:pt x="55" y="195"/>
                  </a:lnTo>
                  <a:lnTo>
                    <a:pt x="58" y="195"/>
                  </a:lnTo>
                  <a:lnTo>
                    <a:pt x="62" y="195"/>
                  </a:lnTo>
                  <a:lnTo>
                    <a:pt x="65" y="195"/>
                  </a:lnTo>
                  <a:lnTo>
                    <a:pt x="67" y="195"/>
                  </a:lnTo>
                  <a:lnTo>
                    <a:pt x="69" y="195"/>
                  </a:lnTo>
                  <a:lnTo>
                    <a:pt x="69" y="195"/>
                  </a:lnTo>
                  <a:lnTo>
                    <a:pt x="70" y="195"/>
                  </a:lnTo>
                  <a:lnTo>
                    <a:pt x="72" y="195"/>
                  </a:lnTo>
                  <a:lnTo>
                    <a:pt x="74" y="195"/>
                  </a:lnTo>
                  <a:lnTo>
                    <a:pt x="75" y="195"/>
                  </a:lnTo>
                  <a:lnTo>
                    <a:pt x="77" y="195"/>
                  </a:lnTo>
                  <a:lnTo>
                    <a:pt x="79" y="195"/>
                  </a:lnTo>
                  <a:lnTo>
                    <a:pt x="81" y="195"/>
                  </a:lnTo>
                  <a:lnTo>
                    <a:pt x="82" y="195"/>
                  </a:lnTo>
                  <a:lnTo>
                    <a:pt x="84" y="195"/>
                  </a:lnTo>
                  <a:lnTo>
                    <a:pt x="84" y="195"/>
                  </a:lnTo>
                  <a:lnTo>
                    <a:pt x="86" y="193"/>
                  </a:lnTo>
                  <a:lnTo>
                    <a:pt x="88" y="193"/>
                  </a:lnTo>
                  <a:lnTo>
                    <a:pt x="91" y="193"/>
                  </a:lnTo>
                  <a:lnTo>
                    <a:pt x="94" y="193"/>
                  </a:lnTo>
                  <a:lnTo>
                    <a:pt x="96" y="193"/>
                  </a:lnTo>
                  <a:lnTo>
                    <a:pt x="101" y="193"/>
                  </a:lnTo>
                  <a:lnTo>
                    <a:pt x="106" y="193"/>
                  </a:lnTo>
                  <a:lnTo>
                    <a:pt x="112" y="193"/>
                  </a:lnTo>
                  <a:lnTo>
                    <a:pt x="117" y="193"/>
                  </a:lnTo>
                  <a:lnTo>
                    <a:pt x="118" y="193"/>
                  </a:lnTo>
                  <a:lnTo>
                    <a:pt x="127" y="193"/>
                  </a:lnTo>
                  <a:lnTo>
                    <a:pt x="131" y="193"/>
                  </a:lnTo>
                  <a:lnTo>
                    <a:pt x="132" y="191"/>
                  </a:lnTo>
                  <a:lnTo>
                    <a:pt x="141" y="191"/>
                  </a:lnTo>
                  <a:lnTo>
                    <a:pt x="144" y="191"/>
                  </a:lnTo>
                  <a:lnTo>
                    <a:pt x="144" y="191"/>
                  </a:lnTo>
                  <a:lnTo>
                    <a:pt x="146" y="191"/>
                  </a:lnTo>
                  <a:lnTo>
                    <a:pt x="148" y="191"/>
                  </a:lnTo>
                  <a:lnTo>
                    <a:pt x="151" y="191"/>
                  </a:lnTo>
                  <a:lnTo>
                    <a:pt x="158" y="191"/>
                  </a:lnTo>
                  <a:lnTo>
                    <a:pt x="163" y="191"/>
                  </a:lnTo>
                  <a:lnTo>
                    <a:pt x="163" y="185"/>
                  </a:lnTo>
                  <a:lnTo>
                    <a:pt x="163" y="179"/>
                  </a:lnTo>
                  <a:lnTo>
                    <a:pt x="161" y="176"/>
                  </a:lnTo>
                  <a:lnTo>
                    <a:pt x="161" y="169"/>
                  </a:lnTo>
                  <a:lnTo>
                    <a:pt x="161" y="167"/>
                  </a:lnTo>
                  <a:lnTo>
                    <a:pt x="161" y="164"/>
                  </a:lnTo>
                  <a:lnTo>
                    <a:pt x="161" y="157"/>
                  </a:lnTo>
                  <a:lnTo>
                    <a:pt x="161" y="148"/>
                  </a:lnTo>
                  <a:lnTo>
                    <a:pt x="161" y="147"/>
                  </a:lnTo>
                  <a:lnTo>
                    <a:pt x="161" y="145"/>
                  </a:lnTo>
                  <a:lnTo>
                    <a:pt x="160" y="135"/>
                  </a:lnTo>
                  <a:lnTo>
                    <a:pt x="160" y="123"/>
                  </a:lnTo>
                  <a:lnTo>
                    <a:pt x="160" y="119"/>
                  </a:lnTo>
                  <a:lnTo>
                    <a:pt x="160" y="107"/>
                  </a:lnTo>
                  <a:lnTo>
                    <a:pt x="160" y="104"/>
                  </a:lnTo>
                  <a:lnTo>
                    <a:pt x="160" y="104"/>
                  </a:lnTo>
                  <a:lnTo>
                    <a:pt x="160" y="102"/>
                  </a:lnTo>
                  <a:lnTo>
                    <a:pt x="160" y="97"/>
                  </a:lnTo>
                  <a:lnTo>
                    <a:pt x="160" y="90"/>
                  </a:lnTo>
                  <a:lnTo>
                    <a:pt x="160" y="88"/>
                  </a:lnTo>
                  <a:lnTo>
                    <a:pt x="160" y="86"/>
                  </a:lnTo>
                  <a:lnTo>
                    <a:pt x="160" y="85"/>
                  </a:lnTo>
                  <a:lnTo>
                    <a:pt x="160" y="83"/>
                  </a:lnTo>
                  <a:lnTo>
                    <a:pt x="160" y="81"/>
                  </a:lnTo>
                  <a:lnTo>
                    <a:pt x="160" y="78"/>
                  </a:lnTo>
                  <a:lnTo>
                    <a:pt x="160" y="74"/>
                  </a:lnTo>
                  <a:lnTo>
                    <a:pt x="158" y="69"/>
                  </a:lnTo>
                  <a:lnTo>
                    <a:pt x="158" y="57"/>
                  </a:lnTo>
                  <a:lnTo>
                    <a:pt x="158" y="52"/>
                  </a:lnTo>
                  <a:lnTo>
                    <a:pt x="158" y="49"/>
                  </a:lnTo>
                  <a:lnTo>
                    <a:pt x="156" y="28"/>
                  </a:lnTo>
                  <a:lnTo>
                    <a:pt x="156" y="28"/>
                  </a:lnTo>
                  <a:lnTo>
                    <a:pt x="156" y="26"/>
                  </a:lnTo>
                  <a:lnTo>
                    <a:pt x="155" y="12"/>
                  </a:lnTo>
                  <a:lnTo>
                    <a:pt x="156" y="12"/>
                  </a:lnTo>
                  <a:lnTo>
                    <a:pt x="161" y="12"/>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49" name="Freeform 189"/>
            <p:cNvSpPr>
              <a:spLocks/>
            </p:cNvSpPr>
            <p:nvPr/>
          </p:nvSpPr>
          <p:spPr bwMode="auto">
            <a:xfrm>
              <a:off x="6430259" y="3190669"/>
              <a:ext cx="273050" cy="684213"/>
            </a:xfrm>
            <a:custGeom>
              <a:avLst/>
              <a:gdLst/>
              <a:ahLst/>
              <a:cxnLst>
                <a:cxn ang="0">
                  <a:pos x="13" y="12"/>
                </a:cxn>
                <a:cxn ang="0">
                  <a:pos x="24" y="20"/>
                </a:cxn>
                <a:cxn ang="0">
                  <a:pos x="44" y="27"/>
                </a:cxn>
                <a:cxn ang="0">
                  <a:pos x="58" y="29"/>
                </a:cxn>
                <a:cxn ang="0">
                  <a:pos x="80" y="15"/>
                </a:cxn>
                <a:cxn ang="0">
                  <a:pos x="86" y="6"/>
                </a:cxn>
                <a:cxn ang="0">
                  <a:pos x="91" y="0"/>
                </a:cxn>
                <a:cxn ang="0">
                  <a:pos x="99" y="1"/>
                </a:cxn>
                <a:cxn ang="0">
                  <a:pos x="104" y="3"/>
                </a:cxn>
                <a:cxn ang="0">
                  <a:pos x="111" y="3"/>
                </a:cxn>
                <a:cxn ang="0">
                  <a:pos x="122" y="1"/>
                </a:cxn>
                <a:cxn ang="0">
                  <a:pos x="135" y="1"/>
                </a:cxn>
                <a:cxn ang="0">
                  <a:pos x="149" y="3"/>
                </a:cxn>
                <a:cxn ang="0">
                  <a:pos x="165" y="18"/>
                </a:cxn>
                <a:cxn ang="0">
                  <a:pos x="165" y="44"/>
                </a:cxn>
                <a:cxn ang="0">
                  <a:pos x="165" y="74"/>
                </a:cxn>
                <a:cxn ang="0">
                  <a:pos x="165" y="91"/>
                </a:cxn>
                <a:cxn ang="0">
                  <a:pos x="165" y="106"/>
                </a:cxn>
                <a:cxn ang="0">
                  <a:pos x="165" y="122"/>
                </a:cxn>
                <a:cxn ang="0">
                  <a:pos x="166" y="153"/>
                </a:cxn>
                <a:cxn ang="0">
                  <a:pos x="166" y="178"/>
                </a:cxn>
                <a:cxn ang="0">
                  <a:pos x="166" y="199"/>
                </a:cxn>
                <a:cxn ang="0">
                  <a:pos x="168" y="213"/>
                </a:cxn>
                <a:cxn ang="0">
                  <a:pos x="168" y="230"/>
                </a:cxn>
                <a:cxn ang="0">
                  <a:pos x="168" y="246"/>
                </a:cxn>
                <a:cxn ang="0">
                  <a:pos x="170" y="263"/>
                </a:cxn>
                <a:cxn ang="0">
                  <a:pos x="170" y="292"/>
                </a:cxn>
                <a:cxn ang="0">
                  <a:pos x="170" y="309"/>
                </a:cxn>
                <a:cxn ang="0">
                  <a:pos x="172" y="328"/>
                </a:cxn>
                <a:cxn ang="0">
                  <a:pos x="172" y="354"/>
                </a:cxn>
                <a:cxn ang="0">
                  <a:pos x="172" y="371"/>
                </a:cxn>
                <a:cxn ang="0">
                  <a:pos x="165" y="387"/>
                </a:cxn>
                <a:cxn ang="0">
                  <a:pos x="149" y="387"/>
                </a:cxn>
                <a:cxn ang="0">
                  <a:pos x="134" y="385"/>
                </a:cxn>
                <a:cxn ang="0">
                  <a:pos x="122" y="387"/>
                </a:cxn>
                <a:cxn ang="0">
                  <a:pos x="104" y="387"/>
                </a:cxn>
                <a:cxn ang="0">
                  <a:pos x="91" y="387"/>
                </a:cxn>
                <a:cxn ang="0">
                  <a:pos x="70" y="388"/>
                </a:cxn>
                <a:cxn ang="0">
                  <a:pos x="70" y="418"/>
                </a:cxn>
                <a:cxn ang="0">
                  <a:pos x="65" y="431"/>
                </a:cxn>
                <a:cxn ang="0">
                  <a:pos x="25" y="431"/>
                </a:cxn>
                <a:cxn ang="0">
                  <a:pos x="3" y="431"/>
                </a:cxn>
                <a:cxn ang="0">
                  <a:pos x="3" y="407"/>
                </a:cxn>
                <a:cxn ang="0">
                  <a:pos x="3" y="387"/>
                </a:cxn>
                <a:cxn ang="0">
                  <a:pos x="3" y="357"/>
                </a:cxn>
                <a:cxn ang="0">
                  <a:pos x="1" y="344"/>
                </a:cxn>
                <a:cxn ang="0">
                  <a:pos x="1" y="328"/>
                </a:cxn>
                <a:cxn ang="0">
                  <a:pos x="1" y="314"/>
                </a:cxn>
                <a:cxn ang="0">
                  <a:pos x="1" y="278"/>
                </a:cxn>
                <a:cxn ang="0">
                  <a:pos x="1" y="259"/>
                </a:cxn>
                <a:cxn ang="0">
                  <a:pos x="1" y="218"/>
                </a:cxn>
                <a:cxn ang="0">
                  <a:pos x="1" y="194"/>
                </a:cxn>
                <a:cxn ang="0">
                  <a:pos x="1" y="172"/>
                </a:cxn>
                <a:cxn ang="0">
                  <a:pos x="0" y="149"/>
                </a:cxn>
                <a:cxn ang="0">
                  <a:pos x="0" y="130"/>
                </a:cxn>
                <a:cxn ang="0">
                  <a:pos x="0" y="101"/>
                </a:cxn>
                <a:cxn ang="0">
                  <a:pos x="0" y="80"/>
                </a:cxn>
                <a:cxn ang="0">
                  <a:pos x="0" y="61"/>
                </a:cxn>
                <a:cxn ang="0">
                  <a:pos x="0" y="48"/>
                </a:cxn>
                <a:cxn ang="0">
                  <a:pos x="0" y="29"/>
                </a:cxn>
                <a:cxn ang="0">
                  <a:pos x="0" y="10"/>
                </a:cxn>
              </a:cxnLst>
              <a:rect l="0" t="0" r="r" b="b"/>
              <a:pathLst>
                <a:path w="172" h="431">
                  <a:moveTo>
                    <a:pt x="0" y="10"/>
                  </a:moveTo>
                  <a:lnTo>
                    <a:pt x="1" y="10"/>
                  </a:lnTo>
                  <a:lnTo>
                    <a:pt x="3" y="10"/>
                  </a:lnTo>
                  <a:lnTo>
                    <a:pt x="10" y="12"/>
                  </a:lnTo>
                  <a:lnTo>
                    <a:pt x="12" y="12"/>
                  </a:lnTo>
                  <a:lnTo>
                    <a:pt x="13" y="12"/>
                  </a:lnTo>
                  <a:lnTo>
                    <a:pt x="15" y="12"/>
                  </a:lnTo>
                  <a:lnTo>
                    <a:pt x="15" y="13"/>
                  </a:lnTo>
                  <a:lnTo>
                    <a:pt x="17" y="15"/>
                  </a:lnTo>
                  <a:lnTo>
                    <a:pt x="18" y="17"/>
                  </a:lnTo>
                  <a:lnTo>
                    <a:pt x="20" y="18"/>
                  </a:lnTo>
                  <a:lnTo>
                    <a:pt x="24" y="20"/>
                  </a:lnTo>
                  <a:lnTo>
                    <a:pt x="25" y="22"/>
                  </a:lnTo>
                  <a:lnTo>
                    <a:pt x="27" y="22"/>
                  </a:lnTo>
                  <a:lnTo>
                    <a:pt x="37" y="25"/>
                  </a:lnTo>
                  <a:lnTo>
                    <a:pt x="39" y="25"/>
                  </a:lnTo>
                  <a:lnTo>
                    <a:pt x="43" y="25"/>
                  </a:lnTo>
                  <a:lnTo>
                    <a:pt x="44" y="27"/>
                  </a:lnTo>
                  <a:lnTo>
                    <a:pt x="46" y="27"/>
                  </a:lnTo>
                  <a:lnTo>
                    <a:pt x="49" y="29"/>
                  </a:lnTo>
                  <a:lnTo>
                    <a:pt x="53" y="29"/>
                  </a:lnTo>
                  <a:lnTo>
                    <a:pt x="55" y="29"/>
                  </a:lnTo>
                  <a:lnTo>
                    <a:pt x="56" y="29"/>
                  </a:lnTo>
                  <a:lnTo>
                    <a:pt x="58" y="29"/>
                  </a:lnTo>
                  <a:lnTo>
                    <a:pt x="58" y="27"/>
                  </a:lnTo>
                  <a:lnTo>
                    <a:pt x="63" y="25"/>
                  </a:lnTo>
                  <a:lnTo>
                    <a:pt x="70" y="20"/>
                  </a:lnTo>
                  <a:lnTo>
                    <a:pt x="72" y="20"/>
                  </a:lnTo>
                  <a:lnTo>
                    <a:pt x="74" y="18"/>
                  </a:lnTo>
                  <a:lnTo>
                    <a:pt x="80" y="15"/>
                  </a:lnTo>
                  <a:lnTo>
                    <a:pt x="80" y="13"/>
                  </a:lnTo>
                  <a:lnTo>
                    <a:pt x="82" y="12"/>
                  </a:lnTo>
                  <a:lnTo>
                    <a:pt x="82" y="10"/>
                  </a:lnTo>
                  <a:lnTo>
                    <a:pt x="84" y="10"/>
                  </a:lnTo>
                  <a:lnTo>
                    <a:pt x="84" y="8"/>
                  </a:lnTo>
                  <a:lnTo>
                    <a:pt x="86" y="6"/>
                  </a:lnTo>
                  <a:lnTo>
                    <a:pt x="86" y="5"/>
                  </a:lnTo>
                  <a:lnTo>
                    <a:pt x="87" y="3"/>
                  </a:lnTo>
                  <a:lnTo>
                    <a:pt x="89" y="3"/>
                  </a:lnTo>
                  <a:lnTo>
                    <a:pt x="89" y="1"/>
                  </a:lnTo>
                  <a:lnTo>
                    <a:pt x="91" y="1"/>
                  </a:lnTo>
                  <a:lnTo>
                    <a:pt x="91" y="0"/>
                  </a:lnTo>
                  <a:lnTo>
                    <a:pt x="92" y="0"/>
                  </a:lnTo>
                  <a:lnTo>
                    <a:pt x="94" y="0"/>
                  </a:lnTo>
                  <a:lnTo>
                    <a:pt x="96" y="0"/>
                  </a:lnTo>
                  <a:lnTo>
                    <a:pt x="96" y="1"/>
                  </a:lnTo>
                  <a:lnTo>
                    <a:pt x="98" y="1"/>
                  </a:lnTo>
                  <a:lnTo>
                    <a:pt x="99" y="1"/>
                  </a:lnTo>
                  <a:lnTo>
                    <a:pt x="99" y="3"/>
                  </a:lnTo>
                  <a:lnTo>
                    <a:pt x="101" y="3"/>
                  </a:lnTo>
                  <a:lnTo>
                    <a:pt x="101" y="5"/>
                  </a:lnTo>
                  <a:lnTo>
                    <a:pt x="103" y="5"/>
                  </a:lnTo>
                  <a:lnTo>
                    <a:pt x="104" y="3"/>
                  </a:lnTo>
                  <a:lnTo>
                    <a:pt x="104" y="3"/>
                  </a:lnTo>
                  <a:lnTo>
                    <a:pt x="106" y="3"/>
                  </a:lnTo>
                  <a:lnTo>
                    <a:pt x="108" y="3"/>
                  </a:lnTo>
                  <a:lnTo>
                    <a:pt x="110" y="3"/>
                  </a:lnTo>
                  <a:lnTo>
                    <a:pt x="110" y="1"/>
                  </a:lnTo>
                  <a:lnTo>
                    <a:pt x="111" y="1"/>
                  </a:lnTo>
                  <a:lnTo>
                    <a:pt x="111" y="3"/>
                  </a:lnTo>
                  <a:lnTo>
                    <a:pt x="113" y="1"/>
                  </a:lnTo>
                  <a:lnTo>
                    <a:pt x="113" y="3"/>
                  </a:lnTo>
                  <a:lnTo>
                    <a:pt x="115" y="3"/>
                  </a:lnTo>
                  <a:lnTo>
                    <a:pt x="118" y="3"/>
                  </a:lnTo>
                  <a:lnTo>
                    <a:pt x="120" y="3"/>
                  </a:lnTo>
                  <a:lnTo>
                    <a:pt x="122" y="1"/>
                  </a:lnTo>
                  <a:lnTo>
                    <a:pt x="123" y="1"/>
                  </a:lnTo>
                  <a:lnTo>
                    <a:pt x="127" y="1"/>
                  </a:lnTo>
                  <a:lnTo>
                    <a:pt x="129" y="1"/>
                  </a:lnTo>
                  <a:lnTo>
                    <a:pt x="132" y="1"/>
                  </a:lnTo>
                  <a:lnTo>
                    <a:pt x="134" y="1"/>
                  </a:lnTo>
                  <a:lnTo>
                    <a:pt x="135" y="1"/>
                  </a:lnTo>
                  <a:lnTo>
                    <a:pt x="137" y="1"/>
                  </a:lnTo>
                  <a:lnTo>
                    <a:pt x="142" y="1"/>
                  </a:lnTo>
                  <a:lnTo>
                    <a:pt x="144" y="1"/>
                  </a:lnTo>
                  <a:lnTo>
                    <a:pt x="146" y="3"/>
                  </a:lnTo>
                  <a:lnTo>
                    <a:pt x="147" y="3"/>
                  </a:lnTo>
                  <a:lnTo>
                    <a:pt x="149" y="3"/>
                  </a:lnTo>
                  <a:lnTo>
                    <a:pt x="151" y="5"/>
                  </a:lnTo>
                  <a:lnTo>
                    <a:pt x="156" y="6"/>
                  </a:lnTo>
                  <a:lnTo>
                    <a:pt x="160" y="8"/>
                  </a:lnTo>
                  <a:lnTo>
                    <a:pt x="165" y="10"/>
                  </a:lnTo>
                  <a:lnTo>
                    <a:pt x="165" y="12"/>
                  </a:lnTo>
                  <a:lnTo>
                    <a:pt x="165" y="18"/>
                  </a:lnTo>
                  <a:lnTo>
                    <a:pt x="165" y="20"/>
                  </a:lnTo>
                  <a:lnTo>
                    <a:pt x="165" y="34"/>
                  </a:lnTo>
                  <a:lnTo>
                    <a:pt x="165" y="36"/>
                  </a:lnTo>
                  <a:lnTo>
                    <a:pt x="165" y="41"/>
                  </a:lnTo>
                  <a:lnTo>
                    <a:pt x="165" y="43"/>
                  </a:lnTo>
                  <a:lnTo>
                    <a:pt x="165" y="44"/>
                  </a:lnTo>
                  <a:lnTo>
                    <a:pt x="165" y="48"/>
                  </a:lnTo>
                  <a:lnTo>
                    <a:pt x="165" y="55"/>
                  </a:lnTo>
                  <a:lnTo>
                    <a:pt x="165" y="60"/>
                  </a:lnTo>
                  <a:lnTo>
                    <a:pt x="165" y="67"/>
                  </a:lnTo>
                  <a:lnTo>
                    <a:pt x="165" y="68"/>
                  </a:lnTo>
                  <a:lnTo>
                    <a:pt x="165" y="74"/>
                  </a:lnTo>
                  <a:lnTo>
                    <a:pt x="165" y="75"/>
                  </a:lnTo>
                  <a:lnTo>
                    <a:pt x="165" y="79"/>
                  </a:lnTo>
                  <a:lnTo>
                    <a:pt x="165" y="84"/>
                  </a:lnTo>
                  <a:lnTo>
                    <a:pt x="165" y="86"/>
                  </a:lnTo>
                  <a:lnTo>
                    <a:pt x="165" y="86"/>
                  </a:lnTo>
                  <a:lnTo>
                    <a:pt x="165" y="91"/>
                  </a:lnTo>
                  <a:lnTo>
                    <a:pt x="165" y="92"/>
                  </a:lnTo>
                  <a:lnTo>
                    <a:pt x="165" y="98"/>
                  </a:lnTo>
                  <a:lnTo>
                    <a:pt x="165" y="99"/>
                  </a:lnTo>
                  <a:lnTo>
                    <a:pt x="165" y="101"/>
                  </a:lnTo>
                  <a:lnTo>
                    <a:pt x="165" y="103"/>
                  </a:lnTo>
                  <a:lnTo>
                    <a:pt x="165" y="106"/>
                  </a:lnTo>
                  <a:lnTo>
                    <a:pt x="165" y="110"/>
                  </a:lnTo>
                  <a:lnTo>
                    <a:pt x="165" y="113"/>
                  </a:lnTo>
                  <a:lnTo>
                    <a:pt x="165" y="117"/>
                  </a:lnTo>
                  <a:lnTo>
                    <a:pt x="165" y="118"/>
                  </a:lnTo>
                  <a:lnTo>
                    <a:pt x="165" y="120"/>
                  </a:lnTo>
                  <a:lnTo>
                    <a:pt x="165" y="122"/>
                  </a:lnTo>
                  <a:lnTo>
                    <a:pt x="165" y="127"/>
                  </a:lnTo>
                  <a:lnTo>
                    <a:pt x="165" y="135"/>
                  </a:lnTo>
                  <a:lnTo>
                    <a:pt x="165" y="141"/>
                  </a:lnTo>
                  <a:lnTo>
                    <a:pt x="166" y="148"/>
                  </a:lnTo>
                  <a:lnTo>
                    <a:pt x="166" y="151"/>
                  </a:lnTo>
                  <a:lnTo>
                    <a:pt x="166" y="153"/>
                  </a:lnTo>
                  <a:lnTo>
                    <a:pt x="166" y="156"/>
                  </a:lnTo>
                  <a:lnTo>
                    <a:pt x="166" y="161"/>
                  </a:lnTo>
                  <a:lnTo>
                    <a:pt x="166" y="165"/>
                  </a:lnTo>
                  <a:lnTo>
                    <a:pt x="166" y="175"/>
                  </a:lnTo>
                  <a:lnTo>
                    <a:pt x="166" y="177"/>
                  </a:lnTo>
                  <a:lnTo>
                    <a:pt x="166" y="178"/>
                  </a:lnTo>
                  <a:lnTo>
                    <a:pt x="166" y="180"/>
                  </a:lnTo>
                  <a:lnTo>
                    <a:pt x="166" y="184"/>
                  </a:lnTo>
                  <a:lnTo>
                    <a:pt x="166" y="185"/>
                  </a:lnTo>
                  <a:lnTo>
                    <a:pt x="166" y="192"/>
                  </a:lnTo>
                  <a:lnTo>
                    <a:pt x="166" y="194"/>
                  </a:lnTo>
                  <a:lnTo>
                    <a:pt x="166" y="199"/>
                  </a:lnTo>
                  <a:lnTo>
                    <a:pt x="168" y="203"/>
                  </a:lnTo>
                  <a:lnTo>
                    <a:pt x="168" y="206"/>
                  </a:lnTo>
                  <a:lnTo>
                    <a:pt x="168" y="208"/>
                  </a:lnTo>
                  <a:lnTo>
                    <a:pt x="168" y="209"/>
                  </a:lnTo>
                  <a:lnTo>
                    <a:pt x="168" y="211"/>
                  </a:lnTo>
                  <a:lnTo>
                    <a:pt x="168" y="213"/>
                  </a:lnTo>
                  <a:lnTo>
                    <a:pt x="168" y="216"/>
                  </a:lnTo>
                  <a:lnTo>
                    <a:pt x="168" y="220"/>
                  </a:lnTo>
                  <a:lnTo>
                    <a:pt x="168" y="223"/>
                  </a:lnTo>
                  <a:lnTo>
                    <a:pt x="168" y="225"/>
                  </a:lnTo>
                  <a:lnTo>
                    <a:pt x="168" y="228"/>
                  </a:lnTo>
                  <a:lnTo>
                    <a:pt x="168" y="230"/>
                  </a:lnTo>
                  <a:lnTo>
                    <a:pt x="168" y="235"/>
                  </a:lnTo>
                  <a:lnTo>
                    <a:pt x="168" y="237"/>
                  </a:lnTo>
                  <a:lnTo>
                    <a:pt x="168" y="240"/>
                  </a:lnTo>
                  <a:lnTo>
                    <a:pt x="168" y="242"/>
                  </a:lnTo>
                  <a:lnTo>
                    <a:pt x="168" y="244"/>
                  </a:lnTo>
                  <a:lnTo>
                    <a:pt x="168" y="246"/>
                  </a:lnTo>
                  <a:lnTo>
                    <a:pt x="168" y="247"/>
                  </a:lnTo>
                  <a:lnTo>
                    <a:pt x="168" y="252"/>
                  </a:lnTo>
                  <a:lnTo>
                    <a:pt x="170" y="258"/>
                  </a:lnTo>
                  <a:lnTo>
                    <a:pt x="170" y="259"/>
                  </a:lnTo>
                  <a:lnTo>
                    <a:pt x="170" y="261"/>
                  </a:lnTo>
                  <a:lnTo>
                    <a:pt x="170" y="263"/>
                  </a:lnTo>
                  <a:lnTo>
                    <a:pt x="170" y="268"/>
                  </a:lnTo>
                  <a:lnTo>
                    <a:pt x="170" y="273"/>
                  </a:lnTo>
                  <a:lnTo>
                    <a:pt x="170" y="278"/>
                  </a:lnTo>
                  <a:lnTo>
                    <a:pt x="170" y="282"/>
                  </a:lnTo>
                  <a:lnTo>
                    <a:pt x="170" y="287"/>
                  </a:lnTo>
                  <a:lnTo>
                    <a:pt x="170" y="292"/>
                  </a:lnTo>
                  <a:lnTo>
                    <a:pt x="170" y="294"/>
                  </a:lnTo>
                  <a:lnTo>
                    <a:pt x="170" y="297"/>
                  </a:lnTo>
                  <a:lnTo>
                    <a:pt x="170" y="299"/>
                  </a:lnTo>
                  <a:lnTo>
                    <a:pt x="170" y="306"/>
                  </a:lnTo>
                  <a:lnTo>
                    <a:pt x="170" y="308"/>
                  </a:lnTo>
                  <a:lnTo>
                    <a:pt x="170" y="309"/>
                  </a:lnTo>
                  <a:lnTo>
                    <a:pt x="172" y="314"/>
                  </a:lnTo>
                  <a:lnTo>
                    <a:pt x="172" y="316"/>
                  </a:lnTo>
                  <a:lnTo>
                    <a:pt x="172" y="321"/>
                  </a:lnTo>
                  <a:lnTo>
                    <a:pt x="172" y="325"/>
                  </a:lnTo>
                  <a:lnTo>
                    <a:pt x="172" y="326"/>
                  </a:lnTo>
                  <a:lnTo>
                    <a:pt x="172" y="328"/>
                  </a:lnTo>
                  <a:lnTo>
                    <a:pt x="172" y="333"/>
                  </a:lnTo>
                  <a:lnTo>
                    <a:pt x="172" y="342"/>
                  </a:lnTo>
                  <a:lnTo>
                    <a:pt x="172" y="344"/>
                  </a:lnTo>
                  <a:lnTo>
                    <a:pt x="172" y="347"/>
                  </a:lnTo>
                  <a:lnTo>
                    <a:pt x="172" y="351"/>
                  </a:lnTo>
                  <a:lnTo>
                    <a:pt x="172" y="354"/>
                  </a:lnTo>
                  <a:lnTo>
                    <a:pt x="172" y="356"/>
                  </a:lnTo>
                  <a:lnTo>
                    <a:pt x="172" y="359"/>
                  </a:lnTo>
                  <a:lnTo>
                    <a:pt x="172" y="361"/>
                  </a:lnTo>
                  <a:lnTo>
                    <a:pt x="172" y="366"/>
                  </a:lnTo>
                  <a:lnTo>
                    <a:pt x="172" y="369"/>
                  </a:lnTo>
                  <a:lnTo>
                    <a:pt x="172" y="371"/>
                  </a:lnTo>
                  <a:lnTo>
                    <a:pt x="172" y="373"/>
                  </a:lnTo>
                  <a:lnTo>
                    <a:pt x="172" y="383"/>
                  </a:lnTo>
                  <a:lnTo>
                    <a:pt x="172" y="387"/>
                  </a:lnTo>
                  <a:lnTo>
                    <a:pt x="168" y="387"/>
                  </a:lnTo>
                  <a:lnTo>
                    <a:pt x="166" y="387"/>
                  </a:lnTo>
                  <a:lnTo>
                    <a:pt x="165" y="387"/>
                  </a:lnTo>
                  <a:lnTo>
                    <a:pt x="163" y="387"/>
                  </a:lnTo>
                  <a:lnTo>
                    <a:pt x="158" y="387"/>
                  </a:lnTo>
                  <a:lnTo>
                    <a:pt x="156" y="387"/>
                  </a:lnTo>
                  <a:lnTo>
                    <a:pt x="154" y="387"/>
                  </a:lnTo>
                  <a:lnTo>
                    <a:pt x="151" y="387"/>
                  </a:lnTo>
                  <a:lnTo>
                    <a:pt x="149" y="387"/>
                  </a:lnTo>
                  <a:lnTo>
                    <a:pt x="144" y="387"/>
                  </a:lnTo>
                  <a:lnTo>
                    <a:pt x="139" y="387"/>
                  </a:lnTo>
                  <a:lnTo>
                    <a:pt x="137" y="387"/>
                  </a:lnTo>
                  <a:lnTo>
                    <a:pt x="135" y="387"/>
                  </a:lnTo>
                  <a:lnTo>
                    <a:pt x="135" y="385"/>
                  </a:lnTo>
                  <a:lnTo>
                    <a:pt x="134" y="385"/>
                  </a:lnTo>
                  <a:lnTo>
                    <a:pt x="132" y="385"/>
                  </a:lnTo>
                  <a:lnTo>
                    <a:pt x="132" y="387"/>
                  </a:lnTo>
                  <a:lnTo>
                    <a:pt x="130" y="387"/>
                  </a:lnTo>
                  <a:lnTo>
                    <a:pt x="129" y="387"/>
                  </a:lnTo>
                  <a:lnTo>
                    <a:pt x="127" y="387"/>
                  </a:lnTo>
                  <a:lnTo>
                    <a:pt x="122" y="387"/>
                  </a:lnTo>
                  <a:lnTo>
                    <a:pt x="120" y="387"/>
                  </a:lnTo>
                  <a:lnTo>
                    <a:pt x="115" y="387"/>
                  </a:lnTo>
                  <a:lnTo>
                    <a:pt x="113" y="387"/>
                  </a:lnTo>
                  <a:lnTo>
                    <a:pt x="110" y="387"/>
                  </a:lnTo>
                  <a:lnTo>
                    <a:pt x="108" y="387"/>
                  </a:lnTo>
                  <a:lnTo>
                    <a:pt x="104" y="387"/>
                  </a:lnTo>
                  <a:lnTo>
                    <a:pt x="103" y="387"/>
                  </a:lnTo>
                  <a:lnTo>
                    <a:pt x="98" y="387"/>
                  </a:lnTo>
                  <a:lnTo>
                    <a:pt x="96" y="387"/>
                  </a:lnTo>
                  <a:lnTo>
                    <a:pt x="94" y="387"/>
                  </a:lnTo>
                  <a:lnTo>
                    <a:pt x="91" y="387"/>
                  </a:lnTo>
                  <a:lnTo>
                    <a:pt x="91" y="387"/>
                  </a:lnTo>
                  <a:lnTo>
                    <a:pt x="89" y="387"/>
                  </a:lnTo>
                  <a:lnTo>
                    <a:pt x="80" y="387"/>
                  </a:lnTo>
                  <a:lnTo>
                    <a:pt x="79" y="387"/>
                  </a:lnTo>
                  <a:lnTo>
                    <a:pt x="75" y="387"/>
                  </a:lnTo>
                  <a:lnTo>
                    <a:pt x="70" y="387"/>
                  </a:lnTo>
                  <a:lnTo>
                    <a:pt x="70" y="388"/>
                  </a:lnTo>
                  <a:lnTo>
                    <a:pt x="70" y="397"/>
                  </a:lnTo>
                  <a:lnTo>
                    <a:pt x="70" y="400"/>
                  </a:lnTo>
                  <a:lnTo>
                    <a:pt x="70" y="404"/>
                  </a:lnTo>
                  <a:lnTo>
                    <a:pt x="70" y="414"/>
                  </a:lnTo>
                  <a:lnTo>
                    <a:pt x="70" y="418"/>
                  </a:lnTo>
                  <a:lnTo>
                    <a:pt x="70" y="418"/>
                  </a:lnTo>
                  <a:lnTo>
                    <a:pt x="70" y="419"/>
                  </a:lnTo>
                  <a:lnTo>
                    <a:pt x="70" y="424"/>
                  </a:lnTo>
                  <a:lnTo>
                    <a:pt x="72" y="428"/>
                  </a:lnTo>
                  <a:lnTo>
                    <a:pt x="72" y="431"/>
                  </a:lnTo>
                  <a:lnTo>
                    <a:pt x="68" y="431"/>
                  </a:lnTo>
                  <a:lnTo>
                    <a:pt x="65" y="431"/>
                  </a:lnTo>
                  <a:lnTo>
                    <a:pt x="51" y="431"/>
                  </a:lnTo>
                  <a:lnTo>
                    <a:pt x="44" y="431"/>
                  </a:lnTo>
                  <a:lnTo>
                    <a:pt x="41" y="431"/>
                  </a:lnTo>
                  <a:lnTo>
                    <a:pt x="37" y="431"/>
                  </a:lnTo>
                  <a:lnTo>
                    <a:pt x="27" y="431"/>
                  </a:lnTo>
                  <a:lnTo>
                    <a:pt x="25" y="431"/>
                  </a:lnTo>
                  <a:lnTo>
                    <a:pt x="20" y="431"/>
                  </a:lnTo>
                  <a:lnTo>
                    <a:pt x="15" y="431"/>
                  </a:lnTo>
                  <a:lnTo>
                    <a:pt x="13" y="431"/>
                  </a:lnTo>
                  <a:lnTo>
                    <a:pt x="12" y="431"/>
                  </a:lnTo>
                  <a:lnTo>
                    <a:pt x="5" y="431"/>
                  </a:lnTo>
                  <a:lnTo>
                    <a:pt x="3" y="431"/>
                  </a:lnTo>
                  <a:lnTo>
                    <a:pt x="3" y="430"/>
                  </a:lnTo>
                  <a:lnTo>
                    <a:pt x="3" y="428"/>
                  </a:lnTo>
                  <a:lnTo>
                    <a:pt x="3" y="423"/>
                  </a:lnTo>
                  <a:lnTo>
                    <a:pt x="3" y="411"/>
                  </a:lnTo>
                  <a:lnTo>
                    <a:pt x="3" y="409"/>
                  </a:lnTo>
                  <a:lnTo>
                    <a:pt x="3" y="407"/>
                  </a:lnTo>
                  <a:lnTo>
                    <a:pt x="3" y="406"/>
                  </a:lnTo>
                  <a:lnTo>
                    <a:pt x="3" y="400"/>
                  </a:lnTo>
                  <a:lnTo>
                    <a:pt x="3" y="397"/>
                  </a:lnTo>
                  <a:lnTo>
                    <a:pt x="3" y="392"/>
                  </a:lnTo>
                  <a:lnTo>
                    <a:pt x="3" y="390"/>
                  </a:lnTo>
                  <a:lnTo>
                    <a:pt x="3" y="387"/>
                  </a:lnTo>
                  <a:lnTo>
                    <a:pt x="3" y="378"/>
                  </a:lnTo>
                  <a:lnTo>
                    <a:pt x="3" y="373"/>
                  </a:lnTo>
                  <a:lnTo>
                    <a:pt x="3" y="373"/>
                  </a:lnTo>
                  <a:lnTo>
                    <a:pt x="3" y="366"/>
                  </a:lnTo>
                  <a:lnTo>
                    <a:pt x="3" y="363"/>
                  </a:lnTo>
                  <a:lnTo>
                    <a:pt x="3" y="357"/>
                  </a:lnTo>
                  <a:lnTo>
                    <a:pt x="3" y="357"/>
                  </a:lnTo>
                  <a:lnTo>
                    <a:pt x="1" y="357"/>
                  </a:lnTo>
                  <a:lnTo>
                    <a:pt x="1" y="349"/>
                  </a:lnTo>
                  <a:lnTo>
                    <a:pt x="1" y="347"/>
                  </a:lnTo>
                  <a:lnTo>
                    <a:pt x="1" y="345"/>
                  </a:lnTo>
                  <a:lnTo>
                    <a:pt x="1" y="344"/>
                  </a:lnTo>
                  <a:lnTo>
                    <a:pt x="1" y="342"/>
                  </a:lnTo>
                  <a:lnTo>
                    <a:pt x="1" y="340"/>
                  </a:lnTo>
                  <a:lnTo>
                    <a:pt x="1" y="335"/>
                  </a:lnTo>
                  <a:lnTo>
                    <a:pt x="1" y="333"/>
                  </a:lnTo>
                  <a:lnTo>
                    <a:pt x="1" y="330"/>
                  </a:lnTo>
                  <a:lnTo>
                    <a:pt x="1" y="328"/>
                  </a:lnTo>
                  <a:lnTo>
                    <a:pt x="1" y="326"/>
                  </a:lnTo>
                  <a:lnTo>
                    <a:pt x="1" y="323"/>
                  </a:lnTo>
                  <a:lnTo>
                    <a:pt x="1" y="320"/>
                  </a:lnTo>
                  <a:lnTo>
                    <a:pt x="1" y="318"/>
                  </a:lnTo>
                  <a:lnTo>
                    <a:pt x="1" y="316"/>
                  </a:lnTo>
                  <a:lnTo>
                    <a:pt x="1" y="314"/>
                  </a:lnTo>
                  <a:lnTo>
                    <a:pt x="1" y="306"/>
                  </a:lnTo>
                  <a:lnTo>
                    <a:pt x="1" y="295"/>
                  </a:lnTo>
                  <a:lnTo>
                    <a:pt x="1" y="294"/>
                  </a:lnTo>
                  <a:lnTo>
                    <a:pt x="1" y="283"/>
                  </a:lnTo>
                  <a:lnTo>
                    <a:pt x="1" y="282"/>
                  </a:lnTo>
                  <a:lnTo>
                    <a:pt x="1" y="278"/>
                  </a:lnTo>
                  <a:lnTo>
                    <a:pt x="1" y="277"/>
                  </a:lnTo>
                  <a:lnTo>
                    <a:pt x="1" y="275"/>
                  </a:lnTo>
                  <a:lnTo>
                    <a:pt x="1" y="271"/>
                  </a:lnTo>
                  <a:lnTo>
                    <a:pt x="1" y="266"/>
                  </a:lnTo>
                  <a:lnTo>
                    <a:pt x="1" y="261"/>
                  </a:lnTo>
                  <a:lnTo>
                    <a:pt x="1" y="259"/>
                  </a:lnTo>
                  <a:lnTo>
                    <a:pt x="1" y="237"/>
                  </a:lnTo>
                  <a:lnTo>
                    <a:pt x="1" y="235"/>
                  </a:lnTo>
                  <a:lnTo>
                    <a:pt x="1" y="234"/>
                  </a:lnTo>
                  <a:lnTo>
                    <a:pt x="1" y="223"/>
                  </a:lnTo>
                  <a:lnTo>
                    <a:pt x="1" y="220"/>
                  </a:lnTo>
                  <a:lnTo>
                    <a:pt x="1" y="218"/>
                  </a:lnTo>
                  <a:lnTo>
                    <a:pt x="1" y="215"/>
                  </a:lnTo>
                  <a:lnTo>
                    <a:pt x="1" y="213"/>
                  </a:lnTo>
                  <a:lnTo>
                    <a:pt x="1" y="206"/>
                  </a:lnTo>
                  <a:lnTo>
                    <a:pt x="1" y="204"/>
                  </a:lnTo>
                  <a:lnTo>
                    <a:pt x="1" y="197"/>
                  </a:lnTo>
                  <a:lnTo>
                    <a:pt x="1" y="194"/>
                  </a:lnTo>
                  <a:lnTo>
                    <a:pt x="1" y="192"/>
                  </a:lnTo>
                  <a:lnTo>
                    <a:pt x="1" y="182"/>
                  </a:lnTo>
                  <a:lnTo>
                    <a:pt x="1" y="178"/>
                  </a:lnTo>
                  <a:lnTo>
                    <a:pt x="1" y="177"/>
                  </a:lnTo>
                  <a:lnTo>
                    <a:pt x="1" y="177"/>
                  </a:lnTo>
                  <a:lnTo>
                    <a:pt x="1" y="172"/>
                  </a:lnTo>
                  <a:lnTo>
                    <a:pt x="1" y="165"/>
                  </a:lnTo>
                  <a:lnTo>
                    <a:pt x="1" y="163"/>
                  </a:lnTo>
                  <a:lnTo>
                    <a:pt x="1" y="161"/>
                  </a:lnTo>
                  <a:lnTo>
                    <a:pt x="1" y="161"/>
                  </a:lnTo>
                  <a:lnTo>
                    <a:pt x="1" y="156"/>
                  </a:lnTo>
                  <a:lnTo>
                    <a:pt x="0" y="149"/>
                  </a:lnTo>
                  <a:lnTo>
                    <a:pt x="0" y="148"/>
                  </a:lnTo>
                  <a:lnTo>
                    <a:pt x="0" y="146"/>
                  </a:lnTo>
                  <a:lnTo>
                    <a:pt x="0" y="142"/>
                  </a:lnTo>
                  <a:lnTo>
                    <a:pt x="0" y="139"/>
                  </a:lnTo>
                  <a:lnTo>
                    <a:pt x="0" y="132"/>
                  </a:lnTo>
                  <a:lnTo>
                    <a:pt x="0" y="130"/>
                  </a:lnTo>
                  <a:lnTo>
                    <a:pt x="0" y="127"/>
                  </a:lnTo>
                  <a:lnTo>
                    <a:pt x="0" y="122"/>
                  </a:lnTo>
                  <a:lnTo>
                    <a:pt x="0" y="117"/>
                  </a:lnTo>
                  <a:lnTo>
                    <a:pt x="0" y="117"/>
                  </a:lnTo>
                  <a:lnTo>
                    <a:pt x="0" y="115"/>
                  </a:lnTo>
                  <a:lnTo>
                    <a:pt x="0" y="101"/>
                  </a:lnTo>
                  <a:lnTo>
                    <a:pt x="0" y="101"/>
                  </a:lnTo>
                  <a:lnTo>
                    <a:pt x="0" y="92"/>
                  </a:lnTo>
                  <a:lnTo>
                    <a:pt x="0" y="86"/>
                  </a:lnTo>
                  <a:lnTo>
                    <a:pt x="0" y="84"/>
                  </a:lnTo>
                  <a:lnTo>
                    <a:pt x="0" y="82"/>
                  </a:lnTo>
                  <a:lnTo>
                    <a:pt x="0" y="80"/>
                  </a:lnTo>
                  <a:lnTo>
                    <a:pt x="0" y="74"/>
                  </a:lnTo>
                  <a:lnTo>
                    <a:pt x="0" y="72"/>
                  </a:lnTo>
                  <a:lnTo>
                    <a:pt x="0" y="70"/>
                  </a:lnTo>
                  <a:lnTo>
                    <a:pt x="0" y="68"/>
                  </a:lnTo>
                  <a:lnTo>
                    <a:pt x="0" y="63"/>
                  </a:lnTo>
                  <a:lnTo>
                    <a:pt x="0" y="61"/>
                  </a:lnTo>
                  <a:lnTo>
                    <a:pt x="0" y="58"/>
                  </a:lnTo>
                  <a:lnTo>
                    <a:pt x="0" y="56"/>
                  </a:lnTo>
                  <a:lnTo>
                    <a:pt x="0" y="55"/>
                  </a:lnTo>
                  <a:lnTo>
                    <a:pt x="0" y="53"/>
                  </a:lnTo>
                  <a:lnTo>
                    <a:pt x="0" y="49"/>
                  </a:lnTo>
                  <a:lnTo>
                    <a:pt x="0" y="48"/>
                  </a:lnTo>
                  <a:lnTo>
                    <a:pt x="0" y="46"/>
                  </a:lnTo>
                  <a:lnTo>
                    <a:pt x="0" y="41"/>
                  </a:lnTo>
                  <a:lnTo>
                    <a:pt x="0" y="41"/>
                  </a:lnTo>
                  <a:lnTo>
                    <a:pt x="0" y="37"/>
                  </a:lnTo>
                  <a:lnTo>
                    <a:pt x="0" y="31"/>
                  </a:lnTo>
                  <a:lnTo>
                    <a:pt x="0" y="29"/>
                  </a:lnTo>
                  <a:lnTo>
                    <a:pt x="0" y="25"/>
                  </a:lnTo>
                  <a:lnTo>
                    <a:pt x="0" y="22"/>
                  </a:lnTo>
                  <a:lnTo>
                    <a:pt x="0" y="18"/>
                  </a:lnTo>
                  <a:lnTo>
                    <a:pt x="0" y="15"/>
                  </a:lnTo>
                  <a:lnTo>
                    <a:pt x="0" y="12"/>
                  </a:lnTo>
                  <a:lnTo>
                    <a:pt x="0" y="10"/>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0" name="Freeform 200"/>
            <p:cNvSpPr>
              <a:spLocks/>
            </p:cNvSpPr>
            <p:nvPr/>
          </p:nvSpPr>
          <p:spPr bwMode="auto">
            <a:xfrm>
              <a:off x="6962071" y="3798681"/>
              <a:ext cx="447675" cy="573088"/>
            </a:xfrm>
            <a:custGeom>
              <a:avLst/>
              <a:gdLst/>
              <a:ahLst/>
              <a:cxnLst>
                <a:cxn ang="0">
                  <a:pos x="210" y="21"/>
                </a:cxn>
                <a:cxn ang="0">
                  <a:pos x="225" y="41"/>
                </a:cxn>
                <a:cxn ang="0">
                  <a:pos x="234" y="50"/>
                </a:cxn>
                <a:cxn ang="0">
                  <a:pos x="246" y="66"/>
                </a:cxn>
                <a:cxn ang="0">
                  <a:pos x="256" y="79"/>
                </a:cxn>
                <a:cxn ang="0">
                  <a:pos x="253" y="84"/>
                </a:cxn>
                <a:cxn ang="0">
                  <a:pos x="256" y="88"/>
                </a:cxn>
                <a:cxn ang="0">
                  <a:pos x="265" y="88"/>
                </a:cxn>
                <a:cxn ang="0">
                  <a:pos x="268" y="81"/>
                </a:cxn>
                <a:cxn ang="0">
                  <a:pos x="272" y="83"/>
                </a:cxn>
                <a:cxn ang="0">
                  <a:pos x="267" y="88"/>
                </a:cxn>
                <a:cxn ang="0">
                  <a:pos x="273" y="93"/>
                </a:cxn>
                <a:cxn ang="0">
                  <a:pos x="280" y="105"/>
                </a:cxn>
                <a:cxn ang="0">
                  <a:pos x="280" y="127"/>
                </a:cxn>
                <a:cxn ang="0">
                  <a:pos x="280" y="140"/>
                </a:cxn>
                <a:cxn ang="0">
                  <a:pos x="282" y="155"/>
                </a:cxn>
                <a:cxn ang="0">
                  <a:pos x="282" y="174"/>
                </a:cxn>
                <a:cxn ang="0">
                  <a:pos x="282" y="188"/>
                </a:cxn>
                <a:cxn ang="0">
                  <a:pos x="282" y="200"/>
                </a:cxn>
                <a:cxn ang="0">
                  <a:pos x="282" y="231"/>
                </a:cxn>
                <a:cxn ang="0">
                  <a:pos x="282" y="253"/>
                </a:cxn>
                <a:cxn ang="0">
                  <a:pos x="282" y="270"/>
                </a:cxn>
                <a:cxn ang="0">
                  <a:pos x="282" y="291"/>
                </a:cxn>
                <a:cxn ang="0">
                  <a:pos x="282" y="313"/>
                </a:cxn>
                <a:cxn ang="0">
                  <a:pos x="282" y="332"/>
                </a:cxn>
                <a:cxn ang="0">
                  <a:pos x="282" y="358"/>
                </a:cxn>
                <a:cxn ang="0">
                  <a:pos x="249" y="358"/>
                </a:cxn>
                <a:cxn ang="0">
                  <a:pos x="218" y="358"/>
                </a:cxn>
                <a:cxn ang="0">
                  <a:pos x="199" y="358"/>
                </a:cxn>
                <a:cxn ang="0">
                  <a:pos x="184" y="360"/>
                </a:cxn>
                <a:cxn ang="0">
                  <a:pos x="163" y="361"/>
                </a:cxn>
                <a:cxn ang="0">
                  <a:pos x="141" y="361"/>
                </a:cxn>
                <a:cxn ang="0">
                  <a:pos x="120" y="361"/>
                </a:cxn>
                <a:cxn ang="0">
                  <a:pos x="88" y="360"/>
                </a:cxn>
                <a:cxn ang="0">
                  <a:pos x="58" y="360"/>
                </a:cxn>
                <a:cxn ang="0">
                  <a:pos x="45" y="360"/>
                </a:cxn>
                <a:cxn ang="0">
                  <a:pos x="24" y="360"/>
                </a:cxn>
                <a:cxn ang="0">
                  <a:pos x="9" y="360"/>
                </a:cxn>
                <a:cxn ang="0">
                  <a:pos x="5" y="346"/>
                </a:cxn>
                <a:cxn ang="0">
                  <a:pos x="5" y="330"/>
                </a:cxn>
                <a:cxn ang="0">
                  <a:pos x="5" y="310"/>
                </a:cxn>
                <a:cxn ang="0">
                  <a:pos x="7" y="270"/>
                </a:cxn>
                <a:cxn ang="0">
                  <a:pos x="7" y="243"/>
                </a:cxn>
                <a:cxn ang="0">
                  <a:pos x="5" y="224"/>
                </a:cxn>
                <a:cxn ang="0">
                  <a:pos x="5" y="201"/>
                </a:cxn>
                <a:cxn ang="0">
                  <a:pos x="5" y="191"/>
                </a:cxn>
                <a:cxn ang="0">
                  <a:pos x="5" y="176"/>
                </a:cxn>
                <a:cxn ang="0">
                  <a:pos x="5" y="140"/>
                </a:cxn>
                <a:cxn ang="0">
                  <a:pos x="3" y="97"/>
                </a:cxn>
                <a:cxn ang="0">
                  <a:pos x="2" y="69"/>
                </a:cxn>
                <a:cxn ang="0">
                  <a:pos x="2" y="38"/>
                </a:cxn>
                <a:cxn ang="0">
                  <a:pos x="2" y="23"/>
                </a:cxn>
                <a:cxn ang="0">
                  <a:pos x="2" y="4"/>
                </a:cxn>
                <a:cxn ang="0">
                  <a:pos x="27" y="4"/>
                </a:cxn>
                <a:cxn ang="0">
                  <a:pos x="65" y="2"/>
                </a:cxn>
                <a:cxn ang="0">
                  <a:pos x="88" y="2"/>
                </a:cxn>
                <a:cxn ang="0">
                  <a:pos x="122" y="0"/>
                </a:cxn>
                <a:cxn ang="0">
                  <a:pos x="136" y="0"/>
                </a:cxn>
                <a:cxn ang="0">
                  <a:pos x="169" y="0"/>
                </a:cxn>
                <a:cxn ang="0">
                  <a:pos x="193" y="0"/>
                </a:cxn>
              </a:cxnLst>
              <a:rect l="0" t="0" r="r" b="b"/>
              <a:pathLst>
                <a:path w="282" h="361">
                  <a:moveTo>
                    <a:pt x="193" y="0"/>
                  </a:moveTo>
                  <a:lnTo>
                    <a:pt x="199" y="9"/>
                  </a:lnTo>
                  <a:lnTo>
                    <a:pt x="201" y="11"/>
                  </a:lnTo>
                  <a:lnTo>
                    <a:pt x="206" y="16"/>
                  </a:lnTo>
                  <a:lnTo>
                    <a:pt x="208" y="19"/>
                  </a:lnTo>
                  <a:lnTo>
                    <a:pt x="210" y="21"/>
                  </a:lnTo>
                  <a:lnTo>
                    <a:pt x="212" y="23"/>
                  </a:lnTo>
                  <a:lnTo>
                    <a:pt x="215" y="26"/>
                  </a:lnTo>
                  <a:lnTo>
                    <a:pt x="217" y="29"/>
                  </a:lnTo>
                  <a:lnTo>
                    <a:pt x="218" y="31"/>
                  </a:lnTo>
                  <a:lnTo>
                    <a:pt x="220" y="33"/>
                  </a:lnTo>
                  <a:lnTo>
                    <a:pt x="225" y="41"/>
                  </a:lnTo>
                  <a:lnTo>
                    <a:pt x="227" y="43"/>
                  </a:lnTo>
                  <a:lnTo>
                    <a:pt x="229" y="45"/>
                  </a:lnTo>
                  <a:lnTo>
                    <a:pt x="230" y="48"/>
                  </a:lnTo>
                  <a:lnTo>
                    <a:pt x="232" y="48"/>
                  </a:lnTo>
                  <a:lnTo>
                    <a:pt x="234" y="50"/>
                  </a:lnTo>
                  <a:lnTo>
                    <a:pt x="234" y="50"/>
                  </a:lnTo>
                  <a:lnTo>
                    <a:pt x="236" y="50"/>
                  </a:lnTo>
                  <a:lnTo>
                    <a:pt x="237" y="55"/>
                  </a:lnTo>
                  <a:lnTo>
                    <a:pt x="241" y="59"/>
                  </a:lnTo>
                  <a:lnTo>
                    <a:pt x="241" y="62"/>
                  </a:lnTo>
                  <a:lnTo>
                    <a:pt x="244" y="66"/>
                  </a:lnTo>
                  <a:lnTo>
                    <a:pt x="246" y="66"/>
                  </a:lnTo>
                  <a:lnTo>
                    <a:pt x="248" y="67"/>
                  </a:lnTo>
                  <a:lnTo>
                    <a:pt x="249" y="69"/>
                  </a:lnTo>
                  <a:lnTo>
                    <a:pt x="253" y="76"/>
                  </a:lnTo>
                  <a:lnTo>
                    <a:pt x="255" y="78"/>
                  </a:lnTo>
                  <a:lnTo>
                    <a:pt x="255" y="79"/>
                  </a:lnTo>
                  <a:lnTo>
                    <a:pt x="256" y="79"/>
                  </a:lnTo>
                  <a:lnTo>
                    <a:pt x="256" y="81"/>
                  </a:lnTo>
                  <a:lnTo>
                    <a:pt x="258" y="81"/>
                  </a:lnTo>
                  <a:lnTo>
                    <a:pt x="256" y="83"/>
                  </a:lnTo>
                  <a:lnTo>
                    <a:pt x="255" y="84"/>
                  </a:lnTo>
                  <a:lnTo>
                    <a:pt x="253" y="83"/>
                  </a:lnTo>
                  <a:lnTo>
                    <a:pt x="253" y="84"/>
                  </a:lnTo>
                  <a:lnTo>
                    <a:pt x="253" y="84"/>
                  </a:lnTo>
                  <a:lnTo>
                    <a:pt x="253" y="86"/>
                  </a:lnTo>
                  <a:lnTo>
                    <a:pt x="253" y="88"/>
                  </a:lnTo>
                  <a:lnTo>
                    <a:pt x="253" y="88"/>
                  </a:lnTo>
                  <a:lnTo>
                    <a:pt x="255" y="88"/>
                  </a:lnTo>
                  <a:lnTo>
                    <a:pt x="256" y="88"/>
                  </a:lnTo>
                  <a:lnTo>
                    <a:pt x="258" y="88"/>
                  </a:lnTo>
                  <a:lnTo>
                    <a:pt x="260" y="86"/>
                  </a:lnTo>
                  <a:lnTo>
                    <a:pt x="261" y="86"/>
                  </a:lnTo>
                  <a:lnTo>
                    <a:pt x="263" y="86"/>
                  </a:lnTo>
                  <a:lnTo>
                    <a:pt x="263" y="88"/>
                  </a:lnTo>
                  <a:lnTo>
                    <a:pt x="265" y="88"/>
                  </a:lnTo>
                  <a:lnTo>
                    <a:pt x="267" y="86"/>
                  </a:lnTo>
                  <a:lnTo>
                    <a:pt x="267" y="84"/>
                  </a:lnTo>
                  <a:lnTo>
                    <a:pt x="268" y="83"/>
                  </a:lnTo>
                  <a:lnTo>
                    <a:pt x="268" y="81"/>
                  </a:lnTo>
                  <a:lnTo>
                    <a:pt x="267" y="81"/>
                  </a:lnTo>
                  <a:lnTo>
                    <a:pt x="268" y="81"/>
                  </a:lnTo>
                  <a:lnTo>
                    <a:pt x="268" y="79"/>
                  </a:lnTo>
                  <a:lnTo>
                    <a:pt x="268" y="79"/>
                  </a:lnTo>
                  <a:lnTo>
                    <a:pt x="270" y="79"/>
                  </a:lnTo>
                  <a:lnTo>
                    <a:pt x="270" y="81"/>
                  </a:lnTo>
                  <a:lnTo>
                    <a:pt x="272" y="81"/>
                  </a:lnTo>
                  <a:lnTo>
                    <a:pt x="272" y="83"/>
                  </a:lnTo>
                  <a:lnTo>
                    <a:pt x="272" y="84"/>
                  </a:lnTo>
                  <a:lnTo>
                    <a:pt x="270" y="86"/>
                  </a:lnTo>
                  <a:lnTo>
                    <a:pt x="268" y="86"/>
                  </a:lnTo>
                  <a:lnTo>
                    <a:pt x="268" y="88"/>
                  </a:lnTo>
                  <a:lnTo>
                    <a:pt x="268" y="88"/>
                  </a:lnTo>
                  <a:lnTo>
                    <a:pt x="267" y="88"/>
                  </a:lnTo>
                  <a:lnTo>
                    <a:pt x="267" y="90"/>
                  </a:lnTo>
                  <a:lnTo>
                    <a:pt x="268" y="91"/>
                  </a:lnTo>
                  <a:lnTo>
                    <a:pt x="268" y="93"/>
                  </a:lnTo>
                  <a:lnTo>
                    <a:pt x="270" y="93"/>
                  </a:lnTo>
                  <a:lnTo>
                    <a:pt x="272" y="93"/>
                  </a:lnTo>
                  <a:lnTo>
                    <a:pt x="273" y="93"/>
                  </a:lnTo>
                  <a:lnTo>
                    <a:pt x="277" y="95"/>
                  </a:lnTo>
                  <a:lnTo>
                    <a:pt x="279" y="95"/>
                  </a:lnTo>
                  <a:lnTo>
                    <a:pt x="279" y="95"/>
                  </a:lnTo>
                  <a:lnTo>
                    <a:pt x="280" y="95"/>
                  </a:lnTo>
                  <a:lnTo>
                    <a:pt x="280" y="103"/>
                  </a:lnTo>
                  <a:lnTo>
                    <a:pt x="280" y="105"/>
                  </a:lnTo>
                  <a:lnTo>
                    <a:pt x="280" y="107"/>
                  </a:lnTo>
                  <a:lnTo>
                    <a:pt x="280" y="110"/>
                  </a:lnTo>
                  <a:lnTo>
                    <a:pt x="280" y="114"/>
                  </a:lnTo>
                  <a:lnTo>
                    <a:pt x="280" y="115"/>
                  </a:lnTo>
                  <a:lnTo>
                    <a:pt x="280" y="126"/>
                  </a:lnTo>
                  <a:lnTo>
                    <a:pt x="280" y="127"/>
                  </a:lnTo>
                  <a:lnTo>
                    <a:pt x="280" y="129"/>
                  </a:lnTo>
                  <a:lnTo>
                    <a:pt x="280" y="131"/>
                  </a:lnTo>
                  <a:lnTo>
                    <a:pt x="280" y="133"/>
                  </a:lnTo>
                  <a:lnTo>
                    <a:pt x="280" y="138"/>
                  </a:lnTo>
                  <a:lnTo>
                    <a:pt x="280" y="140"/>
                  </a:lnTo>
                  <a:lnTo>
                    <a:pt x="280" y="140"/>
                  </a:lnTo>
                  <a:lnTo>
                    <a:pt x="280" y="143"/>
                  </a:lnTo>
                  <a:lnTo>
                    <a:pt x="280" y="145"/>
                  </a:lnTo>
                  <a:lnTo>
                    <a:pt x="282" y="148"/>
                  </a:lnTo>
                  <a:lnTo>
                    <a:pt x="282" y="150"/>
                  </a:lnTo>
                  <a:lnTo>
                    <a:pt x="282" y="155"/>
                  </a:lnTo>
                  <a:lnTo>
                    <a:pt x="282" y="155"/>
                  </a:lnTo>
                  <a:lnTo>
                    <a:pt x="282" y="160"/>
                  </a:lnTo>
                  <a:lnTo>
                    <a:pt x="282" y="162"/>
                  </a:lnTo>
                  <a:lnTo>
                    <a:pt x="282" y="165"/>
                  </a:lnTo>
                  <a:lnTo>
                    <a:pt x="282" y="169"/>
                  </a:lnTo>
                  <a:lnTo>
                    <a:pt x="282" y="171"/>
                  </a:lnTo>
                  <a:lnTo>
                    <a:pt x="282" y="174"/>
                  </a:lnTo>
                  <a:lnTo>
                    <a:pt x="282" y="176"/>
                  </a:lnTo>
                  <a:lnTo>
                    <a:pt x="282" y="177"/>
                  </a:lnTo>
                  <a:lnTo>
                    <a:pt x="282" y="181"/>
                  </a:lnTo>
                  <a:lnTo>
                    <a:pt x="282" y="183"/>
                  </a:lnTo>
                  <a:lnTo>
                    <a:pt x="282" y="184"/>
                  </a:lnTo>
                  <a:lnTo>
                    <a:pt x="282" y="188"/>
                  </a:lnTo>
                  <a:lnTo>
                    <a:pt x="282" y="191"/>
                  </a:lnTo>
                  <a:lnTo>
                    <a:pt x="282" y="193"/>
                  </a:lnTo>
                  <a:lnTo>
                    <a:pt x="282" y="195"/>
                  </a:lnTo>
                  <a:lnTo>
                    <a:pt x="282" y="196"/>
                  </a:lnTo>
                  <a:lnTo>
                    <a:pt x="282" y="198"/>
                  </a:lnTo>
                  <a:lnTo>
                    <a:pt x="282" y="200"/>
                  </a:lnTo>
                  <a:lnTo>
                    <a:pt x="282" y="203"/>
                  </a:lnTo>
                  <a:lnTo>
                    <a:pt x="282" y="217"/>
                  </a:lnTo>
                  <a:lnTo>
                    <a:pt x="282" y="222"/>
                  </a:lnTo>
                  <a:lnTo>
                    <a:pt x="282" y="227"/>
                  </a:lnTo>
                  <a:lnTo>
                    <a:pt x="282" y="229"/>
                  </a:lnTo>
                  <a:lnTo>
                    <a:pt x="282" y="231"/>
                  </a:lnTo>
                  <a:lnTo>
                    <a:pt x="282" y="232"/>
                  </a:lnTo>
                  <a:lnTo>
                    <a:pt x="282" y="241"/>
                  </a:lnTo>
                  <a:lnTo>
                    <a:pt x="282" y="243"/>
                  </a:lnTo>
                  <a:lnTo>
                    <a:pt x="282" y="250"/>
                  </a:lnTo>
                  <a:lnTo>
                    <a:pt x="282" y="251"/>
                  </a:lnTo>
                  <a:lnTo>
                    <a:pt x="282" y="253"/>
                  </a:lnTo>
                  <a:lnTo>
                    <a:pt x="282" y="255"/>
                  </a:lnTo>
                  <a:lnTo>
                    <a:pt x="282" y="258"/>
                  </a:lnTo>
                  <a:lnTo>
                    <a:pt x="282" y="262"/>
                  </a:lnTo>
                  <a:lnTo>
                    <a:pt x="282" y="267"/>
                  </a:lnTo>
                  <a:lnTo>
                    <a:pt x="282" y="269"/>
                  </a:lnTo>
                  <a:lnTo>
                    <a:pt x="282" y="270"/>
                  </a:lnTo>
                  <a:lnTo>
                    <a:pt x="282" y="272"/>
                  </a:lnTo>
                  <a:lnTo>
                    <a:pt x="282" y="274"/>
                  </a:lnTo>
                  <a:lnTo>
                    <a:pt x="282" y="275"/>
                  </a:lnTo>
                  <a:lnTo>
                    <a:pt x="282" y="287"/>
                  </a:lnTo>
                  <a:lnTo>
                    <a:pt x="282" y="289"/>
                  </a:lnTo>
                  <a:lnTo>
                    <a:pt x="282" y="291"/>
                  </a:lnTo>
                  <a:lnTo>
                    <a:pt x="282" y="293"/>
                  </a:lnTo>
                  <a:lnTo>
                    <a:pt x="282" y="301"/>
                  </a:lnTo>
                  <a:lnTo>
                    <a:pt x="282" y="303"/>
                  </a:lnTo>
                  <a:lnTo>
                    <a:pt x="282" y="306"/>
                  </a:lnTo>
                  <a:lnTo>
                    <a:pt x="282" y="312"/>
                  </a:lnTo>
                  <a:lnTo>
                    <a:pt x="282" y="313"/>
                  </a:lnTo>
                  <a:lnTo>
                    <a:pt x="282" y="315"/>
                  </a:lnTo>
                  <a:lnTo>
                    <a:pt x="282" y="318"/>
                  </a:lnTo>
                  <a:lnTo>
                    <a:pt x="282" y="320"/>
                  </a:lnTo>
                  <a:lnTo>
                    <a:pt x="282" y="325"/>
                  </a:lnTo>
                  <a:lnTo>
                    <a:pt x="282" y="329"/>
                  </a:lnTo>
                  <a:lnTo>
                    <a:pt x="282" y="332"/>
                  </a:lnTo>
                  <a:lnTo>
                    <a:pt x="282" y="336"/>
                  </a:lnTo>
                  <a:lnTo>
                    <a:pt x="282" y="336"/>
                  </a:lnTo>
                  <a:lnTo>
                    <a:pt x="282" y="339"/>
                  </a:lnTo>
                  <a:lnTo>
                    <a:pt x="282" y="346"/>
                  </a:lnTo>
                  <a:lnTo>
                    <a:pt x="282" y="349"/>
                  </a:lnTo>
                  <a:lnTo>
                    <a:pt x="282" y="358"/>
                  </a:lnTo>
                  <a:lnTo>
                    <a:pt x="275" y="358"/>
                  </a:lnTo>
                  <a:lnTo>
                    <a:pt x="273" y="358"/>
                  </a:lnTo>
                  <a:lnTo>
                    <a:pt x="263" y="358"/>
                  </a:lnTo>
                  <a:lnTo>
                    <a:pt x="260" y="358"/>
                  </a:lnTo>
                  <a:lnTo>
                    <a:pt x="251" y="358"/>
                  </a:lnTo>
                  <a:lnTo>
                    <a:pt x="249" y="358"/>
                  </a:lnTo>
                  <a:lnTo>
                    <a:pt x="241" y="358"/>
                  </a:lnTo>
                  <a:lnTo>
                    <a:pt x="234" y="358"/>
                  </a:lnTo>
                  <a:lnTo>
                    <a:pt x="224" y="358"/>
                  </a:lnTo>
                  <a:lnTo>
                    <a:pt x="222" y="358"/>
                  </a:lnTo>
                  <a:lnTo>
                    <a:pt x="220" y="358"/>
                  </a:lnTo>
                  <a:lnTo>
                    <a:pt x="218" y="358"/>
                  </a:lnTo>
                  <a:lnTo>
                    <a:pt x="213" y="358"/>
                  </a:lnTo>
                  <a:lnTo>
                    <a:pt x="212" y="358"/>
                  </a:lnTo>
                  <a:lnTo>
                    <a:pt x="212" y="356"/>
                  </a:lnTo>
                  <a:lnTo>
                    <a:pt x="205" y="358"/>
                  </a:lnTo>
                  <a:lnTo>
                    <a:pt x="201" y="358"/>
                  </a:lnTo>
                  <a:lnTo>
                    <a:pt x="199" y="358"/>
                  </a:lnTo>
                  <a:lnTo>
                    <a:pt x="198" y="358"/>
                  </a:lnTo>
                  <a:lnTo>
                    <a:pt x="194" y="360"/>
                  </a:lnTo>
                  <a:lnTo>
                    <a:pt x="193" y="360"/>
                  </a:lnTo>
                  <a:lnTo>
                    <a:pt x="191" y="360"/>
                  </a:lnTo>
                  <a:lnTo>
                    <a:pt x="189" y="360"/>
                  </a:lnTo>
                  <a:lnTo>
                    <a:pt x="184" y="360"/>
                  </a:lnTo>
                  <a:lnTo>
                    <a:pt x="181" y="360"/>
                  </a:lnTo>
                  <a:lnTo>
                    <a:pt x="177" y="360"/>
                  </a:lnTo>
                  <a:lnTo>
                    <a:pt x="177" y="360"/>
                  </a:lnTo>
                  <a:lnTo>
                    <a:pt x="174" y="360"/>
                  </a:lnTo>
                  <a:lnTo>
                    <a:pt x="165" y="361"/>
                  </a:lnTo>
                  <a:lnTo>
                    <a:pt x="163" y="361"/>
                  </a:lnTo>
                  <a:lnTo>
                    <a:pt x="158" y="361"/>
                  </a:lnTo>
                  <a:lnTo>
                    <a:pt x="156" y="361"/>
                  </a:lnTo>
                  <a:lnTo>
                    <a:pt x="144" y="361"/>
                  </a:lnTo>
                  <a:lnTo>
                    <a:pt x="144" y="360"/>
                  </a:lnTo>
                  <a:lnTo>
                    <a:pt x="143" y="360"/>
                  </a:lnTo>
                  <a:lnTo>
                    <a:pt x="141" y="361"/>
                  </a:lnTo>
                  <a:lnTo>
                    <a:pt x="134" y="361"/>
                  </a:lnTo>
                  <a:lnTo>
                    <a:pt x="132" y="361"/>
                  </a:lnTo>
                  <a:lnTo>
                    <a:pt x="127" y="361"/>
                  </a:lnTo>
                  <a:lnTo>
                    <a:pt x="124" y="361"/>
                  </a:lnTo>
                  <a:lnTo>
                    <a:pt x="122" y="361"/>
                  </a:lnTo>
                  <a:lnTo>
                    <a:pt x="120" y="361"/>
                  </a:lnTo>
                  <a:lnTo>
                    <a:pt x="107" y="360"/>
                  </a:lnTo>
                  <a:lnTo>
                    <a:pt x="101" y="360"/>
                  </a:lnTo>
                  <a:lnTo>
                    <a:pt x="100" y="360"/>
                  </a:lnTo>
                  <a:lnTo>
                    <a:pt x="95" y="360"/>
                  </a:lnTo>
                  <a:lnTo>
                    <a:pt x="89" y="360"/>
                  </a:lnTo>
                  <a:lnTo>
                    <a:pt x="88" y="360"/>
                  </a:lnTo>
                  <a:lnTo>
                    <a:pt x="83" y="360"/>
                  </a:lnTo>
                  <a:lnTo>
                    <a:pt x="77" y="360"/>
                  </a:lnTo>
                  <a:lnTo>
                    <a:pt x="77" y="358"/>
                  </a:lnTo>
                  <a:lnTo>
                    <a:pt x="69" y="360"/>
                  </a:lnTo>
                  <a:lnTo>
                    <a:pt x="67" y="360"/>
                  </a:lnTo>
                  <a:lnTo>
                    <a:pt x="58" y="360"/>
                  </a:lnTo>
                  <a:lnTo>
                    <a:pt x="57" y="360"/>
                  </a:lnTo>
                  <a:lnTo>
                    <a:pt x="57" y="360"/>
                  </a:lnTo>
                  <a:lnTo>
                    <a:pt x="53" y="360"/>
                  </a:lnTo>
                  <a:lnTo>
                    <a:pt x="52" y="360"/>
                  </a:lnTo>
                  <a:lnTo>
                    <a:pt x="48" y="360"/>
                  </a:lnTo>
                  <a:lnTo>
                    <a:pt x="45" y="360"/>
                  </a:lnTo>
                  <a:lnTo>
                    <a:pt x="41" y="360"/>
                  </a:lnTo>
                  <a:lnTo>
                    <a:pt x="33" y="360"/>
                  </a:lnTo>
                  <a:lnTo>
                    <a:pt x="31" y="360"/>
                  </a:lnTo>
                  <a:lnTo>
                    <a:pt x="29" y="360"/>
                  </a:lnTo>
                  <a:lnTo>
                    <a:pt x="26" y="360"/>
                  </a:lnTo>
                  <a:lnTo>
                    <a:pt x="24" y="360"/>
                  </a:lnTo>
                  <a:lnTo>
                    <a:pt x="21" y="360"/>
                  </a:lnTo>
                  <a:lnTo>
                    <a:pt x="15" y="360"/>
                  </a:lnTo>
                  <a:lnTo>
                    <a:pt x="14" y="361"/>
                  </a:lnTo>
                  <a:lnTo>
                    <a:pt x="14" y="360"/>
                  </a:lnTo>
                  <a:lnTo>
                    <a:pt x="12" y="361"/>
                  </a:lnTo>
                  <a:lnTo>
                    <a:pt x="9" y="360"/>
                  </a:lnTo>
                  <a:lnTo>
                    <a:pt x="7" y="360"/>
                  </a:lnTo>
                  <a:lnTo>
                    <a:pt x="5" y="360"/>
                  </a:lnTo>
                  <a:lnTo>
                    <a:pt x="7" y="355"/>
                  </a:lnTo>
                  <a:lnTo>
                    <a:pt x="7" y="351"/>
                  </a:lnTo>
                  <a:lnTo>
                    <a:pt x="5" y="351"/>
                  </a:lnTo>
                  <a:lnTo>
                    <a:pt x="5" y="346"/>
                  </a:lnTo>
                  <a:lnTo>
                    <a:pt x="5" y="344"/>
                  </a:lnTo>
                  <a:lnTo>
                    <a:pt x="5" y="341"/>
                  </a:lnTo>
                  <a:lnTo>
                    <a:pt x="5" y="337"/>
                  </a:lnTo>
                  <a:lnTo>
                    <a:pt x="5" y="336"/>
                  </a:lnTo>
                  <a:lnTo>
                    <a:pt x="5" y="336"/>
                  </a:lnTo>
                  <a:lnTo>
                    <a:pt x="5" y="330"/>
                  </a:lnTo>
                  <a:lnTo>
                    <a:pt x="5" y="329"/>
                  </a:lnTo>
                  <a:lnTo>
                    <a:pt x="5" y="327"/>
                  </a:lnTo>
                  <a:lnTo>
                    <a:pt x="5" y="325"/>
                  </a:lnTo>
                  <a:lnTo>
                    <a:pt x="5" y="320"/>
                  </a:lnTo>
                  <a:lnTo>
                    <a:pt x="5" y="312"/>
                  </a:lnTo>
                  <a:lnTo>
                    <a:pt x="5" y="310"/>
                  </a:lnTo>
                  <a:lnTo>
                    <a:pt x="5" y="300"/>
                  </a:lnTo>
                  <a:lnTo>
                    <a:pt x="5" y="294"/>
                  </a:lnTo>
                  <a:lnTo>
                    <a:pt x="5" y="286"/>
                  </a:lnTo>
                  <a:lnTo>
                    <a:pt x="5" y="282"/>
                  </a:lnTo>
                  <a:lnTo>
                    <a:pt x="5" y="275"/>
                  </a:lnTo>
                  <a:lnTo>
                    <a:pt x="7" y="270"/>
                  </a:lnTo>
                  <a:lnTo>
                    <a:pt x="7" y="263"/>
                  </a:lnTo>
                  <a:lnTo>
                    <a:pt x="7" y="260"/>
                  </a:lnTo>
                  <a:lnTo>
                    <a:pt x="7" y="258"/>
                  </a:lnTo>
                  <a:lnTo>
                    <a:pt x="7" y="257"/>
                  </a:lnTo>
                  <a:lnTo>
                    <a:pt x="7" y="246"/>
                  </a:lnTo>
                  <a:lnTo>
                    <a:pt x="7" y="243"/>
                  </a:lnTo>
                  <a:lnTo>
                    <a:pt x="7" y="234"/>
                  </a:lnTo>
                  <a:lnTo>
                    <a:pt x="7" y="232"/>
                  </a:lnTo>
                  <a:lnTo>
                    <a:pt x="5" y="231"/>
                  </a:lnTo>
                  <a:lnTo>
                    <a:pt x="5" y="229"/>
                  </a:lnTo>
                  <a:lnTo>
                    <a:pt x="5" y="227"/>
                  </a:lnTo>
                  <a:lnTo>
                    <a:pt x="5" y="224"/>
                  </a:lnTo>
                  <a:lnTo>
                    <a:pt x="5" y="222"/>
                  </a:lnTo>
                  <a:lnTo>
                    <a:pt x="5" y="215"/>
                  </a:lnTo>
                  <a:lnTo>
                    <a:pt x="5" y="210"/>
                  </a:lnTo>
                  <a:lnTo>
                    <a:pt x="5" y="208"/>
                  </a:lnTo>
                  <a:lnTo>
                    <a:pt x="5" y="207"/>
                  </a:lnTo>
                  <a:lnTo>
                    <a:pt x="5" y="201"/>
                  </a:lnTo>
                  <a:lnTo>
                    <a:pt x="5" y="200"/>
                  </a:lnTo>
                  <a:lnTo>
                    <a:pt x="5" y="200"/>
                  </a:lnTo>
                  <a:lnTo>
                    <a:pt x="5" y="198"/>
                  </a:lnTo>
                  <a:lnTo>
                    <a:pt x="5" y="196"/>
                  </a:lnTo>
                  <a:lnTo>
                    <a:pt x="5" y="193"/>
                  </a:lnTo>
                  <a:lnTo>
                    <a:pt x="5" y="191"/>
                  </a:lnTo>
                  <a:lnTo>
                    <a:pt x="5" y="188"/>
                  </a:lnTo>
                  <a:lnTo>
                    <a:pt x="5" y="184"/>
                  </a:lnTo>
                  <a:lnTo>
                    <a:pt x="5" y="183"/>
                  </a:lnTo>
                  <a:lnTo>
                    <a:pt x="5" y="181"/>
                  </a:lnTo>
                  <a:lnTo>
                    <a:pt x="5" y="179"/>
                  </a:lnTo>
                  <a:lnTo>
                    <a:pt x="5" y="176"/>
                  </a:lnTo>
                  <a:lnTo>
                    <a:pt x="5" y="162"/>
                  </a:lnTo>
                  <a:lnTo>
                    <a:pt x="5" y="160"/>
                  </a:lnTo>
                  <a:lnTo>
                    <a:pt x="5" y="158"/>
                  </a:lnTo>
                  <a:lnTo>
                    <a:pt x="5" y="148"/>
                  </a:lnTo>
                  <a:lnTo>
                    <a:pt x="5" y="146"/>
                  </a:lnTo>
                  <a:lnTo>
                    <a:pt x="5" y="140"/>
                  </a:lnTo>
                  <a:lnTo>
                    <a:pt x="5" y="131"/>
                  </a:lnTo>
                  <a:lnTo>
                    <a:pt x="5" y="126"/>
                  </a:lnTo>
                  <a:lnTo>
                    <a:pt x="3" y="122"/>
                  </a:lnTo>
                  <a:lnTo>
                    <a:pt x="5" y="122"/>
                  </a:lnTo>
                  <a:lnTo>
                    <a:pt x="5" y="121"/>
                  </a:lnTo>
                  <a:lnTo>
                    <a:pt x="3" y="97"/>
                  </a:lnTo>
                  <a:lnTo>
                    <a:pt x="3" y="95"/>
                  </a:lnTo>
                  <a:lnTo>
                    <a:pt x="3" y="93"/>
                  </a:lnTo>
                  <a:lnTo>
                    <a:pt x="3" y="84"/>
                  </a:lnTo>
                  <a:lnTo>
                    <a:pt x="3" y="74"/>
                  </a:lnTo>
                  <a:lnTo>
                    <a:pt x="3" y="71"/>
                  </a:lnTo>
                  <a:lnTo>
                    <a:pt x="2" y="69"/>
                  </a:lnTo>
                  <a:lnTo>
                    <a:pt x="2" y="66"/>
                  </a:lnTo>
                  <a:lnTo>
                    <a:pt x="2" y="52"/>
                  </a:lnTo>
                  <a:lnTo>
                    <a:pt x="2" y="45"/>
                  </a:lnTo>
                  <a:lnTo>
                    <a:pt x="2" y="43"/>
                  </a:lnTo>
                  <a:lnTo>
                    <a:pt x="2" y="40"/>
                  </a:lnTo>
                  <a:lnTo>
                    <a:pt x="2" y="38"/>
                  </a:lnTo>
                  <a:lnTo>
                    <a:pt x="2" y="33"/>
                  </a:lnTo>
                  <a:lnTo>
                    <a:pt x="2" y="29"/>
                  </a:lnTo>
                  <a:lnTo>
                    <a:pt x="2" y="28"/>
                  </a:lnTo>
                  <a:lnTo>
                    <a:pt x="2" y="26"/>
                  </a:lnTo>
                  <a:lnTo>
                    <a:pt x="2" y="24"/>
                  </a:lnTo>
                  <a:lnTo>
                    <a:pt x="2" y="23"/>
                  </a:lnTo>
                  <a:lnTo>
                    <a:pt x="2" y="21"/>
                  </a:lnTo>
                  <a:lnTo>
                    <a:pt x="2" y="17"/>
                  </a:lnTo>
                  <a:lnTo>
                    <a:pt x="2" y="11"/>
                  </a:lnTo>
                  <a:lnTo>
                    <a:pt x="0" y="5"/>
                  </a:lnTo>
                  <a:lnTo>
                    <a:pt x="0" y="4"/>
                  </a:lnTo>
                  <a:lnTo>
                    <a:pt x="2" y="4"/>
                  </a:lnTo>
                  <a:lnTo>
                    <a:pt x="7" y="4"/>
                  </a:lnTo>
                  <a:lnTo>
                    <a:pt x="9" y="4"/>
                  </a:lnTo>
                  <a:lnTo>
                    <a:pt x="12" y="4"/>
                  </a:lnTo>
                  <a:lnTo>
                    <a:pt x="21" y="4"/>
                  </a:lnTo>
                  <a:lnTo>
                    <a:pt x="26" y="4"/>
                  </a:lnTo>
                  <a:lnTo>
                    <a:pt x="27" y="4"/>
                  </a:lnTo>
                  <a:lnTo>
                    <a:pt x="41" y="4"/>
                  </a:lnTo>
                  <a:lnTo>
                    <a:pt x="46" y="4"/>
                  </a:lnTo>
                  <a:lnTo>
                    <a:pt x="55" y="4"/>
                  </a:lnTo>
                  <a:lnTo>
                    <a:pt x="57" y="4"/>
                  </a:lnTo>
                  <a:lnTo>
                    <a:pt x="58" y="4"/>
                  </a:lnTo>
                  <a:lnTo>
                    <a:pt x="65" y="2"/>
                  </a:lnTo>
                  <a:lnTo>
                    <a:pt x="70" y="2"/>
                  </a:lnTo>
                  <a:lnTo>
                    <a:pt x="72" y="2"/>
                  </a:lnTo>
                  <a:lnTo>
                    <a:pt x="77" y="0"/>
                  </a:lnTo>
                  <a:lnTo>
                    <a:pt x="77" y="2"/>
                  </a:lnTo>
                  <a:lnTo>
                    <a:pt x="84" y="2"/>
                  </a:lnTo>
                  <a:lnTo>
                    <a:pt x="88" y="2"/>
                  </a:lnTo>
                  <a:lnTo>
                    <a:pt x="100" y="2"/>
                  </a:lnTo>
                  <a:lnTo>
                    <a:pt x="101" y="0"/>
                  </a:lnTo>
                  <a:lnTo>
                    <a:pt x="107" y="0"/>
                  </a:lnTo>
                  <a:lnTo>
                    <a:pt x="117" y="0"/>
                  </a:lnTo>
                  <a:lnTo>
                    <a:pt x="119" y="0"/>
                  </a:lnTo>
                  <a:lnTo>
                    <a:pt x="122" y="0"/>
                  </a:lnTo>
                  <a:lnTo>
                    <a:pt x="124" y="0"/>
                  </a:lnTo>
                  <a:lnTo>
                    <a:pt x="129" y="0"/>
                  </a:lnTo>
                  <a:lnTo>
                    <a:pt x="131" y="0"/>
                  </a:lnTo>
                  <a:lnTo>
                    <a:pt x="132" y="0"/>
                  </a:lnTo>
                  <a:lnTo>
                    <a:pt x="134" y="0"/>
                  </a:lnTo>
                  <a:lnTo>
                    <a:pt x="136" y="0"/>
                  </a:lnTo>
                  <a:lnTo>
                    <a:pt x="143" y="0"/>
                  </a:lnTo>
                  <a:lnTo>
                    <a:pt x="146" y="0"/>
                  </a:lnTo>
                  <a:lnTo>
                    <a:pt x="151" y="0"/>
                  </a:lnTo>
                  <a:lnTo>
                    <a:pt x="156" y="0"/>
                  </a:lnTo>
                  <a:lnTo>
                    <a:pt x="160" y="0"/>
                  </a:lnTo>
                  <a:lnTo>
                    <a:pt x="169" y="0"/>
                  </a:lnTo>
                  <a:lnTo>
                    <a:pt x="170" y="0"/>
                  </a:lnTo>
                  <a:lnTo>
                    <a:pt x="172" y="0"/>
                  </a:lnTo>
                  <a:lnTo>
                    <a:pt x="175" y="0"/>
                  </a:lnTo>
                  <a:lnTo>
                    <a:pt x="177" y="0"/>
                  </a:lnTo>
                  <a:lnTo>
                    <a:pt x="186" y="0"/>
                  </a:lnTo>
                  <a:lnTo>
                    <a:pt x="193" y="0"/>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1" name="Freeform 204"/>
            <p:cNvSpPr>
              <a:spLocks/>
            </p:cNvSpPr>
            <p:nvPr/>
          </p:nvSpPr>
          <p:spPr bwMode="auto">
            <a:xfrm>
              <a:off x="7587546" y="3878056"/>
              <a:ext cx="512763" cy="557213"/>
            </a:xfrm>
            <a:custGeom>
              <a:avLst/>
              <a:gdLst/>
              <a:ahLst/>
              <a:cxnLst>
                <a:cxn ang="0">
                  <a:pos x="170" y="43"/>
                </a:cxn>
                <a:cxn ang="0">
                  <a:pos x="180" y="40"/>
                </a:cxn>
                <a:cxn ang="0">
                  <a:pos x="191" y="45"/>
                </a:cxn>
                <a:cxn ang="0">
                  <a:pos x="199" y="57"/>
                </a:cxn>
                <a:cxn ang="0">
                  <a:pos x="201" y="67"/>
                </a:cxn>
                <a:cxn ang="0">
                  <a:pos x="208" y="76"/>
                </a:cxn>
                <a:cxn ang="0">
                  <a:pos x="218" y="79"/>
                </a:cxn>
                <a:cxn ang="0">
                  <a:pos x="227" y="83"/>
                </a:cxn>
                <a:cxn ang="0">
                  <a:pos x="237" y="81"/>
                </a:cxn>
                <a:cxn ang="0">
                  <a:pos x="244" y="88"/>
                </a:cxn>
                <a:cxn ang="0">
                  <a:pos x="249" y="93"/>
                </a:cxn>
                <a:cxn ang="0">
                  <a:pos x="280" y="121"/>
                </a:cxn>
                <a:cxn ang="0">
                  <a:pos x="313" y="117"/>
                </a:cxn>
                <a:cxn ang="0">
                  <a:pos x="323" y="124"/>
                </a:cxn>
                <a:cxn ang="0">
                  <a:pos x="316" y="133"/>
                </a:cxn>
                <a:cxn ang="0">
                  <a:pos x="304" y="138"/>
                </a:cxn>
                <a:cxn ang="0">
                  <a:pos x="296" y="146"/>
                </a:cxn>
                <a:cxn ang="0">
                  <a:pos x="297" y="160"/>
                </a:cxn>
                <a:cxn ang="0">
                  <a:pos x="301" y="169"/>
                </a:cxn>
                <a:cxn ang="0">
                  <a:pos x="311" y="184"/>
                </a:cxn>
                <a:cxn ang="0">
                  <a:pos x="315" y="191"/>
                </a:cxn>
                <a:cxn ang="0">
                  <a:pos x="289" y="220"/>
                </a:cxn>
                <a:cxn ang="0">
                  <a:pos x="272" y="246"/>
                </a:cxn>
                <a:cxn ang="0">
                  <a:pos x="254" y="279"/>
                </a:cxn>
                <a:cxn ang="0">
                  <a:pos x="239" y="306"/>
                </a:cxn>
                <a:cxn ang="0">
                  <a:pos x="218" y="348"/>
                </a:cxn>
                <a:cxn ang="0">
                  <a:pos x="182" y="334"/>
                </a:cxn>
                <a:cxn ang="0">
                  <a:pos x="165" y="348"/>
                </a:cxn>
                <a:cxn ang="0">
                  <a:pos x="131" y="320"/>
                </a:cxn>
                <a:cxn ang="0">
                  <a:pos x="113" y="301"/>
                </a:cxn>
                <a:cxn ang="0">
                  <a:pos x="94" y="286"/>
                </a:cxn>
                <a:cxn ang="0">
                  <a:pos x="76" y="268"/>
                </a:cxn>
                <a:cxn ang="0">
                  <a:pos x="51" y="244"/>
                </a:cxn>
                <a:cxn ang="0">
                  <a:pos x="41" y="236"/>
                </a:cxn>
                <a:cxn ang="0">
                  <a:pos x="31" y="225"/>
                </a:cxn>
                <a:cxn ang="0">
                  <a:pos x="3" y="196"/>
                </a:cxn>
                <a:cxn ang="0">
                  <a:pos x="7" y="188"/>
                </a:cxn>
                <a:cxn ang="0">
                  <a:pos x="20" y="174"/>
                </a:cxn>
                <a:cxn ang="0">
                  <a:pos x="41" y="151"/>
                </a:cxn>
                <a:cxn ang="0">
                  <a:pos x="55" y="139"/>
                </a:cxn>
                <a:cxn ang="0">
                  <a:pos x="74" y="121"/>
                </a:cxn>
                <a:cxn ang="0">
                  <a:pos x="74" y="108"/>
                </a:cxn>
                <a:cxn ang="0">
                  <a:pos x="53" y="91"/>
                </a:cxn>
                <a:cxn ang="0">
                  <a:pos x="39" y="81"/>
                </a:cxn>
                <a:cxn ang="0">
                  <a:pos x="29" y="62"/>
                </a:cxn>
                <a:cxn ang="0">
                  <a:pos x="50" y="45"/>
                </a:cxn>
                <a:cxn ang="0">
                  <a:pos x="67" y="31"/>
                </a:cxn>
                <a:cxn ang="0">
                  <a:pos x="82" y="28"/>
                </a:cxn>
                <a:cxn ang="0">
                  <a:pos x="91" y="29"/>
                </a:cxn>
                <a:cxn ang="0">
                  <a:pos x="100" y="28"/>
                </a:cxn>
                <a:cxn ang="0">
                  <a:pos x="101" y="22"/>
                </a:cxn>
                <a:cxn ang="0">
                  <a:pos x="106" y="16"/>
                </a:cxn>
                <a:cxn ang="0">
                  <a:pos x="112" y="16"/>
                </a:cxn>
                <a:cxn ang="0">
                  <a:pos x="115" y="10"/>
                </a:cxn>
                <a:cxn ang="0">
                  <a:pos x="120" y="7"/>
                </a:cxn>
              </a:cxnLst>
              <a:rect l="0" t="0" r="r" b="b"/>
              <a:pathLst>
                <a:path w="323" h="351">
                  <a:moveTo>
                    <a:pt x="120" y="0"/>
                  </a:moveTo>
                  <a:lnTo>
                    <a:pt x="122" y="0"/>
                  </a:lnTo>
                  <a:lnTo>
                    <a:pt x="124" y="5"/>
                  </a:lnTo>
                  <a:lnTo>
                    <a:pt x="127" y="12"/>
                  </a:lnTo>
                  <a:lnTo>
                    <a:pt x="143" y="24"/>
                  </a:lnTo>
                  <a:lnTo>
                    <a:pt x="148" y="29"/>
                  </a:lnTo>
                  <a:lnTo>
                    <a:pt x="170" y="43"/>
                  </a:lnTo>
                  <a:lnTo>
                    <a:pt x="174" y="41"/>
                  </a:lnTo>
                  <a:lnTo>
                    <a:pt x="175" y="40"/>
                  </a:lnTo>
                  <a:lnTo>
                    <a:pt x="175" y="40"/>
                  </a:lnTo>
                  <a:lnTo>
                    <a:pt x="175" y="38"/>
                  </a:lnTo>
                  <a:lnTo>
                    <a:pt x="177" y="38"/>
                  </a:lnTo>
                  <a:lnTo>
                    <a:pt x="179" y="40"/>
                  </a:lnTo>
                  <a:lnTo>
                    <a:pt x="180" y="40"/>
                  </a:lnTo>
                  <a:lnTo>
                    <a:pt x="182" y="41"/>
                  </a:lnTo>
                  <a:lnTo>
                    <a:pt x="184" y="41"/>
                  </a:lnTo>
                  <a:lnTo>
                    <a:pt x="186" y="43"/>
                  </a:lnTo>
                  <a:lnTo>
                    <a:pt x="187" y="43"/>
                  </a:lnTo>
                  <a:lnTo>
                    <a:pt x="189" y="43"/>
                  </a:lnTo>
                  <a:lnTo>
                    <a:pt x="189" y="45"/>
                  </a:lnTo>
                  <a:lnTo>
                    <a:pt x="191" y="45"/>
                  </a:lnTo>
                  <a:lnTo>
                    <a:pt x="191" y="45"/>
                  </a:lnTo>
                  <a:lnTo>
                    <a:pt x="192" y="45"/>
                  </a:lnTo>
                  <a:lnTo>
                    <a:pt x="196" y="47"/>
                  </a:lnTo>
                  <a:lnTo>
                    <a:pt x="196" y="48"/>
                  </a:lnTo>
                  <a:lnTo>
                    <a:pt x="198" y="50"/>
                  </a:lnTo>
                  <a:lnTo>
                    <a:pt x="198" y="53"/>
                  </a:lnTo>
                  <a:lnTo>
                    <a:pt x="199" y="57"/>
                  </a:lnTo>
                  <a:lnTo>
                    <a:pt x="199" y="60"/>
                  </a:lnTo>
                  <a:lnTo>
                    <a:pt x="199" y="60"/>
                  </a:lnTo>
                  <a:lnTo>
                    <a:pt x="199" y="62"/>
                  </a:lnTo>
                  <a:lnTo>
                    <a:pt x="199" y="64"/>
                  </a:lnTo>
                  <a:lnTo>
                    <a:pt x="199" y="65"/>
                  </a:lnTo>
                  <a:lnTo>
                    <a:pt x="201" y="65"/>
                  </a:lnTo>
                  <a:lnTo>
                    <a:pt x="201" y="67"/>
                  </a:lnTo>
                  <a:lnTo>
                    <a:pt x="203" y="67"/>
                  </a:lnTo>
                  <a:lnTo>
                    <a:pt x="203" y="69"/>
                  </a:lnTo>
                  <a:lnTo>
                    <a:pt x="205" y="71"/>
                  </a:lnTo>
                  <a:lnTo>
                    <a:pt x="206" y="72"/>
                  </a:lnTo>
                  <a:lnTo>
                    <a:pt x="206" y="74"/>
                  </a:lnTo>
                  <a:lnTo>
                    <a:pt x="208" y="74"/>
                  </a:lnTo>
                  <a:lnTo>
                    <a:pt x="208" y="76"/>
                  </a:lnTo>
                  <a:lnTo>
                    <a:pt x="210" y="76"/>
                  </a:lnTo>
                  <a:lnTo>
                    <a:pt x="211" y="76"/>
                  </a:lnTo>
                  <a:lnTo>
                    <a:pt x="213" y="76"/>
                  </a:lnTo>
                  <a:lnTo>
                    <a:pt x="213" y="77"/>
                  </a:lnTo>
                  <a:lnTo>
                    <a:pt x="215" y="77"/>
                  </a:lnTo>
                  <a:lnTo>
                    <a:pt x="217" y="79"/>
                  </a:lnTo>
                  <a:lnTo>
                    <a:pt x="218" y="79"/>
                  </a:lnTo>
                  <a:lnTo>
                    <a:pt x="220" y="81"/>
                  </a:lnTo>
                  <a:lnTo>
                    <a:pt x="220" y="81"/>
                  </a:lnTo>
                  <a:lnTo>
                    <a:pt x="220" y="83"/>
                  </a:lnTo>
                  <a:lnTo>
                    <a:pt x="222" y="83"/>
                  </a:lnTo>
                  <a:lnTo>
                    <a:pt x="223" y="83"/>
                  </a:lnTo>
                  <a:lnTo>
                    <a:pt x="225" y="83"/>
                  </a:lnTo>
                  <a:lnTo>
                    <a:pt x="227" y="83"/>
                  </a:lnTo>
                  <a:lnTo>
                    <a:pt x="229" y="83"/>
                  </a:lnTo>
                  <a:lnTo>
                    <a:pt x="230" y="81"/>
                  </a:lnTo>
                  <a:lnTo>
                    <a:pt x="232" y="81"/>
                  </a:lnTo>
                  <a:lnTo>
                    <a:pt x="234" y="81"/>
                  </a:lnTo>
                  <a:lnTo>
                    <a:pt x="235" y="81"/>
                  </a:lnTo>
                  <a:lnTo>
                    <a:pt x="235" y="81"/>
                  </a:lnTo>
                  <a:lnTo>
                    <a:pt x="237" y="81"/>
                  </a:lnTo>
                  <a:lnTo>
                    <a:pt x="239" y="81"/>
                  </a:lnTo>
                  <a:lnTo>
                    <a:pt x="239" y="83"/>
                  </a:lnTo>
                  <a:lnTo>
                    <a:pt x="241" y="83"/>
                  </a:lnTo>
                  <a:lnTo>
                    <a:pt x="242" y="84"/>
                  </a:lnTo>
                  <a:lnTo>
                    <a:pt x="242" y="86"/>
                  </a:lnTo>
                  <a:lnTo>
                    <a:pt x="244" y="86"/>
                  </a:lnTo>
                  <a:lnTo>
                    <a:pt x="244" y="88"/>
                  </a:lnTo>
                  <a:lnTo>
                    <a:pt x="244" y="90"/>
                  </a:lnTo>
                  <a:lnTo>
                    <a:pt x="244" y="90"/>
                  </a:lnTo>
                  <a:lnTo>
                    <a:pt x="246" y="90"/>
                  </a:lnTo>
                  <a:lnTo>
                    <a:pt x="246" y="91"/>
                  </a:lnTo>
                  <a:lnTo>
                    <a:pt x="248" y="91"/>
                  </a:lnTo>
                  <a:lnTo>
                    <a:pt x="248" y="93"/>
                  </a:lnTo>
                  <a:lnTo>
                    <a:pt x="249" y="93"/>
                  </a:lnTo>
                  <a:lnTo>
                    <a:pt x="251" y="95"/>
                  </a:lnTo>
                  <a:lnTo>
                    <a:pt x="256" y="96"/>
                  </a:lnTo>
                  <a:lnTo>
                    <a:pt x="263" y="105"/>
                  </a:lnTo>
                  <a:lnTo>
                    <a:pt x="266" y="108"/>
                  </a:lnTo>
                  <a:lnTo>
                    <a:pt x="272" y="117"/>
                  </a:lnTo>
                  <a:lnTo>
                    <a:pt x="278" y="121"/>
                  </a:lnTo>
                  <a:lnTo>
                    <a:pt x="280" y="121"/>
                  </a:lnTo>
                  <a:lnTo>
                    <a:pt x="282" y="121"/>
                  </a:lnTo>
                  <a:lnTo>
                    <a:pt x="285" y="121"/>
                  </a:lnTo>
                  <a:lnTo>
                    <a:pt x="287" y="121"/>
                  </a:lnTo>
                  <a:lnTo>
                    <a:pt x="291" y="121"/>
                  </a:lnTo>
                  <a:lnTo>
                    <a:pt x="304" y="119"/>
                  </a:lnTo>
                  <a:lnTo>
                    <a:pt x="311" y="115"/>
                  </a:lnTo>
                  <a:lnTo>
                    <a:pt x="313" y="117"/>
                  </a:lnTo>
                  <a:lnTo>
                    <a:pt x="315" y="119"/>
                  </a:lnTo>
                  <a:lnTo>
                    <a:pt x="315" y="121"/>
                  </a:lnTo>
                  <a:lnTo>
                    <a:pt x="316" y="121"/>
                  </a:lnTo>
                  <a:lnTo>
                    <a:pt x="316" y="122"/>
                  </a:lnTo>
                  <a:lnTo>
                    <a:pt x="318" y="122"/>
                  </a:lnTo>
                  <a:lnTo>
                    <a:pt x="323" y="122"/>
                  </a:lnTo>
                  <a:lnTo>
                    <a:pt x="323" y="124"/>
                  </a:lnTo>
                  <a:lnTo>
                    <a:pt x="323" y="126"/>
                  </a:lnTo>
                  <a:lnTo>
                    <a:pt x="323" y="127"/>
                  </a:lnTo>
                  <a:lnTo>
                    <a:pt x="321" y="129"/>
                  </a:lnTo>
                  <a:lnTo>
                    <a:pt x="320" y="131"/>
                  </a:lnTo>
                  <a:lnTo>
                    <a:pt x="320" y="133"/>
                  </a:lnTo>
                  <a:lnTo>
                    <a:pt x="318" y="133"/>
                  </a:lnTo>
                  <a:lnTo>
                    <a:pt x="316" y="133"/>
                  </a:lnTo>
                  <a:lnTo>
                    <a:pt x="315" y="134"/>
                  </a:lnTo>
                  <a:lnTo>
                    <a:pt x="313" y="136"/>
                  </a:lnTo>
                  <a:lnTo>
                    <a:pt x="311" y="136"/>
                  </a:lnTo>
                  <a:lnTo>
                    <a:pt x="311" y="138"/>
                  </a:lnTo>
                  <a:lnTo>
                    <a:pt x="309" y="138"/>
                  </a:lnTo>
                  <a:lnTo>
                    <a:pt x="306" y="138"/>
                  </a:lnTo>
                  <a:lnTo>
                    <a:pt x="304" y="138"/>
                  </a:lnTo>
                  <a:lnTo>
                    <a:pt x="303" y="138"/>
                  </a:lnTo>
                  <a:lnTo>
                    <a:pt x="303" y="139"/>
                  </a:lnTo>
                  <a:lnTo>
                    <a:pt x="301" y="141"/>
                  </a:lnTo>
                  <a:lnTo>
                    <a:pt x="301" y="143"/>
                  </a:lnTo>
                  <a:lnTo>
                    <a:pt x="299" y="143"/>
                  </a:lnTo>
                  <a:lnTo>
                    <a:pt x="297" y="145"/>
                  </a:lnTo>
                  <a:lnTo>
                    <a:pt x="296" y="146"/>
                  </a:lnTo>
                  <a:lnTo>
                    <a:pt x="296" y="148"/>
                  </a:lnTo>
                  <a:lnTo>
                    <a:pt x="294" y="150"/>
                  </a:lnTo>
                  <a:lnTo>
                    <a:pt x="294" y="150"/>
                  </a:lnTo>
                  <a:lnTo>
                    <a:pt x="294" y="151"/>
                  </a:lnTo>
                  <a:lnTo>
                    <a:pt x="296" y="155"/>
                  </a:lnTo>
                  <a:lnTo>
                    <a:pt x="296" y="157"/>
                  </a:lnTo>
                  <a:lnTo>
                    <a:pt x="297" y="160"/>
                  </a:lnTo>
                  <a:lnTo>
                    <a:pt x="297" y="162"/>
                  </a:lnTo>
                  <a:lnTo>
                    <a:pt x="297" y="164"/>
                  </a:lnTo>
                  <a:lnTo>
                    <a:pt x="299" y="165"/>
                  </a:lnTo>
                  <a:lnTo>
                    <a:pt x="299" y="165"/>
                  </a:lnTo>
                  <a:lnTo>
                    <a:pt x="299" y="167"/>
                  </a:lnTo>
                  <a:lnTo>
                    <a:pt x="301" y="167"/>
                  </a:lnTo>
                  <a:lnTo>
                    <a:pt x="301" y="169"/>
                  </a:lnTo>
                  <a:lnTo>
                    <a:pt x="303" y="170"/>
                  </a:lnTo>
                  <a:lnTo>
                    <a:pt x="304" y="174"/>
                  </a:lnTo>
                  <a:lnTo>
                    <a:pt x="308" y="181"/>
                  </a:lnTo>
                  <a:lnTo>
                    <a:pt x="308" y="181"/>
                  </a:lnTo>
                  <a:lnTo>
                    <a:pt x="309" y="181"/>
                  </a:lnTo>
                  <a:lnTo>
                    <a:pt x="309" y="182"/>
                  </a:lnTo>
                  <a:lnTo>
                    <a:pt x="311" y="184"/>
                  </a:lnTo>
                  <a:lnTo>
                    <a:pt x="311" y="184"/>
                  </a:lnTo>
                  <a:lnTo>
                    <a:pt x="316" y="188"/>
                  </a:lnTo>
                  <a:lnTo>
                    <a:pt x="318" y="188"/>
                  </a:lnTo>
                  <a:lnTo>
                    <a:pt x="316" y="188"/>
                  </a:lnTo>
                  <a:lnTo>
                    <a:pt x="316" y="189"/>
                  </a:lnTo>
                  <a:lnTo>
                    <a:pt x="315" y="189"/>
                  </a:lnTo>
                  <a:lnTo>
                    <a:pt x="315" y="191"/>
                  </a:lnTo>
                  <a:lnTo>
                    <a:pt x="311" y="194"/>
                  </a:lnTo>
                  <a:lnTo>
                    <a:pt x="311" y="196"/>
                  </a:lnTo>
                  <a:lnTo>
                    <a:pt x="304" y="203"/>
                  </a:lnTo>
                  <a:lnTo>
                    <a:pt x="296" y="212"/>
                  </a:lnTo>
                  <a:lnTo>
                    <a:pt x="294" y="215"/>
                  </a:lnTo>
                  <a:lnTo>
                    <a:pt x="292" y="217"/>
                  </a:lnTo>
                  <a:lnTo>
                    <a:pt x="289" y="220"/>
                  </a:lnTo>
                  <a:lnTo>
                    <a:pt x="285" y="225"/>
                  </a:lnTo>
                  <a:lnTo>
                    <a:pt x="280" y="229"/>
                  </a:lnTo>
                  <a:lnTo>
                    <a:pt x="280" y="231"/>
                  </a:lnTo>
                  <a:lnTo>
                    <a:pt x="280" y="234"/>
                  </a:lnTo>
                  <a:lnTo>
                    <a:pt x="277" y="241"/>
                  </a:lnTo>
                  <a:lnTo>
                    <a:pt x="275" y="241"/>
                  </a:lnTo>
                  <a:lnTo>
                    <a:pt x="272" y="246"/>
                  </a:lnTo>
                  <a:lnTo>
                    <a:pt x="265" y="262"/>
                  </a:lnTo>
                  <a:lnTo>
                    <a:pt x="265" y="263"/>
                  </a:lnTo>
                  <a:lnTo>
                    <a:pt x="261" y="268"/>
                  </a:lnTo>
                  <a:lnTo>
                    <a:pt x="261" y="270"/>
                  </a:lnTo>
                  <a:lnTo>
                    <a:pt x="260" y="270"/>
                  </a:lnTo>
                  <a:lnTo>
                    <a:pt x="256" y="275"/>
                  </a:lnTo>
                  <a:lnTo>
                    <a:pt x="254" y="279"/>
                  </a:lnTo>
                  <a:lnTo>
                    <a:pt x="253" y="282"/>
                  </a:lnTo>
                  <a:lnTo>
                    <a:pt x="253" y="286"/>
                  </a:lnTo>
                  <a:lnTo>
                    <a:pt x="251" y="286"/>
                  </a:lnTo>
                  <a:lnTo>
                    <a:pt x="249" y="289"/>
                  </a:lnTo>
                  <a:lnTo>
                    <a:pt x="244" y="299"/>
                  </a:lnTo>
                  <a:lnTo>
                    <a:pt x="242" y="301"/>
                  </a:lnTo>
                  <a:lnTo>
                    <a:pt x="239" y="306"/>
                  </a:lnTo>
                  <a:lnTo>
                    <a:pt x="237" y="310"/>
                  </a:lnTo>
                  <a:lnTo>
                    <a:pt x="235" y="315"/>
                  </a:lnTo>
                  <a:lnTo>
                    <a:pt x="232" y="320"/>
                  </a:lnTo>
                  <a:lnTo>
                    <a:pt x="229" y="329"/>
                  </a:lnTo>
                  <a:lnTo>
                    <a:pt x="223" y="336"/>
                  </a:lnTo>
                  <a:lnTo>
                    <a:pt x="218" y="346"/>
                  </a:lnTo>
                  <a:lnTo>
                    <a:pt x="218" y="348"/>
                  </a:lnTo>
                  <a:lnTo>
                    <a:pt x="217" y="346"/>
                  </a:lnTo>
                  <a:lnTo>
                    <a:pt x="208" y="341"/>
                  </a:lnTo>
                  <a:lnTo>
                    <a:pt x="201" y="334"/>
                  </a:lnTo>
                  <a:lnTo>
                    <a:pt x="198" y="332"/>
                  </a:lnTo>
                  <a:lnTo>
                    <a:pt x="191" y="329"/>
                  </a:lnTo>
                  <a:lnTo>
                    <a:pt x="191" y="327"/>
                  </a:lnTo>
                  <a:lnTo>
                    <a:pt x="182" y="334"/>
                  </a:lnTo>
                  <a:lnTo>
                    <a:pt x="180" y="334"/>
                  </a:lnTo>
                  <a:lnTo>
                    <a:pt x="179" y="336"/>
                  </a:lnTo>
                  <a:lnTo>
                    <a:pt x="175" y="339"/>
                  </a:lnTo>
                  <a:lnTo>
                    <a:pt x="175" y="339"/>
                  </a:lnTo>
                  <a:lnTo>
                    <a:pt x="172" y="344"/>
                  </a:lnTo>
                  <a:lnTo>
                    <a:pt x="170" y="346"/>
                  </a:lnTo>
                  <a:lnTo>
                    <a:pt x="165" y="348"/>
                  </a:lnTo>
                  <a:lnTo>
                    <a:pt x="162" y="351"/>
                  </a:lnTo>
                  <a:lnTo>
                    <a:pt x="156" y="346"/>
                  </a:lnTo>
                  <a:lnTo>
                    <a:pt x="156" y="344"/>
                  </a:lnTo>
                  <a:lnTo>
                    <a:pt x="153" y="342"/>
                  </a:lnTo>
                  <a:lnTo>
                    <a:pt x="139" y="330"/>
                  </a:lnTo>
                  <a:lnTo>
                    <a:pt x="139" y="329"/>
                  </a:lnTo>
                  <a:lnTo>
                    <a:pt x="131" y="320"/>
                  </a:lnTo>
                  <a:lnTo>
                    <a:pt x="127" y="317"/>
                  </a:lnTo>
                  <a:lnTo>
                    <a:pt x="120" y="311"/>
                  </a:lnTo>
                  <a:lnTo>
                    <a:pt x="119" y="310"/>
                  </a:lnTo>
                  <a:lnTo>
                    <a:pt x="115" y="306"/>
                  </a:lnTo>
                  <a:lnTo>
                    <a:pt x="115" y="303"/>
                  </a:lnTo>
                  <a:lnTo>
                    <a:pt x="113" y="303"/>
                  </a:lnTo>
                  <a:lnTo>
                    <a:pt x="113" y="301"/>
                  </a:lnTo>
                  <a:lnTo>
                    <a:pt x="108" y="298"/>
                  </a:lnTo>
                  <a:lnTo>
                    <a:pt x="106" y="298"/>
                  </a:lnTo>
                  <a:lnTo>
                    <a:pt x="106" y="296"/>
                  </a:lnTo>
                  <a:lnTo>
                    <a:pt x="103" y="294"/>
                  </a:lnTo>
                  <a:lnTo>
                    <a:pt x="101" y="291"/>
                  </a:lnTo>
                  <a:lnTo>
                    <a:pt x="100" y="291"/>
                  </a:lnTo>
                  <a:lnTo>
                    <a:pt x="94" y="286"/>
                  </a:lnTo>
                  <a:lnTo>
                    <a:pt x="91" y="282"/>
                  </a:lnTo>
                  <a:lnTo>
                    <a:pt x="89" y="280"/>
                  </a:lnTo>
                  <a:lnTo>
                    <a:pt x="88" y="280"/>
                  </a:lnTo>
                  <a:lnTo>
                    <a:pt x="88" y="279"/>
                  </a:lnTo>
                  <a:lnTo>
                    <a:pt x="84" y="277"/>
                  </a:lnTo>
                  <a:lnTo>
                    <a:pt x="81" y="272"/>
                  </a:lnTo>
                  <a:lnTo>
                    <a:pt x="76" y="268"/>
                  </a:lnTo>
                  <a:lnTo>
                    <a:pt x="70" y="263"/>
                  </a:lnTo>
                  <a:lnTo>
                    <a:pt x="67" y="258"/>
                  </a:lnTo>
                  <a:lnTo>
                    <a:pt x="62" y="255"/>
                  </a:lnTo>
                  <a:lnTo>
                    <a:pt x="60" y="253"/>
                  </a:lnTo>
                  <a:lnTo>
                    <a:pt x="55" y="246"/>
                  </a:lnTo>
                  <a:lnTo>
                    <a:pt x="53" y="244"/>
                  </a:lnTo>
                  <a:lnTo>
                    <a:pt x="51" y="244"/>
                  </a:lnTo>
                  <a:lnTo>
                    <a:pt x="50" y="243"/>
                  </a:lnTo>
                  <a:lnTo>
                    <a:pt x="48" y="243"/>
                  </a:lnTo>
                  <a:lnTo>
                    <a:pt x="46" y="241"/>
                  </a:lnTo>
                  <a:lnTo>
                    <a:pt x="45" y="239"/>
                  </a:lnTo>
                  <a:lnTo>
                    <a:pt x="43" y="239"/>
                  </a:lnTo>
                  <a:lnTo>
                    <a:pt x="43" y="237"/>
                  </a:lnTo>
                  <a:lnTo>
                    <a:pt x="41" y="236"/>
                  </a:lnTo>
                  <a:lnTo>
                    <a:pt x="41" y="234"/>
                  </a:lnTo>
                  <a:lnTo>
                    <a:pt x="39" y="232"/>
                  </a:lnTo>
                  <a:lnTo>
                    <a:pt x="39" y="232"/>
                  </a:lnTo>
                  <a:lnTo>
                    <a:pt x="39" y="231"/>
                  </a:lnTo>
                  <a:lnTo>
                    <a:pt x="36" y="229"/>
                  </a:lnTo>
                  <a:lnTo>
                    <a:pt x="34" y="227"/>
                  </a:lnTo>
                  <a:lnTo>
                    <a:pt x="31" y="225"/>
                  </a:lnTo>
                  <a:lnTo>
                    <a:pt x="29" y="224"/>
                  </a:lnTo>
                  <a:lnTo>
                    <a:pt x="27" y="222"/>
                  </a:lnTo>
                  <a:lnTo>
                    <a:pt x="24" y="217"/>
                  </a:lnTo>
                  <a:lnTo>
                    <a:pt x="22" y="213"/>
                  </a:lnTo>
                  <a:lnTo>
                    <a:pt x="19" y="212"/>
                  </a:lnTo>
                  <a:lnTo>
                    <a:pt x="10" y="205"/>
                  </a:lnTo>
                  <a:lnTo>
                    <a:pt x="3" y="196"/>
                  </a:lnTo>
                  <a:lnTo>
                    <a:pt x="2" y="196"/>
                  </a:lnTo>
                  <a:lnTo>
                    <a:pt x="2" y="196"/>
                  </a:lnTo>
                  <a:lnTo>
                    <a:pt x="0" y="194"/>
                  </a:lnTo>
                  <a:lnTo>
                    <a:pt x="2" y="194"/>
                  </a:lnTo>
                  <a:lnTo>
                    <a:pt x="2" y="193"/>
                  </a:lnTo>
                  <a:lnTo>
                    <a:pt x="5" y="189"/>
                  </a:lnTo>
                  <a:lnTo>
                    <a:pt x="7" y="188"/>
                  </a:lnTo>
                  <a:lnTo>
                    <a:pt x="8" y="186"/>
                  </a:lnTo>
                  <a:lnTo>
                    <a:pt x="10" y="184"/>
                  </a:lnTo>
                  <a:lnTo>
                    <a:pt x="12" y="181"/>
                  </a:lnTo>
                  <a:lnTo>
                    <a:pt x="15" y="179"/>
                  </a:lnTo>
                  <a:lnTo>
                    <a:pt x="17" y="177"/>
                  </a:lnTo>
                  <a:lnTo>
                    <a:pt x="19" y="176"/>
                  </a:lnTo>
                  <a:lnTo>
                    <a:pt x="20" y="174"/>
                  </a:lnTo>
                  <a:lnTo>
                    <a:pt x="24" y="170"/>
                  </a:lnTo>
                  <a:lnTo>
                    <a:pt x="26" y="167"/>
                  </a:lnTo>
                  <a:lnTo>
                    <a:pt x="29" y="165"/>
                  </a:lnTo>
                  <a:lnTo>
                    <a:pt x="31" y="164"/>
                  </a:lnTo>
                  <a:lnTo>
                    <a:pt x="33" y="162"/>
                  </a:lnTo>
                  <a:lnTo>
                    <a:pt x="36" y="158"/>
                  </a:lnTo>
                  <a:lnTo>
                    <a:pt x="41" y="151"/>
                  </a:lnTo>
                  <a:lnTo>
                    <a:pt x="43" y="150"/>
                  </a:lnTo>
                  <a:lnTo>
                    <a:pt x="45" y="150"/>
                  </a:lnTo>
                  <a:lnTo>
                    <a:pt x="46" y="148"/>
                  </a:lnTo>
                  <a:lnTo>
                    <a:pt x="48" y="146"/>
                  </a:lnTo>
                  <a:lnTo>
                    <a:pt x="50" y="145"/>
                  </a:lnTo>
                  <a:lnTo>
                    <a:pt x="51" y="143"/>
                  </a:lnTo>
                  <a:lnTo>
                    <a:pt x="55" y="139"/>
                  </a:lnTo>
                  <a:lnTo>
                    <a:pt x="55" y="136"/>
                  </a:lnTo>
                  <a:lnTo>
                    <a:pt x="57" y="136"/>
                  </a:lnTo>
                  <a:lnTo>
                    <a:pt x="70" y="124"/>
                  </a:lnTo>
                  <a:lnTo>
                    <a:pt x="70" y="122"/>
                  </a:lnTo>
                  <a:lnTo>
                    <a:pt x="72" y="121"/>
                  </a:lnTo>
                  <a:lnTo>
                    <a:pt x="72" y="121"/>
                  </a:lnTo>
                  <a:lnTo>
                    <a:pt x="74" y="121"/>
                  </a:lnTo>
                  <a:lnTo>
                    <a:pt x="76" y="119"/>
                  </a:lnTo>
                  <a:lnTo>
                    <a:pt x="76" y="117"/>
                  </a:lnTo>
                  <a:lnTo>
                    <a:pt x="77" y="117"/>
                  </a:lnTo>
                  <a:lnTo>
                    <a:pt x="81" y="114"/>
                  </a:lnTo>
                  <a:lnTo>
                    <a:pt x="77" y="110"/>
                  </a:lnTo>
                  <a:lnTo>
                    <a:pt x="76" y="108"/>
                  </a:lnTo>
                  <a:lnTo>
                    <a:pt x="74" y="108"/>
                  </a:lnTo>
                  <a:lnTo>
                    <a:pt x="72" y="107"/>
                  </a:lnTo>
                  <a:lnTo>
                    <a:pt x="70" y="105"/>
                  </a:lnTo>
                  <a:lnTo>
                    <a:pt x="70" y="105"/>
                  </a:lnTo>
                  <a:lnTo>
                    <a:pt x="63" y="100"/>
                  </a:lnTo>
                  <a:lnTo>
                    <a:pt x="62" y="98"/>
                  </a:lnTo>
                  <a:lnTo>
                    <a:pt x="55" y="93"/>
                  </a:lnTo>
                  <a:lnTo>
                    <a:pt x="53" y="91"/>
                  </a:lnTo>
                  <a:lnTo>
                    <a:pt x="51" y="90"/>
                  </a:lnTo>
                  <a:lnTo>
                    <a:pt x="50" y="90"/>
                  </a:lnTo>
                  <a:lnTo>
                    <a:pt x="48" y="88"/>
                  </a:lnTo>
                  <a:lnTo>
                    <a:pt x="46" y="86"/>
                  </a:lnTo>
                  <a:lnTo>
                    <a:pt x="43" y="84"/>
                  </a:lnTo>
                  <a:lnTo>
                    <a:pt x="41" y="83"/>
                  </a:lnTo>
                  <a:lnTo>
                    <a:pt x="39" y="81"/>
                  </a:lnTo>
                  <a:lnTo>
                    <a:pt x="39" y="81"/>
                  </a:lnTo>
                  <a:lnTo>
                    <a:pt x="33" y="76"/>
                  </a:lnTo>
                  <a:lnTo>
                    <a:pt x="29" y="74"/>
                  </a:lnTo>
                  <a:lnTo>
                    <a:pt x="24" y="71"/>
                  </a:lnTo>
                  <a:lnTo>
                    <a:pt x="24" y="69"/>
                  </a:lnTo>
                  <a:lnTo>
                    <a:pt x="24" y="67"/>
                  </a:lnTo>
                  <a:lnTo>
                    <a:pt x="29" y="62"/>
                  </a:lnTo>
                  <a:lnTo>
                    <a:pt x="31" y="62"/>
                  </a:lnTo>
                  <a:lnTo>
                    <a:pt x="34" y="60"/>
                  </a:lnTo>
                  <a:lnTo>
                    <a:pt x="39" y="55"/>
                  </a:lnTo>
                  <a:lnTo>
                    <a:pt x="43" y="52"/>
                  </a:lnTo>
                  <a:lnTo>
                    <a:pt x="45" y="50"/>
                  </a:lnTo>
                  <a:lnTo>
                    <a:pt x="46" y="48"/>
                  </a:lnTo>
                  <a:lnTo>
                    <a:pt x="50" y="45"/>
                  </a:lnTo>
                  <a:lnTo>
                    <a:pt x="51" y="45"/>
                  </a:lnTo>
                  <a:lnTo>
                    <a:pt x="53" y="45"/>
                  </a:lnTo>
                  <a:lnTo>
                    <a:pt x="55" y="43"/>
                  </a:lnTo>
                  <a:lnTo>
                    <a:pt x="57" y="40"/>
                  </a:lnTo>
                  <a:lnTo>
                    <a:pt x="58" y="40"/>
                  </a:lnTo>
                  <a:lnTo>
                    <a:pt x="62" y="36"/>
                  </a:lnTo>
                  <a:lnTo>
                    <a:pt x="67" y="31"/>
                  </a:lnTo>
                  <a:lnTo>
                    <a:pt x="74" y="28"/>
                  </a:lnTo>
                  <a:lnTo>
                    <a:pt x="76" y="28"/>
                  </a:lnTo>
                  <a:lnTo>
                    <a:pt x="77" y="28"/>
                  </a:lnTo>
                  <a:lnTo>
                    <a:pt x="79" y="28"/>
                  </a:lnTo>
                  <a:lnTo>
                    <a:pt x="79" y="26"/>
                  </a:lnTo>
                  <a:lnTo>
                    <a:pt x="81" y="26"/>
                  </a:lnTo>
                  <a:lnTo>
                    <a:pt x="82" y="28"/>
                  </a:lnTo>
                  <a:lnTo>
                    <a:pt x="84" y="29"/>
                  </a:lnTo>
                  <a:lnTo>
                    <a:pt x="84" y="29"/>
                  </a:lnTo>
                  <a:lnTo>
                    <a:pt x="86" y="29"/>
                  </a:lnTo>
                  <a:lnTo>
                    <a:pt x="88" y="29"/>
                  </a:lnTo>
                  <a:lnTo>
                    <a:pt x="89" y="29"/>
                  </a:lnTo>
                  <a:lnTo>
                    <a:pt x="89" y="29"/>
                  </a:lnTo>
                  <a:lnTo>
                    <a:pt x="91" y="29"/>
                  </a:lnTo>
                  <a:lnTo>
                    <a:pt x="93" y="29"/>
                  </a:lnTo>
                  <a:lnTo>
                    <a:pt x="94" y="29"/>
                  </a:lnTo>
                  <a:lnTo>
                    <a:pt x="96" y="29"/>
                  </a:lnTo>
                  <a:lnTo>
                    <a:pt x="96" y="29"/>
                  </a:lnTo>
                  <a:lnTo>
                    <a:pt x="98" y="29"/>
                  </a:lnTo>
                  <a:lnTo>
                    <a:pt x="98" y="28"/>
                  </a:lnTo>
                  <a:lnTo>
                    <a:pt x="100" y="28"/>
                  </a:lnTo>
                  <a:lnTo>
                    <a:pt x="100" y="29"/>
                  </a:lnTo>
                  <a:lnTo>
                    <a:pt x="100" y="28"/>
                  </a:lnTo>
                  <a:lnTo>
                    <a:pt x="100" y="28"/>
                  </a:lnTo>
                  <a:lnTo>
                    <a:pt x="100" y="26"/>
                  </a:lnTo>
                  <a:lnTo>
                    <a:pt x="100" y="24"/>
                  </a:lnTo>
                  <a:lnTo>
                    <a:pt x="101" y="24"/>
                  </a:lnTo>
                  <a:lnTo>
                    <a:pt x="101" y="22"/>
                  </a:lnTo>
                  <a:lnTo>
                    <a:pt x="103" y="22"/>
                  </a:lnTo>
                  <a:lnTo>
                    <a:pt x="103" y="21"/>
                  </a:lnTo>
                  <a:lnTo>
                    <a:pt x="103" y="19"/>
                  </a:lnTo>
                  <a:lnTo>
                    <a:pt x="103" y="17"/>
                  </a:lnTo>
                  <a:lnTo>
                    <a:pt x="105" y="17"/>
                  </a:lnTo>
                  <a:lnTo>
                    <a:pt x="106" y="17"/>
                  </a:lnTo>
                  <a:lnTo>
                    <a:pt x="106" y="16"/>
                  </a:lnTo>
                  <a:lnTo>
                    <a:pt x="106" y="17"/>
                  </a:lnTo>
                  <a:lnTo>
                    <a:pt x="108" y="17"/>
                  </a:lnTo>
                  <a:lnTo>
                    <a:pt x="108" y="16"/>
                  </a:lnTo>
                  <a:lnTo>
                    <a:pt x="110" y="16"/>
                  </a:lnTo>
                  <a:lnTo>
                    <a:pt x="110" y="16"/>
                  </a:lnTo>
                  <a:lnTo>
                    <a:pt x="112" y="16"/>
                  </a:lnTo>
                  <a:lnTo>
                    <a:pt x="112" y="16"/>
                  </a:lnTo>
                  <a:lnTo>
                    <a:pt x="112" y="16"/>
                  </a:lnTo>
                  <a:lnTo>
                    <a:pt x="113" y="16"/>
                  </a:lnTo>
                  <a:lnTo>
                    <a:pt x="113" y="16"/>
                  </a:lnTo>
                  <a:lnTo>
                    <a:pt x="115" y="16"/>
                  </a:lnTo>
                  <a:lnTo>
                    <a:pt x="115" y="14"/>
                  </a:lnTo>
                  <a:lnTo>
                    <a:pt x="115" y="12"/>
                  </a:lnTo>
                  <a:lnTo>
                    <a:pt x="115" y="10"/>
                  </a:lnTo>
                  <a:lnTo>
                    <a:pt x="117" y="10"/>
                  </a:lnTo>
                  <a:lnTo>
                    <a:pt x="117" y="9"/>
                  </a:lnTo>
                  <a:lnTo>
                    <a:pt x="119" y="9"/>
                  </a:lnTo>
                  <a:lnTo>
                    <a:pt x="120" y="10"/>
                  </a:lnTo>
                  <a:lnTo>
                    <a:pt x="122" y="10"/>
                  </a:lnTo>
                  <a:lnTo>
                    <a:pt x="122" y="9"/>
                  </a:lnTo>
                  <a:lnTo>
                    <a:pt x="120" y="7"/>
                  </a:lnTo>
                  <a:lnTo>
                    <a:pt x="120" y="5"/>
                  </a:lnTo>
                  <a:lnTo>
                    <a:pt x="119" y="2"/>
                  </a:lnTo>
                  <a:lnTo>
                    <a:pt x="117" y="0"/>
                  </a:lnTo>
                  <a:lnTo>
                    <a:pt x="120" y="0"/>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2" name="Freeform 209"/>
            <p:cNvSpPr>
              <a:spLocks/>
            </p:cNvSpPr>
            <p:nvPr/>
          </p:nvSpPr>
          <p:spPr bwMode="auto">
            <a:xfrm>
              <a:off x="5698421" y="4044744"/>
              <a:ext cx="376238" cy="504825"/>
            </a:xfrm>
            <a:custGeom>
              <a:avLst/>
              <a:gdLst/>
              <a:ahLst/>
              <a:cxnLst>
                <a:cxn ang="0">
                  <a:pos x="154" y="3"/>
                </a:cxn>
                <a:cxn ang="0">
                  <a:pos x="172" y="3"/>
                </a:cxn>
                <a:cxn ang="0">
                  <a:pos x="182" y="5"/>
                </a:cxn>
                <a:cxn ang="0">
                  <a:pos x="194" y="5"/>
                </a:cxn>
                <a:cxn ang="0">
                  <a:pos x="204" y="5"/>
                </a:cxn>
                <a:cxn ang="0">
                  <a:pos x="221" y="5"/>
                </a:cxn>
                <a:cxn ang="0">
                  <a:pos x="237" y="16"/>
                </a:cxn>
                <a:cxn ang="0">
                  <a:pos x="237" y="31"/>
                </a:cxn>
                <a:cxn ang="0">
                  <a:pos x="237" y="48"/>
                </a:cxn>
                <a:cxn ang="0">
                  <a:pos x="237" y="64"/>
                </a:cxn>
                <a:cxn ang="0">
                  <a:pos x="237" y="89"/>
                </a:cxn>
                <a:cxn ang="0">
                  <a:pos x="237" y="112"/>
                </a:cxn>
                <a:cxn ang="0">
                  <a:pos x="237" y="132"/>
                </a:cxn>
                <a:cxn ang="0">
                  <a:pos x="237" y="151"/>
                </a:cxn>
                <a:cxn ang="0">
                  <a:pos x="237" y="189"/>
                </a:cxn>
                <a:cxn ang="0">
                  <a:pos x="237" y="215"/>
                </a:cxn>
                <a:cxn ang="0">
                  <a:pos x="237" y="231"/>
                </a:cxn>
                <a:cxn ang="0">
                  <a:pos x="235" y="251"/>
                </a:cxn>
                <a:cxn ang="0">
                  <a:pos x="235" y="274"/>
                </a:cxn>
                <a:cxn ang="0">
                  <a:pos x="235" y="287"/>
                </a:cxn>
                <a:cxn ang="0">
                  <a:pos x="235" y="308"/>
                </a:cxn>
                <a:cxn ang="0">
                  <a:pos x="235" y="318"/>
                </a:cxn>
                <a:cxn ang="0">
                  <a:pos x="215" y="318"/>
                </a:cxn>
                <a:cxn ang="0">
                  <a:pos x="191" y="318"/>
                </a:cxn>
                <a:cxn ang="0">
                  <a:pos x="161" y="318"/>
                </a:cxn>
                <a:cxn ang="0">
                  <a:pos x="142" y="318"/>
                </a:cxn>
                <a:cxn ang="0">
                  <a:pos x="120" y="318"/>
                </a:cxn>
                <a:cxn ang="0">
                  <a:pos x="110" y="318"/>
                </a:cxn>
                <a:cxn ang="0">
                  <a:pos x="101" y="308"/>
                </a:cxn>
                <a:cxn ang="0">
                  <a:pos x="101" y="289"/>
                </a:cxn>
                <a:cxn ang="0">
                  <a:pos x="96" y="284"/>
                </a:cxn>
                <a:cxn ang="0">
                  <a:pos x="70" y="270"/>
                </a:cxn>
                <a:cxn ang="0">
                  <a:pos x="55" y="263"/>
                </a:cxn>
                <a:cxn ang="0">
                  <a:pos x="27" y="249"/>
                </a:cxn>
                <a:cxn ang="0">
                  <a:pos x="13" y="241"/>
                </a:cxn>
                <a:cxn ang="0">
                  <a:pos x="1" y="227"/>
                </a:cxn>
                <a:cxn ang="0">
                  <a:pos x="1" y="205"/>
                </a:cxn>
                <a:cxn ang="0">
                  <a:pos x="1" y="194"/>
                </a:cxn>
                <a:cxn ang="0">
                  <a:pos x="1" y="169"/>
                </a:cxn>
                <a:cxn ang="0">
                  <a:pos x="1" y="150"/>
                </a:cxn>
                <a:cxn ang="0">
                  <a:pos x="3" y="136"/>
                </a:cxn>
                <a:cxn ang="0">
                  <a:pos x="3" y="122"/>
                </a:cxn>
                <a:cxn ang="0">
                  <a:pos x="3" y="112"/>
                </a:cxn>
                <a:cxn ang="0">
                  <a:pos x="3" y="93"/>
                </a:cxn>
                <a:cxn ang="0">
                  <a:pos x="3" y="79"/>
                </a:cxn>
                <a:cxn ang="0">
                  <a:pos x="3" y="65"/>
                </a:cxn>
                <a:cxn ang="0">
                  <a:pos x="3" y="34"/>
                </a:cxn>
                <a:cxn ang="0">
                  <a:pos x="3" y="17"/>
                </a:cxn>
                <a:cxn ang="0">
                  <a:pos x="5" y="0"/>
                </a:cxn>
                <a:cxn ang="0">
                  <a:pos x="20" y="0"/>
                </a:cxn>
                <a:cxn ang="0">
                  <a:pos x="34" y="0"/>
                </a:cxn>
                <a:cxn ang="0">
                  <a:pos x="55" y="0"/>
                </a:cxn>
                <a:cxn ang="0">
                  <a:pos x="80" y="2"/>
                </a:cxn>
                <a:cxn ang="0">
                  <a:pos x="96" y="2"/>
                </a:cxn>
                <a:cxn ang="0">
                  <a:pos x="115" y="2"/>
                </a:cxn>
              </a:cxnLst>
              <a:rect l="0" t="0" r="r" b="b"/>
              <a:pathLst>
                <a:path w="237" h="318">
                  <a:moveTo>
                    <a:pt x="137" y="2"/>
                  </a:moveTo>
                  <a:lnTo>
                    <a:pt x="137" y="3"/>
                  </a:lnTo>
                  <a:lnTo>
                    <a:pt x="146" y="3"/>
                  </a:lnTo>
                  <a:lnTo>
                    <a:pt x="151" y="3"/>
                  </a:lnTo>
                  <a:lnTo>
                    <a:pt x="154" y="3"/>
                  </a:lnTo>
                  <a:lnTo>
                    <a:pt x="156" y="3"/>
                  </a:lnTo>
                  <a:lnTo>
                    <a:pt x="160" y="3"/>
                  </a:lnTo>
                  <a:lnTo>
                    <a:pt x="163" y="3"/>
                  </a:lnTo>
                  <a:lnTo>
                    <a:pt x="166" y="3"/>
                  </a:lnTo>
                  <a:lnTo>
                    <a:pt x="172" y="3"/>
                  </a:lnTo>
                  <a:lnTo>
                    <a:pt x="173" y="3"/>
                  </a:lnTo>
                  <a:lnTo>
                    <a:pt x="173" y="3"/>
                  </a:lnTo>
                  <a:lnTo>
                    <a:pt x="177" y="5"/>
                  </a:lnTo>
                  <a:lnTo>
                    <a:pt x="180" y="5"/>
                  </a:lnTo>
                  <a:lnTo>
                    <a:pt x="182" y="5"/>
                  </a:lnTo>
                  <a:lnTo>
                    <a:pt x="184" y="5"/>
                  </a:lnTo>
                  <a:lnTo>
                    <a:pt x="187" y="5"/>
                  </a:lnTo>
                  <a:lnTo>
                    <a:pt x="189" y="5"/>
                  </a:lnTo>
                  <a:lnTo>
                    <a:pt x="192" y="5"/>
                  </a:lnTo>
                  <a:lnTo>
                    <a:pt x="194" y="5"/>
                  </a:lnTo>
                  <a:lnTo>
                    <a:pt x="197" y="5"/>
                  </a:lnTo>
                  <a:lnTo>
                    <a:pt x="199" y="5"/>
                  </a:lnTo>
                  <a:lnTo>
                    <a:pt x="203" y="5"/>
                  </a:lnTo>
                  <a:lnTo>
                    <a:pt x="204" y="5"/>
                  </a:lnTo>
                  <a:lnTo>
                    <a:pt x="204" y="5"/>
                  </a:lnTo>
                  <a:lnTo>
                    <a:pt x="213" y="5"/>
                  </a:lnTo>
                  <a:lnTo>
                    <a:pt x="215" y="5"/>
                  </a:lnTo>
                  <a:lnTo>
                    <a:pt x="216" y="5"/>
                  </a:lnTo>
                  <a:lnTo>
                    <a:pt x="220" y="5"/>
                  </a:lnTo>
                  <a:lnTo>
                    <a:pt x="221" y="5"/>
                  </a:lnTo>
                  <a:lnTo>
                    <a:pt x="228" y="5"/>
                  </a:lnTo>
                  <a:lnTo>
                    <a:pt x="235" y="5"/>
                  </a:lnTo>
                  <a:lnTo>
                    <a:pt x="237" y="5"/>
                  </a:lnTo>
                  <a:lnTo>
                    <a:pt x="237" y="12"/>
                  </a:lnTo>
                  <a:lnTo>
                    <a:pt x="237" y="16"/>
                  </a:lnTo>
                  <a:lnTo>
                    <a:pt x="237" y="17"/>
                  </a:lnTo>
                  <a:lnTo>
                    <a:pt x="237" y="22"/>
                  </a:lnTo>
                  <a:lnTo>
                    <a:pt x="237" y="28"/>
                  </a:lnTo>
                  <a:lnTo>
                    <a:pt x="237" y="29"/>
                  </a:lnTo>
                  <a:lnTo>
                    <a:pt x="237" y="31"/>
                  </a:lnTo>
                  <a:lnTo>
                    <a:pt x="237" y="33"/>
                  </a:lnTo>
                  <a:lnTo>
                    <a:pt x="237" y="40"/>
                  </a:lnTo>
                  <a:lnTo>
                    <a:pt x="237" y="43"/>
                  </a:lnTo>
                  <a:lnTo>
                    <a:pt x="237" y="45"/>
                  </a:lnTo>
                  <a:lnTo>
                    <a:pt x="237" y="48"/>
                  </a:lnTo>
                  <a:lnTo>
                    <a:pt x="237" y="53"/>
                  </a:lnTo>
                  <a:lnTo>
                    <a:pt x="237" y="55"/>
                  </a:lnTo>
                  <a:lnTo>
                    <a:pt x="237" y="60"/>
                  </a:lnTo>
                  <a:lnTo>
                    <a:pt x="237" y="60"/>
                  </a:lnTo>
                  <a:lnTo>
                    <a:pt x="237" y="64"/>
                  </a:lnTo>
                  <a:lnTo>
                    <a:pt x="237" y="69"/>
                  </a:lnTo>
                  <a:lnTo>
                    <a:pt x="237" y="71"/>
                  </a:lnTo>
                  <a:lnTo>
                    <a:pt x="237" y="83"/>
                  </a:lnTo>
                  <a:lnTo>
                    <a:pt x="237" y="86"/>
                  </a:lnTo>
                  <a:lnTo>
                    <a:pt x="237" y="89"/>
                  </a:lnTo>
                  <a:lnTo>
                    <a:pt x="237" y="93"/>
                  </a:lnTo>
                  <a:lnTo>
                    <a:pt x="237" y="95"/>
                  </a:lnTo>
                  <a:lnTo>
                    <a:pt x="237" y="105"/>
                  </a:lnTo>
                  <a:lnTo>
                    <a:pt x="237" y="110"/>
                  </a:lnTo>
                  <a:lnTo>
                    <a:pt x="237" y="112"/>
                  </a:lnTo>
                  <a:lnTo>
                    <a:pt x="237" y="115"/>
                  </a:lnTo>
                  <a:lnTo>
                    <a:pt x="237" y="117"/>
                  </a:lnTo>
                  <a:lnTo>
                    <a:pt x="237" y="120"/>
                  </a:lnTo>
                  <a:lnTo>
                    <a:pt x="237" y="127"/>
                  </a:lnTo>
                  <a:lnTo>
                    <a:pt x="237" y="132"/>
                  </a:lnTo>
                  <a:lnTo>
                    <a:pt x="237" y="139"/>
                  </a:lnTo>
                  <a:lnTo>
                    <a:pt x="237" y="141"/>
                  </a:lnTo>
                  <a:lnTo>
                    <a:pt x="237" y="145"/>
                  </a:lnTo>
                  <a:lnTo>
                    <a:pt x="237" y="146"/>
                  </a:lnTo>
                  <a:lnTo>
                    <a:pt x="237" y="151"/>
                  </a:lnTo>
                  <a:lnTo>
                    <a:pt x="237" y="158"/>
                  </a:lnTo>
                  <a:lnTo>
                    <a:pt x="237" y="172"/>
                  </a:lnTo>
                  <a:lnTo>
                    <a:pt x="237" y="174"/>
                  </a:lnTo>
                  <a:lnTo>
                    <a:pt x="237" y="182"/>
                  </a:lnTo>
                  <a:lnTo>
                    <a:pt x="237" y="189"/>
                  </a:lnTo>
                  <a:lnTo>
                    <a:pt x="237" y="191"/>
                  </a:lnTo>
                  <a:lnTo>
                    <a:pt x="237" y="193"/>
                  </a:lnTo>
                  <a:lnTo>
                    <a:pt x="237" y="196"/>
                  </a:lnTo>
                  <a:lnTo>
                    <a:pt x="237" y="206"/>
                  </a:lnTo>
                  <a:lnTo>
                    <a:pt x="237" y="215"/>
                  </a:lnTo>
                  <a:lnTo>
                    <a:pt x="237" y="217"/>
                  </a:lnTo>
                  <a:lnTo>
                    <a:pt x="237" y="220"/>
                  </a:lnTo>
                  <a:lnTo>
                    <a:pt x="237" y="224"/>
                  </a:lnTo>
                  <a:lnTo>
                    <a:pt x="237" y="227"/>
                  </a:lnTo>
                  <a:lnTo>
                    <a:pt x="237" y="231"/>
                  </a:lnTo>
                  <a:lnTo>
                    <a:pt x="235" y="239"/>
                  </a:lnTo>
                  <a:lnTo>
                    <a:pt x="235" y="241"/>
                  </a:lnTo>
                  <a:lnTo>
                    <a:pt x="235" y="246"/>
                  </a:lnTo>
                  <a:lnTo>
                    <a:pt x="235" y="249"/>
                  </a:lnTo>
                  <a:lnTo>
                    <a:pt x="235" y="251"/>
                  </a:lnTo>
                  <a:lnTo>
                    <a:pt x="235" y="256"/>
                  </a:lnTo>
                  <a:lnTo>
                    <a:pt x="235" y="258"/>
                  </a:lnTo>
                  <a:lnTo>
                    <a:pt x="235" y="260"/>
                  </a:lnTo>
                  <a:lnTo>
                    <a:pt x="235" y="262"/>
                  </a:lnTo>
                  <a:lnTo>
                    <a:pt x="235" y="274"/>
                  </a:lnTo>
                  <a:lnTo>
                    <a:pt x="235" y="277"/>
                  </a:lnTo>
                  <a:lnTo>
                    <a:pt x="235" y="280"/>
                  </a:lnTo>
                  <a:lnTo>
                    <a:pt x="235" y="282"/>
                  </a:lnTo>
                  <a:lnTo>
                    <a:pt x="235" y="284"/>
                  </a:lnTo>
                  <a:lnTo>
                    <a:pt x="235" y="287"/>
                  </a:lnTo>
                  <a:lnTo>
                    <a:pt x="235" y="298"/>
                  </a:lnTo>
                  <a:lnTo>
                    <a:pt x="235" y="301"/>
                  </a:lnTo>
                  <a:lnTo>
                    <a:pt x="235" y="301"/>
                  </a:lnTo>
                  <a:lnTo>
                    <a:pt x="235" y="305"/>
                  </a:lnTo>
                  <a:lnTo>
                    <a:pt x="235" y="308"/>
                  </a:lnTo>
                  <a:lnTo>
                    <a:pt x="235" y="311"/>
                  </a:lnTo>
                  <a:lnTo>
                    <a:pt x="235" y="315"/>
                  </a:lnTo>
                  <a:lnTo>
                    <a:pt x="235" y="317"/>
                  </a:lnTo>
                  <a:lnTo>
                    <a:pt x="235" y="317"/>
                  </a:lnTo>
                  <a:lnTo>
                    <a:pt x="235" y="318"/>
                  </a:lnTo>
                  <a:lnTo>
                    <a:pt x="232" y="318"/>
                  </a:lnTo>
                  <a:lnTo>
                    <a:pt x="230" y="318"/>
                  </a:lnTo>
                  <a:lnTo>
                    <a:pt x="228" y="318"/>
                  </a:lnTo>
                  <a:lnTo>
                    <a:pt x="227" y="318"/>
                  </a:lnTo>
                  <a:lnTo>
                    <a:pt x="215" y="318"/>
                  </a:lnTo>
                  <a:lnTo>
                    <a:pt x="203" y="318"/>
                  </a:lnTo>
                  <a:lnTo>
                    <a:pt x="199" y="318"/>
                  </a:lnTo>
                  <a:lnTo>
                    <a:pt x="196" y="318"/>
                  </a:lnTo>
                  <a:lnTo>
                    <a:pt x="194" y="318"/>
                  </a:lnTo>
                  <a:lnTo>
                    <a:pt x="191" y="318"/>
                  </a:lnTo>
                  <a:lnTo>
                    <a:pt x="185" y="318"/>
                  </a:lnTo>
                  <a:lnTo>
                    <a:pt x="177" y="318"/>
                  </a:lnTo>
                  <a:lnTo>
                    <a:pt x="173" y="318"/>
                  </a:lnTo>
                  <a:lnTo>
                    <a:pt x="168" y="318"/>
                  </a:lnTo>
                  <a:lnTo>
                    <a:pt x="161" y="318"/>
                  </a:lnTo>
                  <a:lnTo>
                    <a:pt x="158" y="318"/>
                  </a:lnTo>
                  <a:lnTo>
                    <a:pt x="153" y="318"/>
                  </a:lnTo>
                  <a:lnTo>
                    <a:pt x="146" y="318"/>
                  </a:lnTo>
                  <a:lnTo>
                    <a:pt x="144" y="318"/>
                  </a:lnTo>
                  <a:lnTo>
                    <a:pt x="142" y="318"/>
                  </a:lnTo>
                  <a:lnTo>
                    <a:pt x="141" y="318"/>
                  </a:lnTo>
                  <a:lnTo>
                    <a:pt x="129" y="318"/>
                  </a:lnTo>
                  <a:lnTo>
                    <a:pt x="127" y="318"/>
                  </a:lnTo>
                  <a:lnTo>
                    <a:pt x="125" y="318"/>
                  </a:lnTo>
                  <a:lnTo>
                    <a:pt x="120" y="318"/>
                  </a:lnTo>
                  <a:lnTo>
                    <a:pt x="117" y="318"/>
                  </a:lnTo>
                  <a:lnTo>
                    <a:pt x="115" y="318"/>
                  </a:lnTo>
                  <a:lnTo>
                    <a:pt x="113" y="318"/>
                  </a:lnTo>
                  <a:lnTo>
                    <a:pt x="111" y="318"/>
                  </a:lnTo>
                  <a:lnTo>
                    <a:pt x="110" y="318"/>
                  </a:lnTo>
                  <a:lnTo>
                    <a:pt x="105" y="318"/>
                  </a:lnTo>
                  <a:lnTo>
                    <a:pt x="103" y="318"/>
                  </a:lnTo>
                  <a:lnTo>
                    <a:pt x="101" y="318"/>
                  </a:lnTo>
                  <a:lnTo>
                    <a:pt x="101" y="315"/>
                  </a:lnTo>
                  <a:lnTo>
                    <a:pt x="101" y="308"/>
                  </a:lnTo>
                  <a:lnTo>
                    <a:pt x="101" y="303"/>
                  </a:lnTo>
                  <a:lnTo>
                    <a:pt x="101" y="299"/>
                  </a:lnTo>
                  <a:lnTo>
                    <a:pt x="101" y="296"/>
                  </a:lnTo>
                  <a:lnTo>
                    <a:pt x="101" y="292"/>
                  </a:lnTo>
                  <a:lnTo>
                    <a:pt x="101" y="289"/>
                  </a:lnTo>
                  <a:lnTo>
                    <a:pt x="101" y="287"/>
                  </a:lnTo>
                  <a:lnTo>
                    <a:pt x="101" y="286"/>
                  </a:lnTo>
                  <a:lnTo>
                    <a:pt x="99" y="286"/>
                  </a:lnTo>
                  <a:lnTo>
                    <a:pt x="98" y="284"/>
                  </a:lnTo>
                  <a:lnTo>
                    <a:pt x="96" y="284"/>
                  </a:lnTo>
                  <a:lnTo>
                    <a:pt x="82" y="275"/>
                  </a:lnTo>
                  <a:lnTo>
                    <a:pt x="74" y="272"/>
                  </a:lnTo>
                  <a:lnTo>
                    <a:pt x="72" y="272"/>
                  </a:lnTo>
                  <a:lnTo>
                    <a:pt x="70" y="272"/>
                  </a:lnTo>
                  <a:lnTo>
                    <a:pt x="70" y="270"/>
                  </a:lnTo>
                  <a:lnTo>
                    <a:pt x="68" y="270"/>
                  </a:lnTo>
                  <a:lnTo>
                    <a:pt x="68" y="270"/>
                  </a:lnTo>
                  <a:lnTo>
                    <a:pt x="65" y="267"/>
                  </a:lnTo>
                  <a:lnTo>
                    <a:pt x="63" y="267"/>
                  </a:lnTo>
                  <a:lnTo>
                    <a:pt x="55" y="263"/>
                  </a:lnTo>
                  <a:lnTo>
                    <a:pt x="53" y="262"/>
                  </a:lnTo>
                  <a:lnTo>
                    <a:pt x="44" y="256"/>
                  </a:lnTo>
                  <a:lnTo>
                    <a:pt x="34" y="253"/>
                  </a:lnTo>
                  <a:lnTo>
                    <a:pt x="32" y="251"/>
                  </a:lnTo>
                  <a:lnTo>
                    <a:pt x="27" y="249"/>
                  </a:lnTo>
                  <a:lnTo>
                    <a:pt x="27" y="248"/>
                  </a:lnTo>
                  <a:lnTo>
                    <a:pt x="24" y="246"/>
                  </a:lnTo>
                  <a:lnTo>
                    <a:pt x="19" y="244"/>
                  </a:lnTo>
                  <a:lnTo>
                    <a:pt x="15" y="241"/>
                  </a:lnTo>
                  <a:lnTo>
                    <a:pt x="13" y="241"/>
                  </a:lnTo>
                  <a:lnTo>
                    <a:pt x="8" y="241"/>
                  </a:lnTo>
                  <a:lnTo>
                    <a:pt x="1" y="236"/>
                  </a:lnTo>
                  <a:lnTo>
                    <a:pt x="0" y="236"/>
                  </a:lnTo>
                  <a:lnTo>
                    <a:pt x="1" y="229"/>
                  </a:lnTo>
                  <a:lnTo>
                    <a:pt x="1" y="227"/>
                  </a:lnTo>
                  <a:lnTo>
                    <a:pt x="1" y="225"/>
                  </a:lnTo>
                  <a:lnTo>
                    <a:pt x="1" y="220"/>
                  </a:lnTo>
                  <a:lnTo>
                    <a:pt x="1" y="217"/>
                  </a:lnTo>
                  <a:lnTo>
                    <a:pt x="1" y="208"/>
                  </a:lnTo>
                  <a:lnTo>
                    <a:pt x="1" y="205"/>
                  </a:lnTo>
                  <a:lnTo>
                    <a:pt x="1" y="203"/>
                  </a:lnTo>
                  <a:lnTo>
                    <a:pt x="1" y="200"/>
                  </a:lnTo>
                  <a:lnTo>
                    <a:pt x="1" y="196"/>
                  </a:lnTo>
                  <a:lnTo>
                    <a:pt x="1" y="196"/>
                  </a:lnTo>
                  <a:lnTo>
                    <a:pt x="1" y="194"/>
                  </a:lnTo>
                  <a:lnTo>
                    <a:pt x="1" y="182"/>
                  </a:lnTo>
                  <a:lnTo>
                    <a:pt x="1" y="181"/>
                  </a:lnTo>
                  <a:lnTo>
                    <a:pt x="1" y="174"/>
                  </a:lnTo>
                  <a:lnTo>
                    <a:pt x="1" y="172"/>
                  </a:lnTo>
                  <a:lnTo>
                    <a:pt x="1" y="169"/>
                  </a:lnTo>
                  <a:lnTo>
                    <a:pt x="1" y="167"/>
                  </a:lnTo>
                  <a:lnTo>
                    <a:pt x="1" y="165"/>
                  </a:lnTo>
                  <a:lnTo>
                    <a:pt x="1" y="160"/>
                  </a:lnTo>
                  <a:lnTo>
                    <a:pt x="1" y="151"/>
                  </a:lnTo>
                  <a:lnTo>
                    <a:pt x="1" y="150"/>
                  </a:lnTo>
                  <a:lnTo>
                    <a:pt x="1" y="146"/>
                  </a:lnTo>
                  <a:lnTo>
                    <a:pt x="3" y="141"/>
                  </a:lnTo>
                  <a:lnTo>
                    <a:pt x="3" y="138"/>
                  </a:lnTo>
                  <a:lnTo>
                    <a:pt x="3" y="136"/>
                  </a:lnTo>
                  <a:lnTo>
                    <a:pt x="3" y="136"/>
                  </a:lnTo>
                  <a:lnTo>
                    <a:pt x="3" y="134"/>
                  </a:lnTo>
                  <a:lnTo>
                    <a:pt x="3" y="132"/>
                  </a:lnTo>
                  <a:lnTo>
                    <a:pt x="3" y="126"/>
                  </a:lnTo>
                  <a:lnTo>
                    <a:pt x="3" y="124"/>
                  </a:lnTo>
                  <a:lnTo>
                    <a:pt x="3" y="122"/>
                  </a:lnTo>
                  <a:lnTo>
                    <a:pt x="3" y="120"/>
                  </a:lnTo>
                  <a:lnTo>
                    <a:pt x="3" y="120"/>
                  </a:lnTo>
                  <a:lnTo>
                    <a:pt x="3" y="119"/>
                  </a:lnTo>
                  <a:lnTo>
                    <a:pt x="3" y="117"/>
                  </a:lnTo>
                  <a:lnTo>
                    <a:pt x="3" y="112"/>
                  </a:lnTo>
                  <a:lnTo>
                    <a:pt x="3" y="107"/>
                  </a:lnTo>
                  <a:lnTo>
                    <a:pt x="3" y="102"/>
                  </a:lnTo>
                  <a:lnTo>
                    <a:pt x="3" y="100"/>
                  </a:lnTo>
                  <a:lnTo>
                    <a:pt x="3" y="96"/>
                  </a:lnTo>
                  <a:lnTo>
                    <a:pt x="3" y="93"/>
                  </a:lnTo>
                  <a:lnTo>
                    <a:pt x="3" y="91"/>
                  </a:lnTo>
                  <a:lnTo>
                    <a:pt x="3" y="89"/>
                  </a:lnTo>
                  <a:lnTo>
                    <a:pt x="3" y="84"/>
                  </a:lnTo>
                  <a:lnTo>
                    <a:pt x="3" y="83"/>
                  </a:lnTo>
                  <a:lnTo>
                    <a:pt x="3" y="79"/>
                  </a:lnTo>
                  <a:lnTo>
                    <a:pt x="3" y="76"/>
                  </a:lnTo>
                  <a:lnTo>
                    <a:pt x="3" y="74"/>
                  </a:lnTo>
                  <a:lnTo>
                    <a:pt x="3" y="69"/>
                  </a:lnTo>
                  <a:lnTo>
                    <a:pt x="3" y="67"/>
                  </a:lnTo>
                  <a:lnTo>
                    <a:pt x="3" y="65"/>
                  </a:lnTo>
                  <a:lnTo>
                    <a:pt x="3" y="57"/>
                  </a:lnTo>
                  <a:lnTo>
                    <a:pt x="3" y="53"/>
                  </a:lnTo>
                  <a:lnTo>
                    <a:pt x="3" y="48"/>
                  </a:lnTo>
                  <a:lnTo>
                    <a:pt x="3" y="45"/>
                  </a:lnTo>
                  <a:lnTo>
                    <a:pt x="3" y="34"/>
                  </a:lnTo>
                  <a:lnTo>
                    <a:pt x="3" y="33"/>
                  </a:lnTo>
                  <a:lnTo>
                    <a:pt x="3" y="31"/>
                  </a:lnTo>
                  <a:lnTo>
                    <a:pt x="3" y="26"/>
                  </a:lnTo>
                  <a:lnTo>
                    <a:pt x="3" y="21"/>
                  </a:lnTo>
                  <a:lnTo>
                    <a:pt x="3" y="17"/>
                  </a:lnTo>
                  <a:lnTo>
                    <a:pt x="3" y="16"/>
                  </a:lnTo>
                  <a:lnTo>
                    <a:pt x="3" y="16"/>
                  </a:lnTo>
                  <a:lnTo>
                    <a:pt x="3" y="9"/>
                  </a:lnTo>
                  <a:lnTo>
                    <a:pt x="3" y="0"/>
                  </a:lnTo>
                  <a:lnTo>
                    <a:pt x="5" y="0"/>
                  </a:lnTo>
                  <a:lnTo>
                    <a:pt x="8" y="0"/>
                  </a:lnTo>
                  <a:lnTo>
                    <a:pt x="10" y="0"/>
                  </a:lnTo>
                  <a:lnTo>
                    <a:pt x="13" y="0"/>
                  </a:lnTo>
                  <a:lnTo>
                    <a:pt x="17" y="0"/>
                  </a:lnTo>
                  <a:lnTo>
                    <a:pt x="20" y="0"/>
                  </a:lnTo>
                  <a:lnTo>
                    <a:pt x="22" y="0"/>
                  </a:lnTo>
                  <a:lnTo>
                    <a:pt x="24" y="0"/>
                  </a:lnTo>
                  <a:lnTo>
                    <a:pt x="25" y="0"/>
                  </a:lnTo>
                  <a:lnTo>
                    <a:pt x="29" y="0"/>
                  </a:lnTo>
                  <a:lnTo>
                    <a:pt x="34" y="0"/>
                  </a:lnTo>
                  <a:lnTo>
                    <a:pt x="37" y="0"/>
                  </a:lnTo>
                  <a:lnTo>
                    <a:pt x="39" y="0"/>
                  </a:lnTo>
                  <a:lnTo>
                    <a:pt x="46" y="0"/>
                  </a:lnTo>
                  <a:lnTo>
                    <a:pt x="48" y="0"/>
                  </a:lnTo>
                  <a:lnTo>
                    <a:pt x="55" y="0"/>
                  </a:lnTo>
                  <a:lnTo>
                    <a:pt x="60" y="0"/>
                  </a:lnTo>
                  <a:lnTo>
                    <a:pt x="62" y="0"/>
                  </a:lnTo>
                  <a:lnTo>
                    <a:pt x="70" y="0"/>
                  </a:lnTo>
                  <a:lnTo>
                    <a:pt x="72" y="0"/>
                  </a:lnTo>
                  <a:lnTo>
                    <a:pt x="80" y="2"/>
                  </a:lnTo>
                  <a:lnTo>
                    <a:pt x="84" y="2"/>
                  </a:lnTo>
                  <a:lnTo>
                    <a:pt x="86" y="2"/>
                  </a:lnTo>
                  <a:lnTo>
                    <a:pt x="91" y="2"/>
                  </a:lnTo>
                  <a:lnTo>
                    <a:pt x="94" y="2"/>
                  </a:lnTo>
                  <a:lnTo>
                    <a:pt x="96" y="2"/>
                  </a:lnTo>
                  <a:lnTo>
                    <a:pt x="99" y="2"/>
                  </a:lnTo>
                  <a:lnTo>
                    <a:pt x="103" y="2"/>
                  </a:lnTo>
                  <a:lnTo>
                    <a:pt x="113" y="2"/>
                  </a:lnTo>
                  <a:lnTo>
                    <a:pt x="113" y="2"/>
                  </a:lnTo>
                  <a:lnTo>
                    <a:pt x="115" y="2"/>
                  </a:lnTo>
                  <a:lnTo>
                    <a:pt x="125" y="2"/>
                  </a:lnTo>
                  <a:lnTo>
                    <a:pt x="137" y="2"/>
                  </a:lnTo>
                  <a:lnTo>
                    <a:pt x="137" y="2"/>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3" name="Freeform 212"/>
            <p:cNvSpPr>
              <a:spLocks/>
            </p:cNvSpPr>
            <p:nvPr/>
          </p:nvSpPr>
          <p:spPr bwMode="auto">
            <a:xfrm>
              <a:off x="4944358" y="4189206"/>
              <a:ext cx="334963" cy="598488"/>
            </a:xfrm>
            <a:custGeom>
              <a:avLst/>
              <a:gdLst/>
              <a:ahLst/>
              <a:cxnLst>
                <a:cxn ang="0">
                  <a:pos x="3" y="67"/>
                </a:cxn>
                <a:cxn ang="0">
                  <a:pos x="5" y="33"/>
                </a:cxn>
                <a:cxn ang="0">
                  <a:pos x="5" y="11"/>
                </a:cxn>
                <a:cxn ang="0">
                  <a:pos x="15" y="0"/>
                </a:cxn>
                <a:cxn ang="0">
                  <a:pos x="39" y="0"/>
                </a:cxn>
                <a:cxn ang="0">
                  <a:pos x="57" y="0"/>
                </a:cxn>
                <a:cxn ang="0">
                  <a:pos x="69" y="0"/>
                </a:cxn>
                <a:cxn ang="0">
                  <a:pos x="98" y="2"/>
                </a:cxn>
                <a:cxn ang="0">
                  <a:pos x="119" y="2"/>
                </a:cxn>
                <a:cxn ang="0">
                  <a:pos x="139" y="4"/>
                </a:cxn>
                <a:cxn ang="0">
                  <a:pos x="167" y="5"/>
                </a:cxn>
                <a:cxn ang="0">
                  <a:pos x="186" y="5"/>
                </a:cxn>
                <a:cxn ang="0">
                  <a:pos x="198" y="5"/>
                </a:cxn>
                <a:cxn ang="0">
                  <a:pos x="205" y="23"/>
                </a:cxn>
                <a:cxn ang="0">
                  <a:pos x="205" y="45"/>
                </a:cxn>
                <a:cxn ang="0">
                  <a:pos x="205" y="62"/>
                </a:cxn>
                <a:cxn ang="0">
                  <a:pos x="205" y="74"/>
                </a:cxn>
                <a:cxn ang="0">
                  <a:pos x="203" y="91"/>
                </a:cxn>
                <a:cxn ang="0">
                  <a:pos x="205" y="109"/>
                </a:cxn>
                <a:cxn ang="0">
                  <a:pos x="203" y="121"/>
                </a:cxn>
                <a:cxn ang="0">
                  <a:pos x="203" y="134"/>
                </a:cxn>
                <a:cxn ang="0">
                  <a:pos x="211" y="140"/>
                </a:cxn>
                <a:cxn ang="0">
                  <a:pos x="211" y="167"/>
                </a:cxn>
                <a:cxn ang="0">
                  <a:pos x="211" y="186"/>
                </a:cxn>
                <a:cxn ang="0">
                  <a:pos x="210" y="198"/>
                </a:cxn>
                <a:cxn ang="0">
                  <a:pos x="210" y="215"/>
                </a:cxn>
                <a:cxn ang="0">
                  <a:pos x="210" y="231"/>
                </a:cxn>
                <a:cxn ang="0">
                  <a:pos x="210" y="244"/>
                </a:cxn>
                <a:cxn ang="0">
                  <a:pos x="210" y="257"/>
                </a:cxn>
                <a:cxn ang="0">
                  <a:pos x="208" y="279"/>
                </a:cxn>
                <a:cxn ang="0">
                  <a:pos x="208" y="301"/>
                </a:cxn>
                <a:cxn ang="0">
                  <a:pos x="208" y="318"/>
                </a:cxn>
                <a:cxn ang="0">
                  <a:pos x="196" y="322"/>
                </a:cxn>
                <a:cxn ang="0">
                  <a:pos x="179" y="322"/>
                </a:cxn>
                <a:cxn ang="0">
                  <a:pos x="167" y="322"/>
                </a:cxn>
                <a:cxn ang="0">
                  <a:pos x="144" y="322"/>
                </a:cxn>
                <a:cxn ang="0">
                  <a:pos x="136" y="322"/>
                </a:cxn>
                <a:cxn ang="0">
                  <a:pos x="122" y="320"/>
                </a:cxn>
                <a:cxn ang="0">
                  <a:pos x="108" y="320"/>
                </a:cxn>
                <a:cxn ang="0">
                  <a:pos x="88" y="320"/>
                </a:cxn>
                <a:cxn ang="0">
                  <a:pos x="74" y="329"/>
                </a:cxn>
                <a:cxn ang="0">
                  <a:pos x="74" y="348"/>
                </a:cxn>
                <a:cxn ang="0">
                  <a:pos x="74" y="361"/>
                </a:cxn>
                <a:cxn ang="0">
                  <a:pos x="72" y="377"/>
                </a:cxn>
                <a:cxn ang="0">
                  <a:pos x="60" y="377"/>
                </a:cxn>
                <a:cxn ang="0">
                  <a:pos x="31" y="375"/>
                </a:cxn>
                <a:cxn ang="0">
                  <a:pos x="15" y="375"/>
                </a:cxn>
                <a:cxn ang="0">
                  <a:pos x="5" y="361"/>
                </a:cxn>
                <a:cxn ang="0">
                  <a:pos x="7" y="346"/>
                </a:cxn>
                <a:cxn ang="0">
                  <a:pos x="7" y="331"/>
                </a:cxn>
                <a:cxn ang="0">
                  <a:pos x="7" y="317"/>
                </a:cxn>
                <a:cxn ang="0">
                  <a:pos x="7" y="300"/>
                </a:cxn>
                <a:cxn ang="0">
                  <a:pos x="8" y="279"/>
                </a:cxn>
                <a:cxn ang="0">
                  <a:pos x="8" y="258"/>
                </a:cxn>
                <a:cxn ang="0">
                  <a:pos x="8" y="250"/>
                </a:cxn>
                <a:cxn ang="0">
                  <a:pos x="8" y="241"/>
                </a:cxn>
                <a:cxn ang="0">
                  <a:pos x="10" y="214"/>
                </a:cxn>
                <a:cxn ang="0">
                  <a:pos x="10" y="196"/>
                </a:cxn>
                <a:cxn ang="0">
                  <a:pos x="10" y="176"/>
                </a:cxn>
                <a:cxn ang="0">
                  <a:pos x="12" y="134"/>
                </a:cxn>
                <a:cxn ang="0">
                  <a:pos x="0" y="128"/>
                </a:cxn>
                <a:cxn ang="0">
                  <a:pos x="2" y="112"/>
                </a:cxn>
                <a:cxn ang="0">
                  <a:pos x="2" y="97"/>
                </a:cxn>
              </a:cxnLst>
              <a:rect l="0" t="0" r="r" b="b"/>
              <a:pathLst>
                <a:path w="211" h="377">
                  <a:moveTo>
                    <a:pt x="3" y="78"/>
                  </a:moveTo>
                  <a:lnTo>
                    <a:pt x="3" y="76"/>
                  </a:lnTo>
                  <a:lnTo>
                    <a:pt x="3" y="72"/>
                  </a:lnTo>
                  <a:lnTo>
                    <a:pt x="3" y="69"/>
                  </a:lnTo>
                  <a:lnTo>
                    <a:pt x="3" y="67"/>
                  </a:lnTo>
                  <a:lnTo>
                    <a:pt x="3" y="62"/>
                  </a:lnTo>
                  <a:lnTo>
                    <a:pt x="3" y="55"/>
                  </a:lnTo>
                  <a:lnTo>
                    <a:pt x="3" y="45"/>
                  </a:lnTo>
                  <a:lnTo>
                    <a:pt x="5" y="40"/>
                  </a:lnTo>
                  <a:lnTo>
                    <a:pt x="5" y="33"/>
                  </a:lnTo>
                  <a:lnTo>
                    <a:pt x="5" y="28"/>
                  </a:lnTo>
                  <a:lnTo>
                    <a:pt x="5" y="26"/>
                  </a:lnTo>
                  <a:lnTo>
                    <a:pt x="5" y="23"/>
                  </a:lnTo>
                  <a:lnTo>
                    <a:pt x="5" y="16"/>
                  </a:lnTo>
                  <a:lnTo>
                    <a:pt x="5" y="11"/>
                  </a:lnTo>
                  <a:lnTo>
                    <a:pt x="7" y="2"/>
                  </a:lnTo>
                  <a:lnTo>
                    <a:pt x="7" y="0"/>
                  </a:lnTo>
                  <a:lnTo>
                    <a:pt x="8" y="0"/>
                  </a:lnTo>
                  <a:lnTo>
                    <a:pt x="10" y="0"/>
                  </a:lnTo>
                  <a:lnTo>
                    <a:pt x="15" y="0"/>
                  </a:lnTo>
                  <a:lnTo>
                    <a:pt x="17" y="0"/>
                  </a:lnTo>
                  <a:lnTo>
                    <a:pt x="20" y="0"/>
                  </a:lnTo>
                  <a:lnTo>
                    <a:pt x="29" y="0"/>
                  </a:lnTo>
                  <a:lnTo>
                    <a:pt x="33" y="0"/>
                  </a:lnTo>
                  <a:lnTo>
                    <a:pt x="39" y="0"/>
                  </a:lnTo>
                  <a:lnTo>
                    <a:pt x="41" y="0"/>
                  </a:lnTo>
                  <a:lnTo>
                    <a:pt x="43" y="0"/>
                  </a:lnTo>
                  <a:lnTo>
                    <a:pt x="48" y="0"/>
                  </a:lnTo>
                  <a:lnTo>
                    <a:pt x="55" y="0"/>
                  </a:lnTo>
                  <a:lnTo>
                    <a:pt x="57" y="0"/>
                  </a:lnTo>
                  <a:lnTo>
                    <a:pt x="58" y="0"/>
                  </a:lnTo>
                  <a:lnTo>
                    <a:pt x="60" y="0"/>
                  </a:lnTo>
                  <a:lnTo>
                    <a:pt x="62" y="0"/>
                  </a:lnTo>
                  <a:lnTo>
                    <a:pt x="65" y="0"/>
                  </a:lnTo>
                  <a:lnTo>
                    <a:pt x="69" y="0"/>
                  </a:lnTo>
                  <a:lnTo>
                    <a:pt x="74" y="0"/>
                  </a:lnTo>
                  <a:lnTo>
                    <a:pt x="76" y="0"/>
                  </a:lnTo>
                  <a:lnTo>
                    <a:pt x="77" y="0"/>
                  </a:lnTo>
                  <a:lnTo>
                    <a:pt x="91" y="2"/>
                  </a:lnTo>
                  <a:lnTo>
                    <a:pt x="98" y="2"/>
                  </a:lnTo>
                  <a:lnTo>
                    <a:pt x="101" y="2"/>
                  </a:lnTo>
                  <a:lnTo>
                    <a:pt x="105" y="2"/>
                  </a:lnTo>
                  <a:lnTo>
                    <a:pt x="106" y="2"/>
                  </a:lnTo>
                  <a:lnTo>
                    <a:pt x="115" y="2"/>
                  </a:lnTo>
                  <a:lnTo>
                    <a:pt x="119" y="2"/>
                  </a:lnTo>
                  <a:lnTo>
                    <a:pt x="129" y="4"/>
                  </a:lnTo>
                  <a:lnTo>
                    <a:pt x="131" y="4"/>
                  </a:lnTo>
                  <a:lnTo>
                    <a:pt x="134" y="4"/>
                  </a:lnTo>
                  <a:lnTo>
                    <a:pt x="136" y="4"/>
                  </a:lnTo>
                  <a:lnTo>
                    <a:pt x="139" y="4"/>
                  </a:lnTo>
                  <a:lnTo>
                    <a:pt x="141" y="4"/>
                  </a:lnTo>
                  <a:lnTo>
                    <a:pt x="149" y="4"/>
                  </a:lnTo>
                  <a:lnTo>
                    <a:pt x="165" y="5"/>
                  </a:lnTo>
                  <a:lnTo>
                    <a:pt x="167" y="5"/>
                  </a:lnTo>
                  <a:lnTo>
                    <a:pt x="167" y="5"/>
                  </a:lnTo>
                  <a:lnTo>
                    <a:pt x="172" y="5"/>
                  </a:lnTo>
                  <a:lnTo>
                    <a:pt x="177" y="5"/>
                  </a:lnTo>
                  <a:lnTo>
                    <a:pt x="180" y="5"/>
                  </a:lnTo>
                  <a:lnTo>
                    <a:pt x="182" y="5"/>
                  </a:lnTo>
                  <a:lnTo>
                    <a:pt x="186" y="5"/>
                  </a:lnTo>
                  <a:lnTo>
                    <a:pt x="187" y="5"/>
                  </a:lnTo>
                  <a:lnTo>
                    <a:pt x="189" y="5"/>
                  </a:lnTo>
                  <a:lnTo>
                    <a:pt x="194" y="5"/>
                  </a:lnTo>
                  <a:lnTo>
                    <a:pt x="196" y="5"/>
                  </a:lnTo>
                  <a:lnTo>
                    <a:pt x="198" y="5"/>
                  </a:lnTo>
                  <a:lnTo>
                    <a:pt x="203" y="5"/>
                  </a:lnTo>
                  <a:lnTo>
                    <a:pt x="206" y="7"/>
                  </a:lnTo>
                  <a:lnTo>
                    <a:pt x="206" y="17"/>
                  </a:lnTo>
                  <a:lnTo>
                    <a:pt x="205" y="19"/>
                  </a:lnTo>
                  <a:lnTo>
                    <a:pt x="205" y="23"/>
                  </a:lnTo>
                  <a:lnTo>
                    <a:pt x="205" y="28"/>
                  </a:lnTo>
                  <a:lnTo>
                    <a:pt x="205" y="36"/>
                  </a:lnTo>
                  <a:lnTo>
                    <a:pt x="205" y="38"/>
                  </a:lnTo>
                  <a:lnTo>
                    <a:pt x="205" y="43"/>
                  </a:lnTo>
                  <a:lnTo>
                    <a:pt x="205" y="45"/>
                  </a:lnTo>
                  <a:lnTo>
                    <a:pt x="205" y="48"/>
                  </a:lnTo>
                  <a:lnTo>
                    <a:pt x="205" y="50"/>
                  </a:lnTo>
                  <a:lnTo>
                    <a:pt x="205" y="52"/>
                  </a:lnTo>
                  <a:lnTo>
                    <a:pt x="205" y="60"/>
                  </a:lnTo>
                  <a:lnTo>
                    <a:pt x="205" y="62"/>
                  </a:lnTo>
                  <a:lnTo>
                    <a:pt x="205" y="64"/>
                  </a:lnTo>
                  <a:lnTo>
                    <a:pt x="205" y="66"/>
                  </a:lnTo>
                  <a:lnTo>
                    <a:pt x="205" y="71"/>
                  </a:lnTo>
                  <a:lnTo>
                    <a:pt x="205" y="74"/>
                  </a:lnTo>
                  <a:lnTo>
                    <a:pt x="205" y="74"/>
                  </a:lnTo>
                  <a:lnTo>
                    <a:pt x="205" y="76"/>
                  </a:lnTo>
                  <a:lnTo>
                    <a:pt x="205" y="78"/>
                  </a:lnTo>
                  <a:lnTo>
                    <a:pt x="205" y="84"/>
                  </a:lnTo>
                  <a:lnTo>
                    <a:pt x="203" y="90"/>
                  </a:lnTo>
                  <a:lnTo>
                    <a:pt x="203" y="91"/>
                  </a:lnTo>
                  <a:lnTo>
                    <a:pt x="205" y="97"/>
                  </a:lnTo>
                  <a:lnTo>
                    <a:pt x="205" y="103"/>
                  </a:lnTo>
                  <a:lnTo>
                    <a:pt x="205" y="105"/>
                  </a:lnTo>
                  <a:lnTo>
                    <a:pt x="205" y="107"/>
                  </a:lnTo>
                  <a:lnTo>
                    <a:pt x="205" y="109"/>
                  </a:lnTo>
                  <a:lnTo>
                    <a:pt x="205" y="110"/>
                  </a:lnTo>
                  <a:lnTo>
                    <a:pt x="203" y="112"/>
                  </a:lnTo>
                  <a:lnTo>
                    <a:pt x="203" y="119"/>
                  </a:lnTo>
                  <a:lnTo>
                    <a:pt x="203" y="121"/>
                  </a:lnTo>
                  <a:lnTo>
                    <a:pt x="203" y="121"/>
                  </a:lnTo>
                  <a:lnTo>
                    <a:pt x="203" y="122"/>
                  </a:lnTo>
                  <a:lnTo>
                    <a:pt x="203" y="128"/>
                  </a:lnTo>
                  <a:lnTo>
                    <a:pt x="203" y="131"/>
                  </a:lnTo>
                  <a:lnTo>
                    <a:pt x="203" y="133"/>
                  </a:lnTo>
                  <a:lnTo>
                    <a:pt x="203" y="134"/>
                  </a:lnTo>
                  <a:lnTo>
                    <a:pt x="203" y="136"/>
                  </a:lnTo>
                  <a:lnTo>
                    <a:pt x="203" y="136"/>
                  </a:lnTo>
                  <a:lnTo>
                    <a:pt x="203" y="140"/>
                  </a:lnTo>
                  <a:lnTo>
                    <a:pt x="205" y="140"/>
                  </a:lnTo>
                  <a:lnTo>
                    <a:pt x="211" y="140"/>
                  </a:lnTo>
                  <a:lnTo>
                    <a:pt x="211" y="141"/>
                  </a:lnTo>
                  <a:lnTo>
                    <a:pt x="211" y="148"/>
                  </a:lnTo>
                  <a:lnTo>
                    <a:pt x="211" y="150"/>
                  </a:lnTo>
                  <a:lnTo>
                    <a:pt x="211" y="153"/>
                  </a:lnTo>
                  <a:lnTo>
                    <a:pt x="211" y="167"/>
                  </a:lnTo>
                  <a:lnTo>
                    <a:pt x="211" y="176"/>
                  </a:lnTo>
                  <a:lnTo>
                    <a:pt x="211" y="179"/>
                  </a:lnTo>
                  <a:lnTo>
                    <a:pt x="211" y="181"/>
                  </a:lnTo>
                  <a:lnTo>
                    <a:pt x="211" y="183"/>
                  </a:lnTo>
                  <a:lnTo>
                    <a:pt x="211" y="186"/>
                  </a:lnTo>
                  <a:lnTo>
                    <a:pt x="211" y="188"/>
                  </a:lnTo>
                  <a:lnTo>
                    <a:pt x="211" y="189"/>
                  </a:lnTo>
                  <a:lnTo>
                    <a:pt x="211" y="196"/>
                  </a:lnTo>
                  <a:lnTo>
                    <a:pt x="210" y="196"/>
                  </a:lnTo>
                  <a:lnTo>
                    <a:pt x="210" y="198"/>
                  </a:lnTo>
                  <a:lnTo>
                    <a:pt x="210" y="200"/>
                  </a:lnTo>
                  <a:lnTo>
                    <a:pt x="210" y="210"/>
                  </a:lnTo>
                  <a:lnTo>
                    <a:pt x="210" y="212"/>
                  </a:lnTo>
                  <a:lnTo>
                    <a:pt x="210" y="214"/>
                  </a:lnTo>
                  <a:lnTo>
                    <a:pt x="210" y="215"/>
                  </a:lnTo>
                  <a:lnTo>
                    <a:pt x="210" y="222"/>
                  </a:lnTo>
                  <a:lnTo>
                    <a:pt x="210" y="224"/>
                  </a:lnTo>
                  <a:lnTo>
                    <a:pt x="210" y="227"/>
                  </a:lnTo>
                  <a:lnTo>
                    <a:pt x="210" y="229"/>
                  </a:lnTo>
                  <a:lnTo>
                    <a:pt x="210" y="231"/>
                  </a:lnTo>
                  <a:lnTo>
                    <a:pt x="210" y="232"/>
                  </a:lnTo>
                  <a:lnTo>
                    <a:pt x="210" y="234"/>
                  </a:lnTo>
                  <a:lnTo>
                    <a:pt x="210" y="238"/>
                  </a:lnTo>
                  <a:lnTo>
                    <a:pt x="210" y="241"/>
                  </a:lnTo>
                  <a:lnTo>
                    <a:pt x="210" y="244"/>
                  </a:lnTo>
                  <a:lnTo>
                    <a:pt x="210" y="246"/>
                  </a:lnTo>
                  <a:lnTo>
                    <a:pt x="210" y="251"/>
                  </a:lnTo>
                  <a:lnTo>
                    <a:pt x="210" y="253"/>
                  </a:lnTo>
                  <a:lnTo>
                    <a:pt x="210" y="255"/>
                  </a:lnTo>
                  <a:lnTo>
                    <a:pt x="210" y="257"/>
                  </a:lnTo>
                  <a:lnTo>
                    <a:pt x="210" y="265"/>
                  </a:lnTo>
                  <a:lnTo>
                    <a:pt x="210" y="267"/>
                  </a:lnTo>
                  <a:lnTo>
                    <a:pt x="210" y="270"/>
                  </a:lnTo>
                  <a:lnTo>
                    <a:pt x="210" y="270"/>
                  </a:lnTo>
                  <a:lnTo>
                    <a:pt x="208" y="279"/>
                  </a:lnTo>
                  <a:lnTo>
                    <a:pt x="208" y="281"/>
                  </a:lnTo>
                  <a:lnTo>
                    <a:pt x="208" y="284"/>
                  </a:lnTo>
                  <a:lnTo>
                    <a:pt x="208" y="293"/>
                  </a:lnTo>
                  <a:lnTo>
                    <a:pt x="208" y="301"/>
                  </a:lnTo>
                  <a:lnTo>
                    <a:pt x="208" y="301"/>
                  </a:lnTo>
                  <a:lnTo>
                    <a:pt x="208" y="305"/>
                  </a:lnTo>
                  <a:lnTo>
                    <a:pt x="208" y="308"/>
                  </a:lnTo>
                  <a:lnTo>
                    <a:pt x="208" y="310"/>
                  </a:lnTo>
                  <a:lnTo>
                    <a:pt x="208" y="313"/>
                  </a:lnTo>
                  <a:lnTo>
                    <a:pt x="208" y="318"/>
                  </a:lnTo>
                  <a:lnTo>
                    <a:pt x="208" y="322"/>
                  </a:lnTo>
                  <a:lnTo>
                    <a:pt x="206" y="322"/>
                  </a:lnTo>
                  <a:lnTo>
                    <a:pt x="205" y="322"/>
                  </a:lnTo>
                  <a:lnTo>
                    <a:pt x="201" y="322"/>
                  </a:lnTo>
                  <a:lnTo>
                    <a:pt x="196" y="322"/>
                  </a:lnTo>
                  <a:lnTo>
                    <a:pt x="196" y="322"/>
                  </a:lnTo>
                  <a:lnTo>
                    <a:pt x="194" y="322"/>
                  </a:lnTo>
                  <a:lnTo>
                    <a:pt x="191" y="322"/>
                  </a:lnTo>
                  <a:lnTo>
                    <a:pt x="187" y="322"/>
                  </a:lnTo>
                  <a:lnTo>
                    <a:pt x="179" y="322"/>
                  </a:lnTo>
                  <a:lnTo>
                    <a:pt x="174" y="322"/>
                  </a:lnTo>
                  <a:lnTo>
                    <a:pt x="170" y="322"/>
                  </a:lnTo>
                  <a:lnTo>
                    <a:pt x="168" y="322"/>
                  </a:lnTo>
                  <a:lnTo>
                    <a:pt x="167" y="322"/>
                  </a:lnTo>
                  <a:lnTo>
                    <a:pt x="167" y="322"/>
                  </a:lnTo>
                  <a:lnTo>
                    <a:pt x="165" y="322"/>
                  </a:lnTo>
                  <a:lnTo>
                    <a:pt x="163" y="322"/>
                  </a:lnTo>
                  <a:lnTo>
                    <a:pt x="160" y="322"/>
                  </a:lnTo>
                  <a:lnTo>
                    <a:pt x="151" y="322"/>
                  </a:lnTo>
                  <a:lnTo>
                    <a:pt x="144" y="322"/>
                  </a:lnTo>
                  <a:lnTo>
                    <a:pt x="143" y="322"/>
                  </a:lnTo>
                  <a:lnTo>
                    <a:pt x="141" y="322"/>
                  </a:lnTo>
                  <a:lnTo>
                    <a:pt x="139" y="322"/>
                  </a:lnTo>
                  <a:lnTo>
                    <a:pt x="137" y="322"/>
                  </a:lnTo>
                  <a:lnTo>
                    <a:pt x="136" y="322"/>
                  </a:lnTo>
                  <a:lnTo>
                    <a:pt x="131" y="322"/>
                  </a:lnTo>
                  <a:lnTo>
                    <a:pt x="127" y="322"/>
                  </a:lnTo>
                  <a:lnTo>
                    <a:pt x="125" y="322"/>
                  </a:lnTo>
                  <a:lnTo>
                    <a:pt x="124" y="320"/>
                  </a:lnTo>
                  <a:lnTo>
                    <a:pt x="122" y="320"/>
                  </a:lnTo>
                  <a:lnTo>
                    <a:pt x="120" y="320"/>
                  </a:lnTo>
                  <a:lnTo>
                    <a:pt x="119" y="320"/>
                  </a:lnTo>
                  <a:lnTo>
                    <a:pt x="117" y="320"/>
                  </a:lnTo>
                  <a:lnTo>
                    <a:pt x="113" y="320"/>
                  </a:lnTo>
                  <a:lnTo>
                    <a:pt x="108" y="320"/>
                  </a:lnTo>
                  <a:lnTo>
                    <a:pt x="106" y="320"/>
                  </a:lnTo>
                  <a:lnTo>
                    <a:pt x="106" y="320"/>
                  </a:lnTo>
                  <a:lnTo>
                    <a:pt x="98" y="320"/>
                  </a:lnTo>
                  <a:lnTo>
                    <a:pt x="91" y="320"/>
                  </a:lnTo>
                  <a:lnTo>
                    <a:pt x="88" y="320"/>
                  </a:lnTo>
                  <a:lnTo>
                    <a:pt x="76" y="320"/>
                  </a:lnTo>
                  <a:lnTo>
                    <a:pt x="74" y="320"/>
                  </a:lnTo>
                  <a:lnTo>
                    <a:pt x="74" y="322"/>
                  </a:lnTo>
                  <a:lnTo>
                    <a:pt x="74" y="325"/>
                  </a:lnTo>
                  <a:lnTo>
                    <a:pt x="74" y="329"/>
                  </a:lnTo>
                  <a:lnTo>
                    <a:pt x="74" y="331"/>
                  </a:lnTo>
                  <a:lnTo>
                    <a:pt x="74" y="337"/>
                  </a:lnTo>
                  <a:lnTo>
                    <a:pt x="74" y="341"/>
                  </a:lnTo>
                  <a:lnTo>
                    <a:pt x="74" y="343"/>
                  </a:lnTo>
                  <a:lnTo>
                    <a:pt x="74" y="348"/>
                  </a:lnTo>
                  <a:lnTo>
                    <a:pt x="74" y="349"/>
                  </a:lnTo>
                  <a:lnTo>
                    <a:pt x="74" y="353"/>
                  </a:lnTo>
                  <a:lnTo>
                    <a:pt x="74" y="355"/>
                  </a:lnTo>
                  <a:lnTo>
                    <a:pt x="74" y="360"/>
                  </a:lnTo>
                  <a:lnTo>
                    <a:pt x="74" y="361"/>
                  </a:lnTo>
                  <a:lnTo>
                    <a:pt x="74" y="365"/>
                  </a:lnTo>
                  <a:lnTo>
                    <a:pt x="74" y="374"/>
                  </a:lnTo>
                  <a:lnTo>
                    <a:pt x="74" y="375"/>
                  </a:lnTo>
                  <a:lnTo>
                    <a:pt x="74" y="377"/>
                  </a:lnTo>
                  <a:lnTo>
                    <a:pt x="72" y="377"/>
                  </a:lnTo>
                  <a:lnTo>
                    <a:pt x="70" y="377"/>
                  </a:lnTo>
                  <a:lnTo>
                    <a:pt x="67" y="377"/>
                  </a:lnTo>
                  <a:lnTo>
                    <a:pt x="65" y="377"/>
                  </a:lnTo>
                  <a:lnTo>
                    <a:pt x="62" y="377"/>
                  </a:lnTo>
                  <a:lnTo>
                    <a:pt x="60" y="377"/>
                  </a:lnTo>
                  <a:lnTo>
                    <a:pt x="50" y="377"/>
                  </a:lnTo>
                  <a:lnTo>
                    <a:pt x="45" y="375"/>
                  </a:lnTo>
                  <a:lnTo>
                    <a:pt x="41" y="375"/>
                  </a:lnTo>
                  <a:lnTo>
                    <a:pt x="33" y="375"/>
                  </a:lnTo>
                  <a:lnTo>
                    <a:pt x="31" y="375"/>
                  </a:lnTo>
                  <a:lnTo>
                    <a:pt x="31" y="375"/>
                  </a:lnTo>
                  <a:lnTo>
                    <a:pt x="29" y="375"/>
                  </a:lnTo>
                  <a:lnTo>
                    <a:pt x="20" y="375"/>
                  </a:lnTo>
                  <a:lnTo>
                    <a:pt x="19" y="375"/>
                  </a:lnTo>
                  <a:lnTo>
                    <a:pt x="15" y="375"/>
                  </a:lnTo>
                  <a:lnTo>
                    <a:pt x="8" y="375"/>
                  </a:lnTo>
                  <a:lnTo>
                    <a:pt x="7" y="375"/>
                  </a:lnTo>
                  <a:lnTo>
                    <a:pt x="5" y="375"/>
                  </a:lnTo>
                  <a:lnTo>
                    <a:pt x="5" y="370"/>
                  </a:lnTo>
                  <a:lnTo>
                    <a:pt x="5" y="361"/>
                  </a:lnTo>
                  <a:lnTo>
                    <a:pt x="7" y="358"/>
                  </a:lnTo>
                  <a:lnTo>
                    <a:pt x="7" y="351"/>
                  </a:lnTo>
                  <a:lnTo>
                    <a:pt x="7" y="348"/>
                  </a:lnTo>
                  <a:lnTo>
                    <a:pt x="7" y="346"/>
                  </a:lnTo>
                  <a:lnTo>
                    <a:pt x="7" y="346"/>
                  </a:lnTo>
                  <a:lnTo>
                    <a:pt x="7" y="343"/>
                  </a:lnTo>
                  <a:lnTo>
                    <a:pt x="7" y="341"/>
                  </a:lnTo>
                  <a:lnTo>
                    <a:pt x="7" y="337"/>
                  </a:lnTo>
                  <a:lnTo>
                    <a:pt x="7" y="331"/>
                  </a:lnTo>
                  <a:lnTo>
                    <a:pt x="7" y="331"/>
                  </a:lnTo>
                  <a:lnTo>
                    <a:pt x="7" y="329"/>
                  </a:lnTo>
                  <a:lnTo>
                    <a:pt x="7" y="327"/>
                  </a:lnTo>
                  <a:lnTo>
                    <a:pt x="7" y="320"/>
                  </a:lnTo>
                  <a:lnTo>
                    <a:pt x="7" y="318"/>
                  </a:lnTo>
                  <a:lnTo>
                    <a:pt x="7" y="317"/>
                  </a:lnTo>
                  <a:lnTo>
                    <a:pt x="7" y="315"/>
                  </a:lnTo>
                  <a:lnTo>
                    <a:pt x="7" y="310"/>
                  </a:lnTo>
                  <a:lnTo>
                    <a:pt x="7" y="306"/>
                  </a:lnTo>
                  <a:lnTo>
                    <a:pt x="7" y="301"/>
                  </a:lnTo>
                  <a:lnTo>
                    <a:pt x="7" y="300"/>
                  </a:lnTo>
                  <a:lnTo>
                    <a:pt x="7" y="298"/>
                  </a:lnTo>
                  <a:lnTo>
                    <a:pt x="7" y="296"/>
                  </a:lnTo>
                  <a:lnTo>
                    <a:pt x="8" y="289"/>
                  </a:lnTo>
                  <a:lnTo>
                    <a:pt x="8" y="286"/>
                  </a:lnTo>
                  <a:lnTo>
                    <a:pt x="8" y="279"/>
                  </a:lnTo>
                  <a:lnTo>
                    <a:pt x="8" y="274"/>
                  </a:lnTo>
                  <a:lnTo>
                    <a:pt x="8" y="263"/>
                  </a:lnTo>
                  <a:lnTo>
                    <a:pt x="8" y="262"/>
                  </a:lnTo>
                  <a:lnTo>
                    <a:pt x="8" y="260"/>
                  </a:lnTo>
                  <a:lnTo>
                    <a:pt x="8" y="258"/>
                  </a:lnTo>
                  <a:lnTo>
                    <a:pt x="8" y="257"/>
                  </a:lnTo>
                  <a:lnTo>
                    <a:pt x="8" y="257"/>
                  </a:lnTo>
                  <a:lnTo>
                    <a:pt x="8" y="253"/>
                  </a:lnTo>
                  <a:lnTo>
                    <a:pt x="8" y="251"/>
                  </a:lnTo>
                  <a:lnTo>
                    <a:pt x="8" y="250"/>
                  </a:lnTo>
                  <a:lnTo>
                    <a:pt x="8" y="246"/>
                  </a:lnTo>
                  <a:lnTo>
                    <a:pt x="8" y="244"/>
                  </a:lnTo>
                  <a:lnTo>
                    <a:pt x="8" y="243"/>
                  </a:lnTo>
                  <a:lnTo>
                    <a:pt x="8" y="241"/>
                  </a:lnTo>
                  <a:lnTo>
                    <a:pt x="8" y="241"/>
                  </a:lnTo>
                  <a:lnTo>
                    <a:pt x="10" y="234"/>
                  </a:lnTo>
                  <a:lnTo>
                    <a:pt x="10" y="229"/>
                  </a:lnTo>
                  <a:lnTo>
                    <a:pt x="10" y="226"/>
                  </a:lnTo>
                  <a:lnTo>
                    <a:pt x="10" y="224"/>
                  </a:lnTo>
                  <a:lnTo>
                    <a:pt x="10" y="214"/>
                  </a:lnTo>
                  <a:lnTo>
                    <a:pt x="10" y="207"/>
                  </a:lnTo>
                  <a:lnTo>
                    <a:pt x="10" y="205"/>
                  </a:lnTo>
                  <a:lnTo>
                    <a:pt x="10" y="203"/>
                  </a:lnTo>
                  <a:lnTo>
                    <a:pt x="10" y="196"/>
                  </a:lnTo>
                  <a:lnTo>
                    <a:pt x="10" y="196"/>
                  </a:lnTo>
                  <a:lnTo>
                    <a:pt x="10" y="189"/>
                  </a:lnTo>
                  <a:lnTo>
                    <a:pt x="10" y="184"/>
                  </a:lnTo>
                  <a:lnTo>
                    <a:pt x="10" y="181"/>
                  </a:lnTo>
                  <a:lnTo>
                    <a:pt x="10" y="179"/>
                  </a:lnTo>
                  <a:lnTo>
                    <a:pt x="10" y="176"/>
                  </a:lnTo>
                  <a:lnTo>
                    <a:pt x="12" y="171"/>
                  </a:lnTo>
                  <a:lnTo>
                    <a:pt x="12" y="160"/>
                  </a:lnTo>
                  <a:lnTo>
                    <a:pt x="12" y="152"/>
                  </a:lnTo>
                  <a:lnTo>
                    <a:pt x="12" y="140"/>
                  </a:lnTo>
                  <a:lnTo>
                    <a:pt x="12" y="134"/>
                  </a:lnTo>
                  <a:lnTo>
                    <a:pt x="8" y="134"/>
                  </a:lnTo>
                  <a:lnTo>
                    <a:pt x="2" y="134"/>
                  </a:lnTo>
                  <a:lnTo>
                    <a:pt x="0" y="134"/>
                  </a:lnTo>
                  <a:lnTo>
                    <a:pt x="0" y="131"/>
                  </a:lnTo>
                  <a:lnTo>
                    <a:pt x="0" y="128"/>
                  </a:lnTo>
                  <a:lnTo>
                    <a:pt x="0" y="126"/>
                  </a:lnTo>
                  <a:lnTo>
                    <a:pt x="0" y="122"/>
                  </a:lnTo>
                  <a:lnTo>
                    <a:pt x="0" y="119"/>
                  </a:lnTo>
                  <a:lnTo>
                    <a:pt x="2" y="114"/>
                  </a:lnTo>
                  <a:lnTo>
                    <a:pt x="2" y="112"/>
                  </a:lnTo>
                  <a:lnTo>
                    <a:pt x="2" y="110"/>
                  </a:lnTo>
                  <a:lnTo>
                    <a:pt x="2" y="107"/>
                  </a:lnTo>
                  <a:lnTo>
                    <a:pt x="2" y="103"/>
                  </a:lnTo>
                  <a:lnTo>
                    <a:pt x="2" y="100"/>
                  </a:lnTo>
                  <a:lnTo>
                    <a:pt x="2" y="97"/>
                  </a:lnTo>
                  <a:lnTo>
                    <a:pt x="2" y="90"/>
                  </a:lnTo>
                  <a:lnTo>
                    <a:pt x="2" y="86"/>
                  </a:lnTo>
                  <a:lnTo>
                    <a:pt x="3" y="78"/>
                  </a:lnTo>
                  <a:lnTo>
                    <a:pt x="3" y="78"/>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4" name="Freeform 215"/>
            <p:cNvSpPr>
              <a:spLocks/>
            </p:cNvSpPr>
            <p:nvPr/>
          </p:nvSpPr>
          <p:spPr bwMode="auto">
            <a:xfrm>
              <a:off x="6284208" y="4317794"/>
              <a:ext cx="636588" cy="450850"/>
            </a:xfrm>
            <a:custGeom>
              <a:avLst/>
              <a:gdLst/>
              <a:ahLst/>
              <a:cxnLst>
                <a:cxn ang="0">
                  <a:pos x="401" y="90"/>
                </a:cxn>
                <a:cxn ang="0">
                  <a:pos x="401" y="115"/>
                </a:cxn>
                <a:cxn ang="0">
                  <a:pos x="401" y="138"/>
                </a:cxn>
                <a:cxn ang="0">
                  <a:pos x="391" y="150"/>
                </a:cxn>
                <a:cxn ang="0">
                  <a:pos x="368" y="151"/>
                </a:cxn>
                <a:cxn ang="0">
                  <a:pos x="344" y="150"/>
                </a:cxn>
                <a:cxn ang="0">
                  <a:pos x="305" y="148"/>
                </a:cxn>
                <a:cxn ang="0">
                  <a:pos x="305" y="174"/>
                </a:cxn>
                <a:cxn ang="0">
                  <a:pos x="305" y="194"/>
                </a:cxn>
                <a:cxn ang="0">
                  <a:pos x="310" y="217"/>
                </a:cxn>
                <a:cxn ang="0">
                  <a:pos x="324" y="217"/>
                </a:cxn>
                <a:cxn ang="0">
                  <a:pos x="348" y="219"/>
                </a:cxn>
                <a:cxn ang="0">
                  <a:pos x="368" y="232"/>
                </a:cxn>
                <a:cxn ang="0">
                  <a:pos x="368" y="255"/>
                </a:cxn>
                <a:cxn ang="0">
                  <a:pos x="358" y="284"/>
                </a:cxn>
                <a:cxn ang="0">
                  <a:pos x="329" y="284"/>
                </a:cxn>
                <a:cxn ang="0">
                  <a:pos x="310" y="284"/>
                </a:cxn>
                <a:cxn ang="0">
                  <a:pos x="286" y="284"/>
                </a:cxn>
                <a:cxn ang="0">
                  <a:pos x="265" y="284"/>
                </a:cxn>
                <a:cxn ang="0">
                  <a:pos x="248" y="284"/>
                </a:cxn>
                <a:cxn ang="0">
                  <a:pos x="238" y="284"/>
                </a:cxn>
                <a:cxn ang="0">
                  <a:pos x="226" y="284"/>
                </a:cxn>
                <a:cxn ang="0">
                  <a:pos x="203" y="284"/>
                </a:cxn>
                <a:cxn ang="0">
                  <a:pos x="179" y="284"/>
                </a:cxn>
                <a:cxn ang="0">
                  <a:pos x="155" y="282"/>
                </a:cxn>
                <a:cxn ang="0">
                  <a:pos x="136" y="282"/>
                </a:cxn>
                <a:cxn ang="0">
                  <a:pos x="112" y="282"/>
                </a:cxn>
                <a:cxn ang="0">
                  <a:pos x="95" y="282"/>
                </a:cxn>
                <a:cxn ang="0">
                  <a:pos x="62" y="282"/>
                </a:cxn>
                <a:cxn ang="0">
                  <a:pos x="38" y="282"/>
                </a:cxn>
                <a:cxn ang="0">
                  <a:pos x="37" y="267"/>
                </a:cxn>
                <a:cxn ang="0">
                  <a:pos x="35" y="250"/>
                </a:cxn>
                <a:cxn ang="0">
                  <a:pos x="35" y="225"/>
                </a:cxn>
                <a:cxn ang="0">
                  <a:pos x="35" y="206"/>
                </a:cxn>
                <a:cxn ang="0">
                  <a:pos x="35" y="170"/>
                </a:cxn>
                <a:cxn ang="0">
                  <a:pos x="35" y="148"/>
                </a:cxn>
                <a:cxn ang="0">
                  <a:pos x="0" y="148"/>
                </a:cxn>
                <a:cxn ang="0">
                  <a:pos x="0" y="112"/>
                </a:cxn>
                <a:cxn ang="0">
                  <a:pos x="0" y="69"/>
                </a:cxn>
                <a:cxn ang="0">
                  <a:pos x="0" y="43"/>
                </a:cxn>
                <a:cxn ang="0">
                  <a:pos x="0" y="12"/>
                </a:cxn>
                <a:cxn ang="0">
                  <a:pos x="24" y="0"/>
                </a:cxn>
                <a:cxn ang="0">
                  <a:pos x="47" y="0"/>
                </a:cxn>
                <a:cxn ang="0">
                  <a:pos x="76" y="0"/>
                </a:cxn>
                <a:cxn ang="0">
                  <a:pos x="104" y="0"/>
                </a:cxn>
                <a:cxn ang="0">
                  <a:pos x="136" y="0"/>
                </a:cxn>
                <a:cxn ang="0">
                  <a:pos x="171" y="0"/>
                </a:cxn>
                <a:cxn ang="0">
                  <a:pos x="212" y="0"/>
                </a:cxn>
                <a:cxn ang="0">
                  <a:pos x="239" y="0"/>
                </a:cxn>
                <a:cxn ang="0">
                  <a:pos x="279" y="0"/>
                </a:cxn>
                <a:cxn ang="0">
                  <a:pos x="305" y="28"/>
                </a:cxn>
                <a:cxn ang="0">
                  <a:pos x="305" y="59"/>
                </a:cxn>
                <a:cxn ang="0">
                  <a:pos x="341" y="67"/>
                </a:cxn>
                <a:cxn ang="0">
                  <a:pos x="363" y="67"/>
                </a:cxn>
                <a:cxn ang="0">
                  <a:pos x="387" y="67"/>
                </a:cxn>
              </a:cxnLst>
              <a:rect l="0" t="0" r="r" b="b"/>
              <a:pathLst>
                <a:path w="401" h="284">
                  <a:moveTo>
                    <a:pt x="401" y="67"/>
                  </a:moveTo>
                  <a:lnTo>
                    <a:pt x="401" y="69"/>
                  </a:lnTo>
                  <a:lnTo>
                    <a:pt x="401" y="71"/>
                  </a:lnTo>
                  <a:lnTo>
                    <a:pt x="401" y="72"/>
                  </a:lnTo>
                  <a:lnTo>
                    <a:pt x="401" y="76"/>
                  </a:lnTo>
                  <a:lnTo>
                    <a:pt x="401" y="84"/>
                  </a:lnTo>
                  <a:lnTo>
                    <a:pt x="401" y="90"/>
                  </a:lnTo>
                  <a:lnTo>
                    <a:pt x="401" y="98"/>
                  </a:lnTo>
                  <a:lnTo>
                    <a:pt x="401" y="103"/>
                  </a:lnTo>
                  <a:lnTo>
                    <a:pt x="401" y="105"/>
                  </a:lnTo>
                  <a:lnTo>
                    <a:pt x="401" y="107"/>
                  </a:lnTo>
                  <a:lnTo>
                    <a:pt x="401" y="110"/>
                  </a:lnTo>
                  <a:lnTo>
                    <a:pt x="401" y="115"/>
                  </a:lnTo>
                  <a:lnTo>
                    <a:pt x="401" y="115"/>
                  </a:lnTo>
                  <a:lnTo>
                    <a:pt x="401" y="119"/>
                  </a:lnTo>
                  <a:lnTo>
                    <a:pt x="401" y="122"/>
                  </a:lnTo>
                  <a:lnTo>
                    <a:pt x="401" y="129"/>
                  </a:lnTo>
                  <a:lnTo>
                    <a:pt x="401" y="131"/>
                  </a:lnTo>
                  <a:lnTo>
                    <a:pt x="401" y="134"/>
                  </a:lnTo>
                  <a:lnTo>
                    <a:pt x="401" y="136"/>
                  </a:lnTo>
                  <a:lnTo>
                    <a:pt x="401" y="138"/>
                  </a:lnTo>
                  <a:lnTo>
                    <a:pt x="401" y="145"/>
                  </a:lnTo>
                  <a:lnTo>
                    <a:pt x="401" y="146"/>
                  </a:lnTo>
                  <a:lnTo>
                    <a:pt x="401" y="148"/>
                  </a:lnTo>
                  <a:lnTo>
                    <a:pt x="401" y="150"/>
                  </a:lnTo>
                  <a:lnTo>
                    <a:pt x="396" y="150"/>
                  </a:lnTo>
                  <a:lnTo>
                    <a:pt x="393" y="150"/>
                  </a:lnTo>
                  <a:lnTo>
                    <a:pt x="391" y="150"/>
                  </a:lnTo>
                  <a:lnTo>
                    <a:pt x="389" y="150"/>
                  </a:lnTo>
                  <a:lnTo>
                    <a:pt x="387" y="150"/>
                  </a:lnTo>
                  <a:lnTo>
                    <a:pt x="384" y="150"/>
                  </a:lnTo>
                  <a:lnTo>
                    <a:pt x="379" y="150"/>
                  </a:lnTo>
                  <a:lnTo>
                    <a:pt x="377" y="150"/>
                  </a:lnTo>
                  <a:lnTo>
                    <a:pt x="374" y="150"/>
                  </a:lnTo>
                  <a:lnTo>
                    <a:pt x="368" y="151"/>
                  </a:lnTo>
                  <a:lnTo>
                    <a:pt x="367" y="151"/>
                  </a:lnTo>
                  <a:lnTo>
                    <a:pt x="365" y="151"/>
                  </a:lnTo>
                  <a:lnTo>
                    <a:pt x="362" y="150"/>
                  </a:lnTo>
                  <a:lnTo>
                    <a:pt x="355" y="150"/>
                  </a:lnTo>
                  <a:lnTo>
                    <a:pt x="350" y="150"/>
                  </a:lnTo>
                  <a:lnTo>
                    <a:pt x="346" y="150"/>
                  </a:lnTo>
                  <a:lnTo>
                    <a:pt x="344" y="150"/>
                  </a:lnTo>
                  <a:lnTo>
                    <a:pt x="336" y="150"/>
                  </a:lnTo>
                  <a:lnTo>
                    <a:pt x="334" y="150"/>
                  </a:lnTo>
                  <a:lnTo>
                    <a:pt x="325" y="148"/>
                  </a:lnTo>
                  <a:lnTo>
                    <a:pt x="324" y="148"/>
                  </a:lnTo>
                  <a:lnTo>
                    <a:pt x="317" y="148"/>
                  </a:lnTo>
                  <a:lnTo>
                    <a:pt x="315" y="148"/>
                  </a:lnTo>
                  <a:lnTo>
                    <a:pt x="305" y="148"/>
                  </a:lnTo>
                  <a:lnTo>
                    <a:pt x="305" y="160"/>
                  </a:lnTo>
                  <a:lnTo>
                    <a:pt x="305" y="160"/>
                  </a:lnTo>
                  <a:lnTo>
                    <a:pt x="305" y="162"/>
                  </a:lnTo>
                  <a:lnTo>
                    <a:pt x="305" y="163"/>
                  </a:lnTo>
                  <a:lnTo>
                    <a:pt x="305" y="167"/>
                  </a:lnTo>
                  <a:lnTo>
                    <a:pt x="305" y="169"/>
                  </a:lnTo>
                  <a:lnTo>
                    <a:pt x="305" y="174"/>
                  </a:lnTo>
                  <a:lnTo>
                    <a:pt x="305" y="176"/>
                  </a:lnTo>
                  <a:lnTo>
                    <a:pt x="305" y="177"/>
                  </a:lnTo>
                  <a:lnTo>
                    <a:pt x="305" y="181"/>
                  </a:lnTo>
                  <a:lnTo>
                    <a:pt x="305" y="189"/>
                  </a:lnTo>
                  <a:lnTo>
                    <a:pt x="305" y="189"/>
                  </a:lnTo>
                  <a:lnTo>
                    <a:pt x="305" y="193"/>
                  </a:lnTo>
                  <a:lnTo>
                    <a:pt x="305" y="194"/>
                  </a:lnTo>
                  <a:lnTo>
                    <a:pt x="305" y="198"/>
                  </a:lnTo>
                  <a:lnTo>
                    <a:pt x="305" y="201"/>
                  </a:lnTo>
                  <a:lnTo>
                    <a:pt x="305" y="205"/>
                  </a:lnTo>
                  <a:lnTo>
                    <a:pt x="305" y="206"/>
                  </a:lnTo>
                  <a:lnTo>
                    <a:pt x="305" y="212"/>
                  </a:lnTo>
                  <a:lnTo>
                    <a:pt x="305" y="217"/>
                  </a:lnTo>
                  <a:lnTo>
                    <a:pt x="310" y="217"/>
                  </a:lnTo>
                  <a:lnTo>
                    <a:pt x="313" y="217"/>
                  </a:lnTo>
                  <a:lnTo>
                    <a:pt x="315" y="217"/>
                  </a:lnTo>
                  <a:lnTo>
                    <a:pt x="317" y="217"/>
                  </a:lnTo>
                  <a:lnTo>
                    <a:pt x="317" y="217"/>
                  </a:lnTo>
                  <a:lnTo>
                    <a:pt x="320" y="217"/>
                  </a:lnTo>
                  <a:lnTo>
                    <a:pt x="322" y="217"/>
                  </a:lnTo>
                  <a:lnTo>
                    <a:pt x="324" y="217"/>
                  </a:lnTo>
                  <a:lnTo>
                    <a:pt x="327" y="217"/>
                  </a:lnTo>
                  <a:lnTo>
                    <a:pt x="329" y="217"/>
                  </a:lnTo>
                  <a:lnTo>
                    <a:pt x="336" y="217"/>
                  </a:lnTo>
                  <a:lnTo>
                    <a:pt x="338" y="217"/>
                  </a:lnTo>
                  <a:lnTo>
                    <a:pt x="343" y="217"/>
                  </a:lnTo>
                  <a:lnTo>
                    <a:pt x="344" y="217"/>
                  </a:lnTo>
                  <a:lnTo>
                    <a:pt x="348" y="219"/>
                  </a:lnTo>
                  <a:lnTo>
                    <a:pt x="355" y="219"/>
                  </a:lnTo>
                  <a:lnTo>
                    <a:pt x="358" y="219"/>
                  </a:lnTo>
                  <a:lnTo>
                    <a:pt x="363" y="219"/>
                  </a:lnTo>
                  <a:lnTo>
                    <a:pt x="368" y="219"/>
                  </a:lnTo>
                  <a:lnTo>
                    <a:pt x="368" y="220"/>
                  </a:lnTo>
                  <a:lnTo>
                    <a:pt x="368" y="222"/>
                  </a:lnTo>
                  <a:lnTo>
                    <a:pt x="368" y="232"/>
                  </a:lnTo>
                  <a:lnTo>
                    <a:pt x="368" y="237"/>
                  </a:lnTo>
                  <a:lnTo>
                    <a:pt x="368" y="243"/>
                  </a:lnTo>
                  <a:lnTo>
                    <a:pt x="368" y="248"/>
                  </a:lnTo>
                  <a:lnTo>
                    <a:pt x="368" y="250"/>
                  </a:lnTo>
                  <a:lnTo>
                    <a:pt x="368" y="251"/>
                  </a:lnTo>
                  <a:lnTo>
                    <a:pt x="368" y="253"/>
                  </a:lnTo>
                  <a:lnTo>
                    <a:pt x="368" y="255"/>
                  </a:lnTo>
                  <a:lnTo>
                    <a:pt x="368" y="256"/>
                  </a:lnTo>
                  <a:lnTo>
                    <a:pt x="368" y="263"/>
                  </a:lnTo>
                  <a:lnTo>
                    <a:pt x="368" y="280"/>
                  </a:lnTo>
                  <a:lnTo>
                    <a:pt x="368" y="284"/>
                  </a:lnTo>
                  <a:lnTo>
                    <a:pt x="365" y="284"/>
                  </a:lnTo>
                  <a:lnTo>
                    <a:pt x="363" y="284"/>
                  </a:lnTo>
                  <a:lnTo>
                    <a:pt x="358" y="284"/>
                  </a:lnTo>
                  <a:lnTo>
                    <a:pt x="351" y="284"/>
                  </a:lnTo>
                  <a:lnTo>
                    <a:pt x="346" y="284"/>
                  </a:lnTo>
                  <a:lnTo>
                    <a:pt x="344" y="284"/>
                  </a:lnTo>
                  <a:lnTo>
                    <a:pt x="341" y="284"/>
                  </a:lnTo>
                  <a:lnTo>
                    <a:pt x="336" y="284"/>
                  </a:lnTo>
                  <a:lnTo>
                    <a:pt x="332" y="284"/>
                  </a:lnTo>
                  <a:lnTo>
                    <a:pt x="329" y="284"/>
                  </a:lnTo>
                  <a:lnTo>
                    <a:pt x="325" y="284"/>
                  </a:lnTo>
                  <a:lnTo>
                    <a:pt x="324" y="284"/>
                  </a:lnTo>
                  <a:lnTo>
                    <a:pt x="320" y="284"/>
                  </a:lnTo>
                  <a:lnTo>
                    <a:pt x="317" y="284"/>
                  </a:lnTo>
                  <a:lnTo>
                    <a:pt x="313" y="284"/>
                  </a:lnTo>
                  <a:lnTo>
                    <a:pt x="312" y="284"/>
                  </a:lnTo>
                  <a:lnTo>
                    <a:pt x="310" y="284"/>
                  </a:lnTo>
                  <a:lnTo>
                    <a:pt x="307" y="284"/>
                  </a:lnTo>
                  <a:lnTo>
                    <a:pt x="305" y="284"/>
                  </a:lnTo>
                  <a:lnTo>
                    <a:pt x="300" y="284"/>
                  </a:lnTo>
                  <a:lnTo>
                    <a:pt x="295" y="284"/>
                  </a:lnTo>
                  <a:lnTo>
                    <a:pt x="291" y="284"/>
                  </a:lnTo>
                  <a:lnTo>
                    <a:pt x="288" y="284"/>
                  </a:lnTo>
                  <a:lnTo>
                    <a:pt x="286" y="284"/>
                  </a:lnTo>
                  <a:lnTo>
                    <a:pt x="284" y="284"/>
                  </a:lnTo>
                  <a:lnTo>
                    <a:pt x="282" y="284"/>
                  </a:lnTo>
                  <a:lnTo>
                    <a:pt x="279" y="284"/>
                  </a:lnTo>
                  <a:lnTo>
                    <a:pt x="272" y="284"/>
                  </a:lnTo>
                  <a:lnTo>
                    <a:pt x="270" y="284"/>
                  </a:lnTo>
                  <a:lnTo>
                    <a:pt x="267" y="284"/>
                  </a:lnTo>
                  <a:lnTo>
                    <a:pt x="265" y="284"/>
                  </a:lnTo>
                  <a:lnTo>
                    <a:pt x="260" y="284"/>
                  </a:lnTo>
                  <a:lnTo>
                    <a:pt x="258" y="284"/>
                  </a:lnTo>
                  <a:lnTo>
                    <a:pt x="257" y="284"/>
                  </a:lnTo>
                  <a:lnTo>
                    <a:pt x="255" y="284"/>
                  </a:lnTo>
                  <a:lnTo>
                    <a:pt x="252" y="284"/>
                  </a:lnTo>
                  <a:lnTo>
                    <a:pt x="250" y="284"/>
                  </a:lnTo>
                  <a:lnTo>
                    <a:pt x="248" y="284"/>
                  </a:lnTo>
                  <a:lnTo>
                    <a:pt x="246" y="284"/>
                  </a:lnTo>
                  <a:lnTo>
                    <a:pt x="245" y="284"/>
                  </a:lnTo>
                  <a:lnTo>
                    <a:pt x="243" y="284"/>
                  </a:lnTo>
                  <a:lnTo>
                    <a:pt x="243" y="284"/>
                  </a:lnTo>
                  <a:lnTo>
                    <a:pt x="241" y="284"/>
                  </a:lnTo>
                  <a:lnTo>
                    <a:pt x="239" y="284"/>
                  </a:lnTo>
                  <a:lnTo>
                    <a:pt x="238" y="284"/>
                  </a:lnTo>
                  <a:lnTo>
                    <a:pt x="236" y="284"/>
                  </a:lnTo>
                  <a:lnTo>
                    <a:pt x="234" y="284"/>
                  </a:lnTo>
                  <a:lnTo>
                    <a:pt x="233" y="284"/>
                  </a:lnTo>
                  <a:lnTo>
                    <a:pt x="231" y="284"/>
                  </a:lnTo>
                  <a:lnTo>
                    <a:pt x="227" y="284"/>
                  </a:lnTo>
                  <a:lnTo>
                    <a:pt x="227" y="284"/>
                  </a:lnTo>
                  <a:lnTo>
                    <a:pt x="226" y="284"/>
                  </a:lnTo>
                  <a:lnTo>
                    <a:pt x="222" y="284"/>
                  </a:lnTo>
                  <a:lnTo>
                    <a:pt x="219" y="284"/>
                  </a:lnTo>
                  <a:lnTo>
                    <a:pt x="215" y="284"/>
                  </a:lnTo>
                  <a:lnTo>
                    <a:pt x="214" y="284"/>
                  </a:lnTo>
                  <a:lnTo>
                    <a:pt x="212" y="284"/>
                  </a:lnTo>
                  <a:lnTo>
                    <a:pt x="210" y="284"/>
                  </a:lnTo>
                  <a:lnTo>
                    <a:pt x="203" y="284"/>
                  </a:lnTo>
                  <a:lnTo>
                    <a:pt x="196" y="284"/>
                  </a:lnTo>
                  <a:lnTo>
                    <a:pt x="196" y="284"/>
                  </a:lnTo>
                  <a:lnTo>
                    <a:pt x="193" y="284"/>
                  </a:lnTo>
                  <a:lnTo>
                    <a:pt x="191" y="284"/>
                  </a:lnTo>
                  <a:lnTo>
                    <a:pt x="188" y="284"/>
                  </a:lnTo>
                  <a:lnTo>
                    <a:pt x="181" y="284"/>
                  </a:lnTo>
                  <a:lnTo>
                    <a:pt x="179" y="284"/>
                  </a:lnTo>
                  <a:lnTo>
                    <a:pt x="174" y="282"/>
                  </a:lnTo>
                  <a:lnTo>
                    <a:pt x="172" y="282"/>
                  </a:lnTo>
                  <a:lnTo>
                    <a:pt x="171" y="282"/>
                  </a:lnTo>
                  <a:lnTo>
                    <a:pt x="164" y="282"/>
                  </a:lnTo>
                  <a:lnTo>
                    <a:pt x="162" y="282"/>
                  </a:lnTo>
                  <a:lnTo>
                    <a:pt x="159" y="282"/>
                  </a:lnTo>
                  <a:lnTo>
                    <a:pt x="155" y="282"/>
                  </a:lnTo>
                  <a:lnTo>
                    <a:pt x="152" y="282"/>
                  </a:lnTo>
                  <a:lnTo>
                    <a:pt x="152" y="282"/>
                  </a:lnTo>
                  <a:lnTo>
                    <a:pt x="150" y="282"/>
                  </a:lnTo>
                  <a:lnTo>
                    <a:pt x="147" y="282"/>
                  </a:lnTo>
                  <a:lnTo>
                    <a:pt x="138" y="282"/>
                  </a:lnTo>
                  <a:lnTo>
                    <a:pt x="136" y="282"/>
                  </a:lnTo>
                  <a:lnTo>
                    <a:pt x="136" y="282"/>
                  </a:lnTo>
                  <a:lnTo>
                    <a:pt x="129" y="282"/>
                  </a:lnTo>
                  <a:lnTo>
                    <a:pt x="128" y="282"/>
                  </a:lnTo>
                  <a:lnTo>
                    <a:pt x="126" y="282"/>
                  </a:lnTo>
                  <a:lnTo>
                    <a:pt x="123" y="282"/>
                  </a:lnTo>
                  <a:lnTo>
                    <a:pt x="123" y="282"/>
                  </a:lnTo>
                  <a:lnTo>
                    <a:pt x="116" y="282"/>
                  </a:lnTo>
                  <a:lnTo>
                    <a:pt x="112" y="282"/>
                  </a:lnTo>
                  <a:lnTo>
                    <a:pt x="107" y="282"/>
                  </a:lnTo>
                  <a:lnTo>
                    <a:pt x="107" y="282"/>
                  </a:lnTo>
                  <a:lnTo>
                    <a:pt x="104" y="282"/>
                  </a:lnTo>
                  <a:lnTo>
                    <a:pt x="102" y="282"/>
                  </a:lnTo>
                  <a:lnTo>
                    <a:pt x="98" y="282"/>
                  </a:lnTo>
                  <a:lnTo>
                    <a:pt x="97" y="282"/>
                  </a:lnTo>
                  <a:lnTo>
                    <a:pt x="95" y="282"/>
                  </a:lnTo>
                  <a:lnTo>
                    <a:pt x="93" y="282"/>
                  </a:lnTo>
                  <a:lnTo>
                    <a:pt x="86" y="282"/>
                  </a:lnTo>
                  <a:lnTo>
                    <a:pt x="81" y="282"/>
                  </a:lnTo>
                  <a:lnTo>
                    <a:pt x="78" y="282"/>
                  </a:lnTo>
                  <a:lnTo>
                    <a:pt x="76" y="282"/>
                  </a:lnTo>
                  <a:lnTo>
                    <a:pt x="66" y="282"/>
                  </a:lnTo>
                  <a:lnTo>
                    <a:pt x="62" y="282"/>
                  </a:lnTo>
                  <a:lnTo>
                    <a:pt x="61" y="282"/>
                  </a:lnTo>
                  <a:lnTo>
                    <a:pt x="55" y="282"/>
                  </a:lnTo>
                  <a:lnTo>
                    <a:pt x="45" y="282"/>
                  </a:lnTo>
                  <a:lnTo>
                    <a:pt x="43" y="282"/>
                  </a:lnTo>
                  <a:lnTo>
                    <a:pt x="42" y="282"/>
                  </a:lnTo>
                  <a:lnTo>
                    <a:pt x="40" y="282"/>
                  </a:lnTo>
                  <a:lnTo>
                    <a:pt x="38" y="282"/>
                  </a:lnTo>
                  <a:lnTo>
                    <a:pt x="37" y="282"/>
                  </a:lnTo>
                  <a:lnTo>
                    <a:pt x="37" y="280"/>
                  </a:lnTo>
                  <a:lnTo>
                    <a:pt x="37" y="280"/>
                  </a:lnTo>
                  <a:lnTo>
                    <a:pt x="37" y="279"/>
                  </a:lnTo>
                  <a:lnTo>
                    <a:pt x="37" y="272"/>
                  </a:lnTo>
                  <a:lnTo>
                    <a:pt x="37" y="268"/>
                  </a:lnTo>
                  <a:lnTo>
                    <a:pt x="37" y="267"/>
                  </a:lnTo>
                  <a:lnTo>
                    <a:pt x="37" y="263"/>
                  </a:lnTo>
                  <a:lnTo>
                    <a:pt x="37" y="262"/>
                  </a:lnTo>
                  <a:lnTo>
                    <a:pt x="37" y="260"/>
                  </a:lnTo>
                  <a:lnTo>
                    <a:pt x="35" y="256"/>
                  </a:lnTo>
                  <a:lnTo>
                    <a:pt x="35" y="255"/>
                  </a:lnTo>
                  <a:lnTo>
                    <a:pt x="35" y="251"/>
                  </a:lnTo>
                  <a:lnTo>
                    <a:pt x="35" y="250"/>
                  </a:lnTo>
                  <a:lnTo>
                    <a:pt x="35" y="248"/>
                  </a:lnTo>
                  <a:lnTo>
                    <a:pt x="35" y="243"/>
                  </a:lnTo>
                  <a:lnTo>
                    <a:pt x="35" y="241"/>
                  </a:lnTo>
                  <a:lnTo>
                    <a:pt x="35" y="239"/>
                  </a:lnTo>
                  <a:lnTo>
                    <a:pt x="35" y="236"/>
                  </a:lnTo>
                  <a:lnTo>
                    <a:pt x="35" y="232"/>
                  </a:lnTo>
                  <a:lnTo>
                    <a:pt x="35" y="225"/>
                  </a:lnTo>
                  <a:lnTo>
                    <a:pt x="35" y="224"/>
                  </a:lnTo>
                  <a:lnTo>
                    <a:pt x="35" y="220"/>
                  </a:lnTo>
                  <a:lnTo>
                    <a:pt x="35" y="217"/>
                  </a:lnTo>
                  <a:lnTo>
                    <a:pt x="35" y="213"/>
                  </a:lnTo>
                  <a:lnTo>
                    <a:pt x="35" y="210"/>
                  </a:lnTo>
                  <a:lnTo>
                    <a:pt x="35" y="208"/>
                  </a:lnTo>
                  <a:lnTo>
                    <a:pt x="35" y="206"/>
                  </a:lnTo>
                  <a:lnTo>
                    <a:pt x="35" y="201"/>
                  </a:lnTo>
                  <a:lnTo>
                    <a:pt x="35" y="193"/>
                  </a:lnTo>
                  <a:lnTo>
                    <a:pt x="35" y="176"/>
                  </a:lnTo>
                  <a:lnTo>
                    <a:pt x="35" y="176"/>
                  </a:lnTo>
                  <a:lnTo>
                    <a:pt x="35" y="174"/>
                  </a:lnTo>
                  <a:lnTo>
                    <a:pt x="35" y="172"/>
                  </a:lnTo>
                  <a:lnTo>
                    <a:pt x="35" y="170"/>
                  </a:lnTo>
                  <a:lnTo>
                    <a:pt x="35" y="165"/>
                  </a:lnTo>
                  <a:lnTo>
                    <a:pt x="35" y="160"/>
                  </a:lnTo>
                  <a:lnTo>
                    <a:pt x="35" y="158"/>
                  </a:lnTo>
                  <a:lnTo>
                    <a:pt x="35" y="153"/>
                  </a:lnTo>
                  <a:lnTo>
                    <a:pt x="35" y="151"/>
                  </a:lnTo>
                  <a:lnTo>
                    <a:pt x="35" y="150"/>
                  </a:lnTo>
                  <a:lnTo>
                    <a:pt x="35" y="148"/>
                  </a:lnTo>
                  <a:lnTo>
                    <a:pt x="33" y="148"/>
                  </a:lnTo>
                  <a:lnTo>
                    <a:pt x="26" y="148"/>
                  </a:lnTo>
                  <a:lnTo>
                    <a:pt x="23" y="148"/>
                  </a:lnTo>
                  <a:lnTo>
                    <a:pt x="18" y="148"/>
                  </a:lnTo>
                  <a:lnTo>
                    <a:pt x="14" y="148"/>
                  </a:lnTo>
                  <a:lnTo>
                    <a:pt x="6" y="148"/>
                  </a:lnTo>
                  <a:lnTo>
                    <a:pt x="0" y="148"/>
                  </a:lnTo>
                  <a:lnTo>
                    <a:pt x="0" y="146"/>
                  </a:lnTo>
                  <a:lnTo>
                    <a:pt x="0" y="143"/>
                  </a:lnTo>
                  <a:lnTo>
                    <a:pt x="0" y="136"/>
                  </a:lnTo>
                  <a:lnTo>
                    <a:pt x="0" y="129"/>
                  </a:lnTo>
                  <a:lnTo>
                    <a:pt x="0" y="124"/>
                  </a:lnTo>
                  <a:lnTo>
                    <a:pt x="0" y="115"/>
                  </a:lnTo>
                  <a:lnTo>
                    <a:pt x="0" y="112"/>
                  </a:lnTo>
                  <a:lnTo>
                    <a:pt x="0" y="108"/>
                  </a:lnTo>
                  <a:lnTo>
                    <a:pt x="0" y="105"/>
                  </a:lnTo>
                  <a:lnTo>
                    <a:pt x="0" y="91"/>
                  </a:lnTo>
                  <a:lnTo>
                    <a:pt x="0" y="90"/>
                  </a:lnTo>
                  <a:lnTo>
                    <a:pt x="0" y="88"/>
                  </a:lnTo>
                  <a:lnTo>
                    <a:pt x="0" y="76"/>
                  </a:lnTo>
                  <a:lnTo>
                    <a:pt x="0" y="69"/>
                  </a:lnTo>
                  <a:lnTo>
                    <a:pt x="0" y="69"/>
                  </a:lnTo>
                  <a:lnTo>
                    <a:pt x="0" y="57"/>
                  </a:lnTo>
                  <a:lnTo>
                    <a:pt x="0" y="55"/>
                  </a:lnTo>
                  <a:lnTo>
                    <a:pt x="0" y="55"/>
                  </a:lnTo>
                  <a:lnTo>
                    <a:pt x="0" y="52"/>
                  </a:lnTo>
                  <a:lnTo>
                    <a:pt x="0" y="50"/>
                  </a:lnTo>
                  <a:lnTo>
                    <a:pt x="0" y="43"/>
                  </a:lnTo>
                  <a:lnTo>
                    <a:pt x="0" y="40"/>
                  </a:lnTo>
                  <a:lnTo>
                    <a:pt x="0" y="38"/>
                  </a:lnTo>
                  <a:lnTo>
                    <a:pt x="0" y="33"/>
                  </a:lnTo>
                  <a:lnTo>
                    <a:pt x="0" y="26"/>
                  </a:lnTo>
                  <a:lnTo>
                    <a:pt x="0" y="24"/>
                  </a:lnTo>
                  <a:lnTo>
                    <a:pt x="0" y="24"/>
                  </a:lnTo>
                  <a:lnTo>
                    <a:pt x="0" y="12"/>
                  </a:lnTo>
                  <a:lnTo>
                    <a:pt x="0" y="9"/>
                  </a:lnTo>
                  <a:lnTo>
                    <a:pt x="0" y="9"/>
                  </a:lnTo>
                  <a:lnTo>
                    <a:pt x="0" y="2"/>
                  </a:lnTo>
                  <a:lnTo>
                    <a:pt x="9" y="0"/>
                  </a:lnTo>
                  <a:lnTo>
                    <a:pt x="16" y="0"/>
                  </a:lnTo>
                  <a:lnTo>
                    <a:pt x="23" y="0"/>
                  </a:lnTo>
                  <a:lnTo>
                    <a:pt x="24" y="0"/>
                  </a:lnTo>
                  <a:lnTo>
                    <a:pt x="26" y="0"/>
                  </a:lnTo>
                  <a:lnTo>
                    <a:pt x="28" y="0"/>
                  </a:lnTo>
                  <a:lnTo>
                    <a:pt x="31" y="0"/>
                  </a:lnTo>
                  <a:lnTo>
                    <a:pt x="31" y="0"/>
                  </a:lnTo>
                  <a:lnTo>
                    <a:pt x="35" y="0"/>
                  </a:lnTo>
                  <a:lnTo>
                    <a:pt x="42" y="0"/>
                  </a:lnTo>
                  <a:lnTo>
                    <a:pt x="47" y="0"/>
                  </a:lnTo>
                  <a:lnTo>
                    <a:pt x="47" y="0"/>
                  </a:lnTo>
                  <a:lnTo>
                    <a:pt x="49" y="0"/>
                  </a:lnTo>
                  <a:lnTo>
                    <a:pt x="50" y="0"/>
                  </a:lnTo>
                  <a:lnTo>
                    <a:pt x="59" y="0"/>
                  </a:lnTo>
                  <a:lnTo>
                    <a:pt x="62" y="0"/>
                  </a:lnTo>
                  <a:lnTo>
                    <a:pt x="71" y="0"/>
                  </a:lnTo>
                  <a:lnTo>
                    <a:pt x="76" y="0"/>
                  </a:lnTo>
                  <a:lnTo>
                    <a:pt x="78" y="0"/>
                  </a:lnTo>
                  <a:lnTo>
                    <a:pt x="83" y="0"/>
                  </a:lnTo>
                  <a:lnTo>
                    <a:pt x="88" y="0"/>
                  </a:lnTo>
                  <a:lnTo>
                    <a:pt x="90" y="0"/>
                  </a:lnTo>
                  <a:lnTo>
                    <a:pt x="92" y="0"/>
                  </a:lnTo>
                  <a:lnTo>
                    <a:pt x="92" y="0"/>
                  </a:lnTo>
                  <a:lnTo>
                    <a:pt x="104" y="0"/>
                  </a:lnTo>
                  <a:lnTo>
                    <a:pt x="112" y="0"/>
                  </a:lnTo>
                  <a:lnTo>
                    <a:pt x="116" y="0"/>
                  </a:lnTo>
                  <a:lnTo>
                    <a:pt x="121" y="0"/>
                  </a:lnTo>
                  <a:lnTo>
                    <a:pt x="126" y="0"/>
                  </a:lnTo>
                  <a:lnTo>
                    <a:pt x="128" y="0"/>
                  </a:lnTo>
                  <a:lnTo>
                    <a:pt x="129" y="0"/>
                  </a:lnTo>
                  <a:lnTo>
                    <a:pt x="136" y="0"/>
                  </a:lnTo>
                  <a:lnTo>
                    <a:pt x="147" y="0"/>
                  </a:lnTo>
                  <a:lnTo>
                    <a:pt x="148" y="0"/>
                  </a:lnTo>
                  <a:lnTo>
                    <a:pt x="152" y="0"/>
                  </a:lnTo>
                  <a:lnTo>
                    <a:pt x="155" y="0"/>
                  </a:lnTo>
                  <a:lnTo>
                    <a:pt x="160" y="0"/>
                  </a:lnTo>
                  <a:lnTo>
                    <a:pt x="167" y="0"/>
                  </a:lnTo>
                  <a:lnTo>
                    <a:pt x="171" y="0"/>
                  </a:lnTo>
                  <a:lnTo>
                    <a:pt x="178" y="0"/>
                  </a:lnTo>
                  <a:lnTo>
                    <a:pt x="179" y="0"/>
                  </a:lnTo>
                  <a:lnTo>
                    <a:pt x="188" y="0"/>
                  </a:lnTo>
                  <a:lnTo>
                    <a:pt x="193" y="0"/>
                  </a:lnTo>
                  <a:lnTo>
                    <a:pt x="196" y="0"/>
                  </a:lnTo>
                  <a:lnTo>
                    <a:pt x="205" y="0"/>
                  </a:lnTo>
                  <a:lnTo>
                    <a:pt x="212" y="0"/>
                  </a:lnTo>
                  <a:lnTo>
                    <a:pt x="217" y="0"/>
                  </a:lnTo>
                  <a:lnTo>
                    <a:pt x="222" y="0"/>
                  </a:lnTo>
                  <a:lnTo>
                    <a:pt x="227" y="0"/>
                  </a:lnTo>
                  <a:lnTo>
                    <a:pt x="227" y="0"/>
                  </a:lnTo>
                  <a:lnTo>
                    <a:pt x="229" y="0"/>
                  </a:lnTo>
                  <a:lnTo>
                    <a:pt x="238" y="0"/>
                  </a:lnTo>
                  <a:lnTo>
                    <a:pt x="239" y="0"/>
                  </a:lnTo>
                  <a:lnTo>
                    <a:pt x="246" y="0"/>
                  </a:lnTo>
                  <a:lnTo>
                    <a:pt x="250" y="0"/>
                  </a:lnTo>
                  <a:lnTo>
                    <a:pt x="260" y="0"/>
                  </a:lnTo>
                  <a:lnTo>
                    <a:pt x="264" y="0"/>
                  </a:lnTo>
                  <a:lnTo>
                    <a:pt x="267" y="0"/>
                  </a:lnTo>
                  <a:lnTo>
                    <a:pt x="269" y="0"/>
                  </a:lnTo>
                  <a:lnTo>
                    <a:pt x="279" y="0"/>
                  </a:lnTo>
                  <a:lnTo>
                    <a:pt x="288" y="0"/>
                  </a:lnTo>
                  <a:lnTo>
                    <a:pt x="305" y="0"/>
                  </a:lnTo>
                  <a:lnTo>
                    <a:pt x="305" y="5"/>
                  </a:lnTo>
                  <a:lnTo>
                    <a:pt x="305" y="16"/>
                  </a:lnTo>
                  <a:lnTo>
                    <a:pt x="305" y="17"/>
                  </a:lnTo>
                  <a:lnTo>
                    <a:pt x="305" y="22"/>
                  </a:lnTo>
                  <a:lnTo>
                    <a:pt x="305" y="28"/>
                  </a:lnTo>
                  <a:lnTo>
                    <a:pt x="305" y="34"/>
                  </a:lnTo>
                  <a:lnTo>
                    <a:pt x="305" y="38"/>
                  </a:lnTo>
                  <a:lnTo>
                    <a:pt x="305" y="40"/>
                  </a:lnTo>
                  <a:lnTo>
                    <a:pt x="305" y="40"/>
                  </a:lnTo>
                  <a:lnTo>
                    <a:pt x="305" y="50"/>
                  </a:lnTo>
                  <a:lnTo>
                    <a:pt x="305" y="57"/>
                  </a:lnTo>
                  <a:lnTo>
                    <a:pt x="305" y="59"/>
                  </a:lnTo>
                  <a:lnTo>
                    <a:pt x="305" y="67"/>
                  </a:lnTo>
                  <a:lnTo>
                    <a:pt x="312" y="67"/>
                  </a:lnTo>
                  <a:lnTo>
                    <a:pt x="317" y="67"/>
                  </a:lnTo>
                  <a:lnTo>
                    <a:pt x="320" y="67"/>
                  </a:lnTo>
                  <a:lnTo>
                    <a:pt x="325" y="67"/>
                  </a:lnTo>
                  <a:lnTo>
                    <a:pt x="327" y="67"/>
                  </a:lnTo>
                  <a:lnTo>
                    <a:pt x="341" y="67"/>
                  </a:lnTo>
                  <a:lnTo>
                    <a:pt x="343" y="67"/>
                  </a:lnTo>
                  <a:lnTo>
                    <a:pt x="346" y="67"/>
                  </a:lnTo>
                  <a:lnTo>
                    <a:pt x="348" y="67"/>
                  </a:lnTo>
                  <a:lnTo>
                    <a:pt x="356" y="67"/>
                  </a:lnTo>
                  <a:lnTo>
                    <a:pt x="358" y="67"/>
                  </a:lnTo>
                  <a:lnTo>
                    <a:pt x="362" y="67"/>
                  </a:lnTo>
                  <a:lnTo>
                    <a:pt x="363" y="67"/>
                  </a:lnTo>
                  <a:lnTo>
                    <a:pt x="363" y="67"/>
                  </a:lnTo>
                  <a:lnTo>
                    <a:pt x="365" y="67"/>
                  </a:lnTo>
                  <a:lnTo>
                    <a:pt x="367" y="67"/>
                  </a:lnTo>
                  <a:lnTo>
                    <a:pt x="368" y="67"/>
                  </a:lnTo>
                  <a:lnTo>
                    <a:pt x="372" y="67"/>
                  </a:lnTo>
                  <a:lnTo>
                    <a:pt x="379" y="67"/>
                  </a:lnTo>
                  <a:lnTo>
                    <a:pt x="387" y="67"/>
                  </a:lnTo>
                  <a:lnTo>
                    <a:pt x="391" y="67"/>
                  </a:lnTo>
                  <a:lnTo>
                    <a:pt x="396" y="67"/>
                  </a:lnTo>
                  <a:lnTo>
                    <a:pt x="401" y="67"/>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5" name="Freeform 185"/>
            <p:cNvSpPr>
              <a:spLocks/>
            </p:cNvSpPr>
            <p:nvPr/>
          </p:nvSpPr>
          <p:spPr bwMode="auto">
            <a:xfrm>
              <a:off x="7300209" y="2946194"/>
              <a:ext cx="582613" cy="620713"/>
            </a:xfrm>
            <a:custGeom>
              <a:avLst/>
              <a:gdLst/>
              <a:ahLst/>
              <a:cxnLst>
                <a:cxn ang="0">
                  <a:pos x="329" y="90"/>
                </a:cxn>
                <a:cxn ang="0">
                  <a:pos x="325" y="97"/>
                </a:cxn>
                <a:cxn ang="0">
                  <a:pos x="320" y="107"/>
                </a:cxn>
                <a:cxn ang="0">
                  <a:pos x="312" y="117"/>
                </a:cxn>
                <a:cxn ang="0">
                  <a:pos x="300" y="126"/>
                </a:cxn>
                <a:cxn ang="0">
                  <a:pos x="289" y="133"/>
                </a:cxn>
                <a:cxn ang="0">
                  <a:pos x="281" y="142"/>
                </a:cxn>
                <a:cxn ang="0">
                  <a:pos x="277" y="152"/>
                </a:cxn>
                <a:cxn ang="0">
                  <a:pos x="270" y="164"/>
                </a:cxn>
                <a:cxn ang="0">
                  <a:pos x="265" y="172"/>
                </a:cxn>
                <a:cxn ang="0">
                  <a:pos x="260" y="179"/>
                </a:cxn>
                <a:cxn ang="0">
                  <a:pos x="258" y="193"/>
                </a:cxn>
                <a:cxn ang="0">
                  <a:pos x="255" y="205"/>
                </a:cxn>
                <a:cxn ang="0">
                  <a:pos x="251" y="217"/>
                </a:cxn>
                <a:cxn ang="0">
                  <a:pos x="251" y="231"/>
                </a:cxn>
                <a:cxn ang="0">
                  <a:pos x="258" y="245"/>
                </a:cxn>
                <a:cxn ang="0">
                  <a:pos x="270" y="259"/>
                </a:cxn>
                <a:cxn ang="0">
                  <a:pos x="281" y="264"/>
                </a:cxn>
                <a:cxn ang="0">
                  <a:pos x="281" y="272"/>
                </a:cxn>
                <a:cxn ang="0">
                  <a:pos x="286" y="284"/>
                </a:cxn>
                <a:cxn ang="0">
                  <a:pos x="279" y="319"/>
                </a:cxn>
                <a:cxn ang="0">
                  <a:pos x="267" y="358"/>
                </a:cxn>
                <a:cxn ang="0">
                  <a:pos x="236" y="374"/>
                </a:cxn>
                <a:cxn ang="0">
                  <a:pos x="243" y="339"/>
                </a:cxn>
                <a:cxn ang="0">
                  <a:pos x="215" y="339"/>
                </a:cxn>
                <a:cxn ang="0">
                  <a:pos x="195" y="336"/>
                </a:cxn>
                <a:cxn ang="0">
                  <a:pos x="198" y="315"/>
                </a:cxn>
                <a:cxn ang="0">
                  <a:pos x="191" y="302"/>
                </a:cxn>
                <a:cxn ang="0">
                  <a:pos x="171" y="302"/>
                </a:cxn>
                <a:cxn ang="0">
                  <a:pos x="153" y="303"/>
                </a:cxn>
                <a:cxn ang="0">
                  <a:pos x="134" y="303"/>
                </a:cxn>
                <a:cxn ang="0">
                  <a:pos x="114" y="303"/>
                </a:cxn>
                <a:cxn ang="0">
                  <a:pos x="85" y="312"/>
                </a:cxn>
                <a:cxn ang="0">
                  <a:pos x="69" y="327"/>
                </a:cxn>
                <a:cxn ang="0">
                  <a:pos x="55" y="315"/>
                </a:cxn>
                <a:cxn ang="0">
                  <a:pos x="52" y="339"/>
                </a:cxn>
                <a:cxn ang="0">
                  <a:pos x="40" y="348"/>
                </a:cxn>
                <a:cxn ang="0">
                  <a:pos x="33" y="346"/>
                </a:cxn>
                <a:cxn ang="0">
                  <a:pos x="33" y="343"/>
                </a:cxn>
                <a:cxn ang="0">
                  <a:pos x="26" y="334"/>
                </a:cxn>
                <a:cxn ang="0">
                  <a:pos x="12" y="331"/>
                </a:cxn>
                <a:cxn ang="0">
                  <a:pos x="7" y="322"/>
                </a:cxn>
                <a:cxn ang="0">
                  <a:pos x="0" y="327"/>
                </a:cxn>
                <a:cxn ang="0">
                  <a:pos x="0" y="315"/>
                </a:cxn>
                <a:cxn ang="0">
                  <a:pos x="0" y="283"/>
                </a:cxn>
                <a:cxn ang="0">
                  <a:pos x="0" y="259"/>
                </a:cxn>
                <a:cxn ang="0">
                  <a:pos x="0" y="219"/>
                </a:cxn>
                <a:cxn ang="0">
                  <a:pos x="7" y="198"/>
                </a:cxn>
                <a:cxn ang="0">
                  <a:pos x="23" y="185"/>
                </a:cxn>
                <a:cxn ang="0">
                  <a:pos x="33" y="169"/>
                </a:cxn>
                <a:cxn ang="0">
                  <a:pos x="83" y="166"/>
                </a:cxn>
                <a:cxn ang="0">
                  <a:pos x="117" y="159"/>
                </a:cxn>
                <a:cxn ang="0">
                  <a:pos x="133" y="116"/>
                </a:cxn>
                <a:cxn ang="0">
                  <a:pos x="152" y="90"/>
                </a:cxn>
                <a:cxn ang="0">
                  <a:pos x="172" y="52"/>
                </a:cxn>
                <a:cxn ang="0">
                  <a:pos x="205" y="56"/>
                </a:cxn>
                <a:cxn ang="0">
                  <a:pos x="231" y="28"/>
                </a:cxn>
                <a:cxn ang="0">
                  <a:pos x="232" y="11"/>
                </a:cxn>
                <a:cxn ang="0">
                  <a:pos x="241" y="0"/>
                </a:cxn>
                <a:cxn ang="0">
                  <a:pos x="255" y="2"/>
                </a:cxn>
                <a:cxn ang="0">
                  <a:pos x="265" y="12"/>
                </a:cxn>
                <a:cxn ang="0">
                  <a:pos x="281" y="30"/>
                </a:cxn>
                <a:cxn ang="0">
                  <a:pos x="341" y="45"/>
                </a:cxn>
              </a:cxnLst>
              <a:rect l="0" t="0" r="r" b="b"/>
              <a:pathLst>
                <a:path w="367" h="391">
                  <a:moveTo>
                    <a:pt x="367" y="62"/>
                  </a:moveTo>
                  <a:lnTo>
                    <a:pt x="363" y="69"/>
                  </a:lnTo>
                  <a:lnTo>
                    <a:pt x="351" y="80"/>
                  </a:lnTo>
                  <a:lnTo>
                    <a:pt x="349" y="81"/>
                  </a:lnTo>
                  <a:lnTo>
                    <a:pt x="341" y="86"/>
                  </a:lnTo>
                  <a:lnTo>
                    <a:pt x="339" y="90"/>
                  </a:lnTo>
                  <a:lnTo>
                    <a:pt x="332" y="90"/>
                  </a:lnTo>
                  <a:lnTo>
                    <a:pt x="329" y="90"/>
                  </a:lnTo>
                  <a:lnTo>
                    <a:pt x="327" y="90"/>
                  </a:lnTo>
                  <a:lnTo>
                    <a:pt x="327" y="88"/>
                  </a:lnTo>
                  <a:lnTo>
                    <a:pt x="327" y="90"/>
                  </a:lnTo>
                  <a:lnTo>
                    <a:pt x="327" y="90"/>
                  </a:lnTo>
                  <a:lnTo>
                    <a:pt x="327" y="92"/>
                  </a:lnTo>
                  <a:lnTo>
                    <a:pt x="327" y="93"/>
                  </a:lnTo>
                  <a:lnTo>
                    <a:pt x="327" y="95"/>
                  </a:lnTo>
                  <a:lnTo>
                    <a:pt x="325" y="97"/>
                  </a:lnTo>
                  <a:lnTo>
                    <a:pt x="325" y="99"/>
                  </a:lnTo>
                  <a:lnTo>
                    <a:pt x="325" y="100"/>
                  </a:lnTo>
                  <a:lnTo>
                    <a:pt x="325" y="102"/>
                  </a:lnTo>
                  <a:lnTo>
                    <a:pt x="324" y="104"/>
                  </a:lnTo>
                  <a:lnTo>
                    <a:pt x="324" y="104"/>
                  </a:lnTo>
                  <a:lnTo>
                    <a:pt x="322" y="104"/>
                  </a:lnTo>
                  <a:lnTo>
                    <a:pt x="322" y="105"/>
                  </a:lnTo>
                  <a:lnTo>
                    <a:pt x="320" y="107"/>
                  </a:lnTo>
                  <a:lnTo>
                    <a:pt x="318" y="109"/>
                  </a:lnTo>
                  <a:lnTo>
                    <a:pt x="318" y="111"/>
                  </a:lnTo>
                  <a:lnTo>
                    <a:pt x="317" y="111"/>
                  </a:lnTo>
                  <a:lnTo>
                    <a:pt x="317" y="112"/>
                  </a:lnTo>
                  <a:lnTo>
                    <a:pt x="315" y="112"/>
                  </a:lnTo>
                  <a:lnTo>
                    <a:pt x="315" y="114"/>
                  </a:lnTo>
                  <a:lnTo>
                    <a:pt x="313" y="116"/>
                  </a:lnTo>
                  <a:lnTo>
                    <a:pt x="312" y="117"/>
                  </a:lnTo>
                  <a:lnTo>
                    <a:pt x="312" y="119"/>
                  </a:lnTo>
                  <a:lnTo>
                    <a:pt x="308" y="119"/>
                  </a:lnTo>
                  <a:lnTo>
                    <a:pt x="308" y="121"/>
                  </a:lnTo>
                  <a:lnTo>
                    <a:pt x="306" y="123"/>
                  </a:lnTo>
                  <a:lnTo>
                    <a:pt x="305" y="123"/>
                  </a:lnTo>
                  <a:lnTo>
                    <a:pt x="303" y="124"/>
                  </a:lnTo>
                  <a:lnTo>
                    <a:pt x="301" y="124"/>
                  </a:lnTo>
                  <a:lnTo>
                    <a:pt x="300" y="126"/>
                  </a:lnTo>
                  <a:lnTo>
                    <a:pt x="298" y="126"/>
                  </a:lnTo>
                  <a:lnTo>
                    <a:pt x="296" y="128"/>
                  </a:lnTo>
                  <a:lnTo>
                    <a:pt x="296" y="128"/>
                  </a:lnTo>
                  <a:lnTo>
                    <a:pt x="296" y="129"/>
                  </a:lnTo>
                  <a:lnTo>
                    <a:pt x="293" y="129"/>
                  </a:lnTo>
                  <a:lnTo>
                    <a:pt x="291" y="131"/>
                  </a:lnTo>
                  <a:lnTo>
                    <a:pt x="289" y="131"/>
                  </a:lnTo>
                  <a:lnTo>
                    <a:pt x="289" y="133"/>
                  </a:lnTo>
                  <a:lnTo>
                    <a:pt x="287" y="133"/>
                  </a:lnTo>
                  <a:lnTo>
                    <a:pt x="286" y="135"/>
                  </a:lnTo>
                  <a:lnTo>
                    <a:pt x="286" y="135"/>
                  </a:lnTo>
                  <a:lnTo>
                    <a:pt x="286" y="136"/>
                  </a:lnTo>
                  <a:lnTo>
                    <a:pt x="284" y="138"/>
                  </a:lnTo>
                  <a:lnTo>
                    <a:pt x="282" y="140"/>
                  </a:lnTo>
                  <a:lnTo>
                    <a:pt x="282" y="142"/>
                  </a:lnTo>
                  <a:lnTo>
                    <a:pt x="281" y="142"/>
                  </a:lnTo>
                  <a:lnTo>
                    <a:pt x="281" y="143"/>
                  </a:lnTo>
                  <a:lnTo>
                    <a:pt x="281" y="145"/>
                  </a:lnTo>
                  <a:lnTo>
                    <a:pt x="281" y="145"/>
                  </a:lnTo>
                  <a:lnTo>
                    <a:pt x="281" y="147"/>
                  </a:lnTo>
                  <a:lnTo>
                    <a:pt x="281" y="148"/>
                  </a:lnTo>
                  <a:lnTo>
                    <a:pt x="279" y="148"/>
                  </a:lnTo>
                  <a:lnTo>
                    <a:pt x="277" y="150"/>
                  </a:lnTo>
                  <a:lnTo>
                    <a:pt x="277" y="152"/>
                  </a:lnTo>
                  <a:lnTo>
                    <a:pt x="275" y="152"/>
                  </a:lnTo>
                  <a:lnTo>
                    <a:pt x="275" y="154"/>
                  </a:lnTo>
                  <a:lnTo>
                    <a:pt x="275" y="155"/>
                  </a:lnTo>
                  <a:lnTo>
                    <a:pt x="274" y="157"/>
                  </a:lnTo>
                  <a:lnTo>
                    <a:pt x="272" y="159"/>
                  </a:lnTo>
                  <a:lnTo>
                    <a:pt x="272" y="160"/>
                  </a:lnTo>
                  <a:lnTo>
                    <a:pt x="270" y="162"/>
                  </a:lnTo>
                  <a:lnTo>
                    <a:pt x="270" y="164"/>
                  </a:lnTo>
                  <a:lnTo>
                    <a:pt x="269" y="164"/>
                  </a:lnTo>
                  <a:lnTo>
                    <a:pt x="269" y="166"/>
                  </a:lnTo>
                  <a:lnTo>
                    <a:pt x="269" y="166"/>
                  </a:lnTo>
                  <a:lnTo>
                    <a:pt x="267" y="166"/>
                  </a:lnTo>
                  <a:lnTo>
                    <a:pt x="267" y="167"/>
                  </a:lnTo>
                  <a:lnTo>
                    <a:pt x="265" y="169"/>
                  </a:lnTo>
                  <a:lnTo>
                    <a:pt x="265" y="171"/>
                  </a:lnTo>
                  <a:lnTo>
                    <a:pt x="265" y="172"/>
                  </a:lnTo>
                  <a:lnTo>
                    <a:pt x="265" y="174"/>
                  </a:lnTo>
                  <a:lnTo>
                    <a:pt x="263" y="174"/>
                  </a:lnTo>
                  <a:lnTo>
                    <a:pt x="263" y="176"/>
                  </a:lnTo>
                  <a:lnTo>
                    <a:pt x="263" y="178"/>
                  </a:lnTo>
                  <a:lnTo>
                    <a:pt x="262" y="178"/>
                  </a:lnTo>
                  <a:lnTo>
                    <a:pt x="262" y="179"/>
                  </a:lnTo>
                  <a:lnTo>
                    <a:pt x="262" y="179"/>
                  </a:lnTo>
                  <a:lnTo>
                    <a:pt x="260" y="179"/>
                  </a:lnTo>
                  <a:lnTo>
                    <a:pt x="260" y="181"/>
                  </a:lnTo>
                  <a:lnTo>
                    <a:pt x="260" y="183"/>
                  </a:lnTo>
                  <a:lnTo>
                    <a:pt x="258" y="185"/>
                  </a:lnTo>
                  <a:lnTo>
                    <a:pt x="258" y="186"/>
                  </a:lnTo>
                  <a:lnTo>
                    <a:pt x="258" y="188"/>
                  </a:lnTo>
                  <a:lnTo>
                    <a:pt x="258" y="190"/>
                  </a:lnTo>
                  <a:lnTo>
                    <a:pt x="258" y="191"/>
                  </a:lnTo>
                  <a:lnTo>
                    <a:pt x="258" y="193"/>
                  </a:lnTo>
                  <a:lnTo>
                    <a:pt x="258" y="195"/>
                  </a:lnTo>
                  <a:lnTo>
                    <a:pt x="257" y="195"/>
                  </a:lnTo>
                  <a:lnTo>
                    <a:pt x="257" y="197"/>
                  </a:lnTo>
                  <a:lnTo>
                    <a:pt x="257" y="198"/>
                  </a:lnTo>
                  <a:lnTo>
                    <a:pt x="257" y="200"/>
                  </a:lnTo>
                  <a:lnTo>
                    <a:pt x="255" y="202"/>
                  </a:lnTo>
                  <a:lnTo>
                    <a:pt x="255" y="203"/>
                  </a:lnTo>
                  <a:lnTo>
                    <a:pt x="255" y="205"/>
                  </a:lnTo>
                  <a:lnTo>
                    <a:pt x="255" y="207"/>
                  </a:lnTo>
                  <a:lnTo>
                    <a:pt x="255" y="209"/>
                  </a:lnTo>
                  <a:lnTo>
                    <a:pt x="255" y="210"/>
                  </a:lnTo>
                  <a:lnTo>
                    <a:pt x="253" y="212"/>
                  </a:lnTo>
                  <a:lnTo>
                    <a:pt x="253" y="214"/>
                  </a:lnTo>
                  <a:lnTo>
                    <a:pt x="253" y="215"/>
                  </a:lnTo>
                  <a:lnTo>
                    <a:pt x="253" y="217"/>
                  </a:lnTo>
                  <a:lnTo>
                    <a:pt x="251" y="217"/>
                  </a:lnTo>
                  <a:lnTo>
                    <a:pt x="251" y="219"/>
                  </a:lnTo>
                  <a:lnTo>
                    <a:pt x="251" y="221"/>
                  </a:lnTo>
                  <a:lnTo>
                    <a:pt x="251" y="222"/>
                  </a:lnTo>
                  <a:lnTo>
                    <a:pt x="251" y="224"/>
                  </a:lnTo>
                  <a:lnTo>
                    <a:pt x="251" y="226"/>
                  </a:lnTo>
                  <a:lnTo>
                    <a:pt x="251" y="226"/>
                  </a:lnTo>
                  <a:lnTo>
                    <a:pt x="250" y="229"/>
                  </a:lnTo>
                  <a:lnTo>
                    <a:pt x="251" y="231"/>
                  </a:lnTo>
                  <a:lnTo>
                    <a:pt x="251" y="233"/>
                  </a:lnTo>
                  <a:lnTo>
                    <a:pt x="251" y="234"/>
                  </a:lnTo>
                  <a:lnTo>
                    <a:pt x="251" y="236"/>
                  </a:lnTo>
                  <a:lnTo>
                    <a:pt x="251" y="238"/>
                  </a:lnTo>
                  <a:lnTo>
                    <a:pt x="253" y="240"/>
                  </a:lnTo>
                  <a:lnTo>
                    <a:pt x="253" y="240"/>
                  </a:lnTo>
                  <a:lnTo>
                    <a:pt x="257" y="243"/>
                  </a:lnTo>
                  <a:lnTo>
                    <a:pt x="258" y="245"/>
                  </a:lnTo>
                  <a:lnTo>
                    <a:pt x="258" y="246"/>
                  </a:lnTo>
                  <a:lnTo>
                    <a:pt x="260" y="246"/>
                  </a:lnTo>
                  <a:lnTo>
                    <a:pt x="260" y="248"/>
                  </a:lnTo>
                  <a:lnTo>
                    <a:pt x="262" y="250"/>
                  </a:lnTo>
                  <a:lnTo>
                    <a:pt x="265" y="253"/>
                  </a:lnTo>
                  <a:lnTo>
                    <a:pt x="267" y="255"/>
                  </a:lnTo>
                  <a:lnTo>
                    <a:pt x="269" y="257"/>
                  </a:lnTo>
                  <a:lnTo>
                    <a:pt x="270" y="259"/>
                  </a:lnTo>
                  <a:lnTo>
                    <a:pt x="272" y="259"/>
                  </a:lnTo>
                  <a:lnTo>
                    <a:pt x="274" y="260"/>
                  </a:lnTo>
                  <a:lnTo>
                    <a:pt x="275" y="260"/>
                  </a:lnTo>
                  <a:lnTo>
                    <a:pt x="275" y="262"/>
                  </a:lnTo>
                  <a:lnTo>
                    <a:pt x="277" y="262"/>
                  </a:lnTo>
                  <a:lnTo>
                    <a:pt x="279" y="262"/>
                  </a:lnTo>
                  <a:lnTo>
                    <a:pt x="279" y="264"/>
                  </a:lnTo>
                  <a:lnTo>
                    <a:pt x="281" y="264"/>
                  </a:lnTo>
                  <a:lnTo>
                    <a:pt x="281" y="265"/>
                  </a:lnTo>
                  <a:lnTo>
                    <a:pt x="281" y="267"/>
                  </a:lnTo>
                  <a:lnTo>
                    <a:pt x="281" y="269"/>
                  </a:lnTo>
                  <a:lnTo>
                    <a:pt x="281" y="269"/>
                  </a:lnTo>
                  <a:lnTo>
                    <a:pt x="281" y="271"/>
                  </a:lnTo>
                  <a:lnTo>
                    <a:pt x="281" y="271"/>
                  </a:lnTo>
                  <a:lnTo>
                    <a:pt x="281" y="271"/>
                  </a:lnTo>
                  <a:lnTo>
                    <a:pt x="281" y="272"/>
                  </a:lnTo>
                  <a:lnTo>
                    <a:pt x="282" y="274"/>
                  </a:lnTo>
                  <a:lnTo>
                    <a:pt x="284" y="274"/>
                  </a:lnTo>
                  <a:lnTo>
                    <a:pt x="286" y="274"/>
                  </a:lnTo>
                  <a:lnTo>
                    <a:pt x="287" y="274"/>
                  </a:lnTo>
                  <a:lnTo>
                    <a:pt x="289" y="276"/>
                  </a:lnTo>
                  <a:lnTo>
                    <a:pt x="287" y="279"/>
                  </a:lnTo>
                  <a:lnTo>
                    <a:pt x="286" y="283"/>
                  </a:lnTo>
                  <a:lnTo>
                    <a:pt x="286" y="284"/>
                  </a:lnTo>
                  <a:lnTo>
                    <a:pt x="284" y="286"/>
                  </a:lnTo>
                  <a:lnTo>
                    <a:pt x="284" y="289"/>
                  </a:lnTo>
                  <a:lnTo>
                    <a:pt x="282" y="293"/>
                  </a:lnTo>
                  <a:lnTo>
                    <a:pt x="282" y="296"/>
                  </a:lnTo>
                  <a:lnTo>
                    <a:pt x="281" y="303"/>
                  </a:lnTo>
                  <a:lnTo>
                    <a:pt x="281" y="312"/>
                  </a:lnTo>
                  <a:lnTo>
                    <a:pt x="279" y="315"/>
                  </a:lnTo>
                  <a:lnTo>
                    <a:pt x="279" y="319"/>
                  </a:lnTo>
                  <a:lnTo>
                    <a:pt x="277" y="322"/>
                  </a:lnTo>
                  <a:lnTo>
                    <a:pt x="275" y="332"/>
                  </a:lnTo>
                  <a:lnTo>
                    <a:pt x="275" y="339"/>
                  </a:lnTo>
                  <a:lnTo>
                    <a:pt x="274" y="345"/>
                  </a:lnTo>
                  <a:lnTo>
                    <a:pt x="274" y="346"/>
                  </a:lnTo>
                  <a:lnTo>
                    <a:pt x="272" y="348"/>
                  </a:lnTo>
                  <a:lnTo>
                    <a:pt x="269" y="358"/>
                  </a:lnTo>
                  <a:lnTo>
                    <a:pt x="267" y="358"/>
                  </a:lnTo>
                  <a:lnTo>
                    <a:pt x="258" y="370"/>
                  </a:lnTo>
                  <a:lnTo>
                    <a:pt x="253" y="375"/>
                  </a:lnTo>
                  <a:lnTo>
                    <a:pt x="251" y="377"/>
                  </a:lnTo>
                  <a:lnTo>
                    <a:pt x="250" y="379"/>
                  </a:lnTo>
                  <a:lnTo>
                    <a:pt x="239" y="391"/>
                  </a:lnTo>
                  <a:lnTo>
                    <a:pt x="239" y="384"/>
                  </a:lnTo>
                  <a:lnTo>
                    <a:pt x="239" y="381"/>
                  </a:lnTo>
                  <a:lnTo>
                    <a:pt x="236" y="374"/>
                  </a:lnTo>
                  <a:lnTo>
                    <a:pt x="238" y="365"/>
                  </a:lnTo>
                  <a:lnTo>
                    <a:pt x="236" y="363"/>
                  </a:lnTo>
                  <a:lnTo>
                    <a:pt x="236" y="351"/>
                  </a:lnTo>
                  <a:lnTo>
                    <a:pt x="238" y="350"/>
                  </a:lnTo>
                  <a:lnTo>
                    <a:pt x="239" y="348"/>
                  </a:lnTo>
                  <a:lnTo>
                    <a:pt x="241" y="346"/>
                  </a:lnTo>
                  <a:lnTo>
                    <a:pt x="243" y="343"/>
                  </a:lnTo>
                  <a:lnTo>
                    <a:pt x="243" y="339"/>
                  </a:lnTo>
                  <a:lnTo>
                    <a:pt x="243" y="338"/>
                  </a:lnTo>
                  <a:lnTo>
                    <a:pt x="241" y="336"/>
                  </a:lnTo>
                  <a:lnTo>
                    <a:pt x="234" y="334"/>
                  </a:lnTo>
                  <a:lnTo>
                    <a:pt x="231" y="334"/>
                  </a:lnTo>
                  <a:lnTo>
                    <a:pt x="227" y="336"/>
                  </a:lnTo>
                  <a:lnTo>
                    <a:pt x="226" y="336"/>
                  </a:lnTo>
                  <a:lnTo>
                    <a:pt x="219" y="338"/>
                  </a:lnTo>
                  <a:lnTo>
                    <a:pt x="215" y="339"/>
                  </a:lnTo>
                  <a:lnTo>
                    <a:pt x="208" y="341"/>
                  </a:lnTo>
                  <a:lnTo>
                    <a:pt x="208" y="338"/>
                  </a:lnTo>
                  <a:lnTo>
                    <a:pt x="208" y="336"/>
                  </a:lnTo>
                  <a:lnTo>
                    <a:pt x="207" y="334"/>
                  </a:lnTo>
                  <a:lnTo>
                    <a:pt x="203" y="338"/>
                  </a:lnTo>
                  <a:lnTo>
                    <a:pt x="200" y="339"/>
                  </a:lnTo>
                  <a:lnTo>
                    <a:pt x="198" y="339"/>
                  </a:lnTo>
                  <a:lnTo>
                    <a:pt x="195" y="336"/>
                  </a:lnTo>
                  <a:lnTo>
                    <a:pt x="195" y="331"/>
                  </a:lnTo>
                  <a:lnTo>
                    <a:pt x="191" y="322"/>
                  </a:lnTo>
                  <a:lnTo>
                    <a:pt x="191" y="320"/>
                  </a:lnTo>
                  <a:lnTo>
                    <a:pt x="191" y="315"/>
                  </a:lnTo>
                  <a:lnTo>
                    <a:pt x="191" y="315"/>
                  </a:lnTo>
                  <a:lnTo>
                    <a:pt x="195" y="317"/>
                  </a:lnTo>
                  <a:lnTo>
                    <a:pt x="196" y="317"/>
                  </a:lnTo>
                  <a:lnTo>
                    <a:pt x="198" y="315"/>
                  </a:lnTo>
                  <a:lnTo>
                    <a:pt x="200" y="312"/>
                  </a:lnTo>
                  <a:lnTo>
                    <a:pt x="200" y="310"/>
                  </a:lnTo>
                  <a:lnTo>
                    <a:pt x="200" y="305"/>
                  </a:lnTo>
                  <a:lnTo>
                    <a:pt x="200" y="303"/>
                  </a:lnTo>
                  <a:lnTo>
                    <a:pt x="200" y="302"/>
                  </a:lnTo>
                  <a:lnTo>
                    <a:pt x="196" y="302"/>
                  </a:lnTo>
                  <a:lnTo>
                    <a:pt x="191" y="302"/>
                  </a:lnTo>
                  <a:lnTo>
                    <a:pt x="191" y="302"/>
                  </a:lnTo>
                  <a:lnTo>
                    <a:pt x="188" y="302"/>
                  </a:lnTo>
                  <a:lnTo>
                    <a:pt x="184" y="302"/>
                  </a:lnTo>
                  <a:lnTo>
                    <a:pt x="177" y="302"/>
                  </a:lnTo>
                  <a:lnTo>
                    <a:pt x="176" y="302"/>
                  </a:lnTo>
                  <a:lnTo>
                    <a:pt x="176" y="302"/>
                  </a:lnTo>
                  <a:lnTo>
                    <a:pt x="174" y="302"/>
                  </a:lnTo>
                  <a:lnTo>
                    <a:pt x="172" y="302"/>
                  </a:lnTo>
                  <a:lnTo>
                    <a:pt x="171" y="302"/>
                  </a:lnTo>
                  <a:lnTo>
                    <a:pt x="167" y="302"/>
                  </a:lnTo>
                  <a:lnTo>
                    <a:pt x="165" y="302"/>
                  </a:lnTo>
                  <a:lnTo>
                    <a:pt x="164" y="302"/>
                  </a:lnTo>
                  <a:lnTo>
                    <a:pt x="162" y="302"/>
                  </a:lnTo>
                  <a:lnTo>
                    <a:pt x="160" y="302"/>
                  </a:lnTo>
                  <a:lnTo>
                    <a:pt x="158" y="303"/>
                  </a:lnTo>
                  <a:lnTo>
                    <a:pt x="157" y="303"/>
                  </a:lnTo>
                  <a:lnTo>
                    <a:pt x="153" y="303"/>
                  </a:lnTo>
                  <a:lnTo>
                    <a:pt x="152" y="303"/>
                  </a:lnTo>
                  <a:lnTo>
                    <a:pt x="150" y="303"/>
                  </a:lnTo>
                  <a:lnTo>
                    <a:pt x="146" y="303"/>
                  </a:lnTo>
                  <a:lnTo>
                    <a:pt x="145" y="303"/>
                  </a:lnTo>
                  <a:lnTo>
                    <a:pt x="143" y="303"/>
                  </a:lnTo>
                  <a:lnTo>
                    <a:pt x="141" y="303"/>
                  </a:lnTo>
                  <a:lnTo>
                    <a:pt x="136" y="303"/>
                  </a:lnTo>
                  <a:lnTo>
                    <a:pt x="134" y="303"/>
                  </a:lnTo>
                  <a:lnTo>
                    <a:pt x="133" y="303"/>
                  </a:lnTo>
                  <a:lnTo>
                    <a:pt x="129" y="303"/>
                  </a:lnTo>
                  <a:lnTo>
                    <a:pt x="128" y="303"/>
                  </a:lnTo>
                  <a:lnTo>
                    <a:pt x="126" y="303"/>
                  </a:lnTo>
                  <a:lnTo>
                    <a:pt x="124" y="303"/>
                  </a:lnTo>
                  <a:lnTo>
                    <a:pt x="122" y="303"/>
                  </a:lnTo>
                  <a:lnTo>
                    <a:pt x="115" y="303"/>
                  </a:lnTo>
                  <a:lnTo>
                    <a:pt x="114" y="303"/>
                  </a:lnTo>
                  <a:lnTo>
                    <a:pt x="107" y="303"/>
                  </a:lnTo>
                  <a:lnTo>
                    <a:pt x="105" y="303"/>
                  </a:lnTo>
                  <a:lnTo>
                    <a:pt x="91" y="305"/>
                  </a:lnTo>
                  <a:lnTo>
                    <a:pt x="90" y="305"/>
                  </a:lnTo>
                  <a:lnTo>
                    <a:pt x="88" y="305"/>
                  </a:lnTo>
                  <a:lnTo>
                    <a:pt x="86" y="307"/>
                  </a:lnTo>
                  <a:lnTo>
                    <a:pt x="85" y="310"/>
                  </a:lnTo>
                  <a:lnTo>
                    <a:pt x="85" y="312"/>
                  </a:lnTo>
                  <a:lnTo>
                    <a:pt x="85" y="315"/>
                  </a:lnTo>
                  <a:lnTo>
                    <a:pt x="81" y="320"/>
                  </a:lnTo>
                  <a:lnTo>
                    <a:pt x="81" y="322"/>
                  </a:lnTo>
                  <a:lnTo>
                    <a:pt x="81" y="324"/>
                  </a:lnTo>
                  <a:lnTo>
                    <a:pt x="79" y="324"/>
                  </a:lnTo>
                  <a:lnTo>
                    <a:pt x="74" y="329"/>
                  </a:lnTo>
                  <a:lnTo>
                    <a:pt x="72" y="329"/>
                  </a:lnTo>
                  <a:lnTo>
                    <a:pt x="69" y="327"/>
                  </a:lnTo>
                  <a:lnTo>
                    <a:pt x="69" y="326"/>
                  </a:lnTo>
                  <a:lnTo>
                    <a:pt x="67" y="326"/>
                  </a:lnTo>
                  <a:lnTo>
                    <a:pt x="67" y="324"/>
                  </a:lnTo>
                  <a:lnTo>
                    <a:pt x="66" y="322"/>
                  </a:lnTo>
                  <a:lnTo>
                    <a:pt x="66" y="320"/>
                  </a:lnTo>
                  <a:lnTo>
                    <a:pt x="62" y="317"/>
                  </a:lnTo>
                  <a:lnTo>
                    <a:pt x="59" y="315"/>
                  </a:lnTo>
                  <a:lnTo>
                    <a:pt x="55" y="315"/>
                  </a:lnTo>
                  <a:lnTo>
                    <a:pt x="55" y="315"/>
                  </a:lnTo>
                  <a:lnTo>
                    <a:pt x="50" y="315"/>
                  </a:lnTo>
                  <a:lnTo>
                    <a:pt x="47" y="324"/>
                  </a:lnTo>
                  <a:lnTo>
                    <a:pt x="48" y="329"/>
                  </a:lnTo>
                  <a:lnTo>
                    <a:pt x="50" y="336"/>
                  </a:lnTo>
                  <a:lnTo>
                    <a:pt x="50" y="338"/>
                  </a:lnTo>
                  <a:lnTo>
                    <a:pt x="52" y="338"/>
                  </a:lnTo>
                  <a:lnTo>
                    <a:pt x="52" y="339"/>
                  </a:lnTo>
                  <a:lnTo>
                    <a:pt x="52" y="341"/>
                  </a:lnTo>
                  <a:lnTo>
                    <a:pt x="50" y="341"/>
                  </a:lnTo>
                  <a:lnTo>
                    <a:pt x="50" y="343"/>
                  </a:lnTo>
                  <a:lnTo>
                    <a:pt x="48" y="345"/>
                  </a:lnTo>
                  <a:lnTo>
                    <a:pt x="45" y="346"/>
                  </a:lnTo>
                  <a:lnTo>
                    <a:pt x="43" y="346"/>
                  </a:lnTo>
                  <a:lnTo>
                    <a:pt x="42" y="346"/>
                  </a:lnTo>
                  <a:lnTo>
                    <a:pt x="40" y="348"/>
                  </a:lnTo>
                  <a:lnTo>
                    <a:pt x="36" y="348"/>
                  </a:lnTo>
                  <a:lnTo>
                    <a:pt x="35" y="346"/>
                  </a:lnTo>
                  <a:lnTo>
                    <a:pt x="33" y="346"/>
                  </a:lnTo>
                  <a:lnTo>
                    <a:pt x="33" y="348"/>
                  </a:lnTo>
                  <a:lnTo>
                    <a:pt x="31" y="348"/>
                  </a:lnTo>
                  <a:lnTo>
                    <a:pt x="31" y="346"/>
                  </a:lnTo>
                  <a:lnTo>
                    <a:pt x="33" y="346"/>
                  </a:lnTo>
                  <a:lnTo>
                    <a:pt x="33" y="346"/>
                  </a:lnTo>
                  <a:lnTo>
                    <a:pt x="35" y="346"/>
                  </a:lnTo>
                  <a:lnTo>
                    <a:pt x="36" y="346"/>
                  </a:lnTo>
                  <a:lnTo>
                    <a:pt x="38" y="343"/>
                  </a:lnTo>
                  <a:lnTo>
                    <a:pt x="36" y="341"/>
                  </a:lnTo>
                  <a:lnTo>
                    <a:pt x="36" y="339"/>
                  </a:lnTo>
                  <a:lnTo>
                    <a:pt x="35" y="339"/>
                  </a:lnTo>
                  <a:lnTo>
                    <a:pt x="33" y="341"/>
                  </a:lnTo>
                  <a:lnTo>
                    <a:pt x="33" y="343"/>
                  </a:lnTo>
                  <a:lnTo>
                    <a:pt x="31" y="345"/>
                  </a:lnTo>
                  <a:lnTo>
                    <a:pt x="29" y="345"/>
                  </a:lnTo>
                  <a:lnTo>
                    <a:pt x="29" y="343"/>
                  </a:lnTo>
                  <a:lnTo>
                    <a:pt x="29" y="341"/>
                  </a:lnTo>
                  <a:lnTo>
                    <a:pt x="31" y="341"/>
                  </a:lnTo>
                  <a:lnTo>
                    <a:pt x="31" y="338"/>
                  </a:lnTo>
                  <a:lnTo>
                    <a:pt x="28" y="336"/>
                  </a:lnTo>
                  <a:lnTo>
                    <a:pt x="26" y="334"/>
                  </a:lnTo>
                  <a:lnTo>
                    <a:pt x="24" y="331"/>
                  </a:lnTo>
                  <a:lnTo>
                    <a:pt x="23" y="329"/>
                  </a:lnTo>
                  <a:lnTo>
                    <a:pt x="17" y="331"/>
                  </a:lnTo>
                  <a:lnTo>
                    <a:pt x="16" y="331"/>
                  </a:lnTo>
                  <a:lnTo>
                    <a:pt x="12" y="331"/>
                  </a:lnTo>
                  <a:lnTo>
                    <a:pt x="11" y="331"/>
                  </a:lnTo>
                  <a:lnTo>
                    <a:pt x="12" y="331"/>
                  </a:lnTo>
                  <a:lnTo>
                    <a:pt x="12" y="331"/>
                  </a:lnTo>
                  <a:lnTo>
                    <a:pt x="12" y="329"/>
                  </a:lnTo>
                  <a:lnTo>
                    <a:pt x="14" y="329"/>
                  </a:lnTo>
                  <a:lnTo>
                    <a:pt x="14" y="327"/>
                  </a:lnTo>
                  <a:lnTo>
                    <a:pt x="12" y="327"/>
                  </a:lnTo>
                  <a:lnTo>
                    <a:pt x="12" y="326"/>
                  </a:lnTo>
                  <a:lnTo>
                    <a:pt x="11" y="324"/>
                  </a:lnTo>
                  <a:lnTo>
                    <a:pt x="9" y="322"/>
                  </a:lnTo>
                  <a:lnTo>
                    <a:pt x="7" y="322"/>
                  </a:lnTo>
                  <a:lnTo>
                    <a:pt x="5" y="322"/>
                  </a:lnTo>
                  <a:lnTo>
                    <a:pt x="4" y="322"/>
                  </a:lnTo>
                  <a:lnTo>
                    <a:pt x="2" y="327"/>
                  </a:lnTo>
                  <a:lnTo>
                    <a:pt x="2" y="332"/>
                  </a:lnTo>
                  <a:lnTo>
                    <a:pt x="0" y="334"/>
                  </a:lnTo>
                  <a:lnTo>
                    <a:pt x="0" y="332"/>
                  </a:lnTo>
                  <a:lnTo>
                    <a:pt x="0" y="331"/>
                  </a:lnTo>
                  <a:lnTo>
                    <a:pt x="0" y="327"/>
                  </a:lnTo>
                  <a:lnTo>
                    <a:pt x="0" y="326"/>
                  </a:lnTo>
                  <a:lnTo>
                    <a:pt x="0" y="324"/>
                  </a:lnTo>
                  <a:lnTo>
                    <a:pt x="0" y="322"/>
                  </a:lnTo>
                  <a:lnTo>
                    <a:pt x="0" y="320"/>
                  </a:lnTo>
                  <a:lnTo>
                    <a:pt x="0" y="319"/>
                  </a:lnTo>
                  <a:lnTo>
                    <a:pt x="0" y="317"/>
                  </a:lnTo>
                  <a:lnTo>
                    <a:pt x="0" y="315"/>
                  </a:lnTo>
                  <a:lnTo>
                    <a:pt x="0" y="315"/>
                  </a:lnTo>
                  <a:lnTo>
                    <a:pt x="0" y="310"/>
                  </a:lnTo>
                  <a:lnTo>
                    <a:pt x="0" y="308"/>
                  </a:lnTo>
                  <a:lnTo>
                    <a:pt x="0" y="305"/>
                  </a:lnTo>
                  <a:lnTo>
                    <a:pt x="0" y="302"/>
                  </a:lnTo>
                  <a:lnTo>
                    <a:pt x="0" y="300"/>
                  </a:lnTo>
                  <a:lnTo>
                    <a:pt x="0" y="289"/>
                  </a:lnTo>
                  <a:lnTo>
                    <a:pt x="0" y="284"/>
                  </a:lnTo>
                  <a:lnTo>
                    <a:pt x="0" y="283"/>
                  </a:lnTo>
                  <a:lnTo>
                    <a:pt x="0" y="276"/>
                  </a:lnTo>
                  <a:lnTo>
                    <a:pt x="0" y="274"/>
                  </a:lnTo>
                  <a:lnTo>
                    <a:pt x="0" y="272"/>
                  </a:lnTo>
                  <a:lnTo>
                    <a:pt x="0" y="271"/>
                  </a:lnTo>
                  <a:lnTo>
                    <a:pt x="0" y="267"/>
                  </a:lnTo>
                  <a:lnTo>
                    <a:pt x="0" y="264"/>
                  </a:lnTo>
                  <a:lnTo>
                    <a:pt x="0" y="260"/>
                  </a:lnTo>
                  <a:lnTo>
                    <a:pt x="0" y="259"/>
                  </a:lnTo>
                  <a:lnTo>
                    <a:pt x="0" y="257"/>
                  </a:lnTo>
                  <a:lnTo>
                    <a:pt x="0" y="255"/>
                  </a:lnTo>
                  <a:lnTo>
                    <a:pt x="0" y="250"/>
                  </a:lnTo>
                  <a:lnTo>
                    <a:pt x="0" y="236"/>
                  </a:lnTo>
                  <a:lnTo>
                    <a:pt x="0" y="224"/>
                  </a:lnTo>
                  <a:lnTo>
                    <a:pt x="0" y="222"/>
                  </a:lnTo>
                  <a:lnTo>
                    <a:pt x="0" y="221"/>
                  </a:lnTo>
                  <a:lnTo>
                    <a:pt x="0" y="219"/>
                  </a:lnTo>
                  <a:lnTo>
                    <a:pt x="0" y="217"/>
                  </a:lnTo>
                  <a:lnTo>
                    <a:pt x="0" y="214"/>
                  </a:lnTo>
                  <a:lnTo>
                    <a:pt x="0" y="212"/>
                  </a:lnTo>
                  <a:lnTo>
                    <a:pt x="0" y="210"/>
                  </a:lnTo>
                  <a:lnTo>
                    <a:pt x="0" y="203"/>
                  </a:lnTo>
                  <a:lnTo>
                    <a:pt x="0" y="202"/>
                  </a:lnTo>
                  <a:lnTo>
                    <a:pt x="2" y="200"/>
                  </a:lnTo>
                  <a:lnTo>
                    <a:pt x="7" y="198"/>
                  </a:lnTo>
                  <a:lnTo>
                    <a:pt x="9" y="197"/>
                  </a:lnTo>
                  <a:lnTo>
                    <a:pt x="12" y="197"/>
                  </a:lnTo>
                  <a:lnTo>
                    <a:pt x="14" y="195"/>
                  </a:lnTo>
                  <a:lnTo>
                    <a:pt x="16" y="190"/>
                  </a:lnTo>
                  <a:lnTo>
                    <a:pt x="17" y="188"/>
                  </a:lnTo>
                  <a:lnTo>
                    <a:pt x="17" y="186"/>
                  </a:lnTo>
                  <a:lnTo>
                    <a:pt x="21" y="185"/>
                  </a:lnTo>
                  <a:lnTo>
                    <a:pt x="23" y="185"/>
                  </a:lnTo>
                  <a:lnTo>
                    <a:pt x="24" y="183"/>
                  </a:lnTo>
                  <a:lnTo>
                    <a:pt x="24" y="183"/>
                  </a:lnTo>
                  <a:lnTo>
                    <a:pt x="26" y="181"/>
                  </a:lnTo>
                  <a:lnTo>
                    <a:pt x="28" y="181"/>
                  </a:lnTo>
                  <a:lnTo>
                    <a:pt x="29" y="179"/>
                  </a:lnTo>
                  <a:lnTo>
                    <a:pt x="31" y="179"/>
                  </a:lnTo>
                  <a:lnTo>
                    <a:pt x="33" y="172"/>
                  </a:lnTo>
                  <a:lnTo>
                    <a:pt x="33" y="169"/>
                  </a:lnTo>
                  <a:lnTo>
                    <a:pt x="40" y="164"/>
                  </a:lnTo>
                  <a:lnTo>
                    <a:pt x="45" y="162"/>
                  </a:lnTo>
                  <a:lnTo>
                    <a:pt x="54" y="166"/>
                  </a:lnTo>
                  <a:lnTo>
                    <a:pt x="55" y="164"/>
                  </a:lnTo>
                  <a:lnTo>
                    <a:pt x="62" y="166"/>
                  </a:lnTo>
                  <a:lnTo>
                    <a:pt x="64" y="166"/>
                  </a:lnTo>
                  <a:lnTo>
                    <a:pt x="72" y="166"/>
                  </a:lnTo>
                  <a:lnTo>
                    <a:pt x="83" y="166"/>
                  </a:lnTo>
                  <a:lnTo>
                    <a:pt x="97" y="166"/>
                  </a:lnTo>
                  <a:lnTo>
                    <a:pt x="98" y="166"/>
                  </a:lnTo>
                  <a:lnTo>
                    <a:pt x="100" y="166"/>
                  </a:lnTo>
                  <a:lnTo>
                    <a:pt x="102" y="166"/>
                  </a:lnTo>
                  <a:lnTo>
                    <a:pt x="107" y="166"/>
                  </a:lnTo>
                  <a:lnTo>
                    <a:pt x="115" y="162"/>
                  </a:lnTo>
                  <a:lnTo>
                    <a:pt x="115" y="162"/>
                  </a:lnTo>
                  <a:lnTo>
                    <a:pt x="117" y="159"/>
                  </a:lnTo>
                  <a:lnTo>
                    <a:pt x="121" y="154"/>
                  </a:lnTo>
                  <a:lnTo>
                    <a:pt x="121" y="145"/>
                  </a:lnTo>
                  <a:lnTo>
                    <a:pt x="119" y="135"/>
                  </a:lnTo>
                  <a:lnTo>
                    <a:pt x="117" y="131"/>
                  </a:lnTo>
                  <a:lnTo>
                    <a:pt x="121" y="126"/>
                  </a:lnTo>
                  <a:lnTo>
                    <a:pt x="126" y="123"/>
                  </a:lnTo>
                  <a:lnTo>
                    <a:pt x="129" y="119"/>
                  </a:lnTo>
                  <a:lnTo>
                    <a:pt x="133" y="116"/>
                  </a:lnTo>
                  <a:lnTo>
                    <a:pt x="136" y="114"/>
                  </a:lnTo>
                  <a:lnTo>
                    <a:pt x="140" y="111"/>
                  </a:lnTo>
                  <a:lnTo>
                    <a:pt x="141" y="107"/>
                  </a:lnTo>
                  <a:lnTo>
                    <a:pt x="145" y="102"/>
                  </a:lnTo>
                  <a:lnTo>
                    <a:pt x="145" y="100"/>
                  </a:lnTo>
                  <a:lnTo>
                    <a:pt x="148" y="97"/>
                  </a:lnTo>
                  <a:lnTo>
                    <a:pt x="148" y="95"/>
                  </a:lnTo>
                  <a:lnTo>
                    <a:pt x="152" y="90"/>
                  </a:lnTo>
                  <a:lnTo>
                    <a:pt x="152" y="88"/>
                  </a:lnTo>
                  <a:lnTo>
                    <a:pt x="152" y="86"/>
                  </a:lnTo>
                  <a:lnTo>
                    <a:pt x="153" y="81"/>
                  </a:lnTo>
                  <a:lnTo>
                    <a:pt x="157" y="74"/>
                  </a:lnTo>
                  <a:lnTo>
                    <a:pt x="160" y="69"/>
                  </a:lnTo>
                  <a:lnTo>
                    <a:pt x="167" y="59"/>
                  </a:lnTo>
                  <a:lnTo>
                    <a:pt x="167" y="57"/>
                  </a:lnTo>
                  <a:lnTo>
                    <a:pt x="172" y="52"/>
                  </a:lnTo>
                  <a:lnTo>
                    <a:pt x="176" y="50"/>
                  </a:lnTo>
                  <a:lnTo>
                    <a:pt x="177" y="50"/>
                  </a:lnTo>
                  <a:lnTo>
                    <a:pt x="181" y="50"/>
                  </a:lnTo>
                  <a:lnTo>
                    <a:pt x="183" y="50"/>
                  </a:lnTo>
                  <a:lnTo>
                    <a:pt x="191" y="52"/>
                  </a:lnTo>
                  <a:lnTo>
                    <a:pt x="198" y="54"/>
                  </a:lnTo>
                  <a:lnTo>
                    <a:pt x="203" y="56"/>
                  </a:lnTo>
                  <a:lnTo>
                    <a:pt x="205" y="56"/>
                  </a:lnTo>
                  <a:lnTo>
                    <a:pt x="214" y="54"/>
                  </a:lnTo>
                  <a:lnTo>
                    <a:pt x="217" y="50"/>
                  </a:lnTo>
                  <a:lnTo>
                    <a:pt x="220" y="49"/>
                  </a:lnTo>
                  <a:lnTo>
                    <a:pt x="224" y="43"/>
                  </a:lnTo>
                  <a:lnTo>
                    <a:pt x="226" y="42"/>
                  </a:lnTo>
                  <a:lnTo>
                    <a:pt x="229" y="33"/>
                  </a:lnTo>
                  <a:lnTo>
                    <a:pt x="229" y="31"/>
                  </a:lnTo>
                  <a:lnTo>
                    <a:pt x="231" y="28"/>
                  </a:lnTo>
                  <a:lnTo>
                    <a:pt x="231" y="26"/>
                  </a:lnTo>
                  <a:lnTo>
                    <a:pt x="231" y="25"/>
                  </a:lnTo>
                  <a:lnTo>
                    <a:pt x="231" y="19"/>
                  </a:lnTo>
                  <a:lnTo>
                    <a:pt x="231" y="16"/>
                  </a:lnTo>
                  <a:lnTo>
                    <a:pt x="231" y="14"/>
                  </a:lnTo>
                  <a:lnTo>
                    <a:pt x="232" y="14"/>
                  </a:lnTo>
                  <a:lnTo>
                    <a:pt x="232" y="12"/>
                  </a:lnTo>
                  <a:lnTo>
                    <a:pt x="232" y="11"/>
                  </a:lnTo>
                  <a:lnTo>
                    <a:pt x="234" y="9"/>
                  </a:lnTo>
                  <a:lnTo>
                    <a:pt x="234" y="7"/>
                  </a:lnTo>
                  <a:lnTo>
                    <a:pt x="236" y="6"/>
                  </a:lnTo>
                  <a:lnTo>
                    <a:pt x="236" y="4"/>
                  </a:lnTo>
                  <a:lnTo>
                    <a:pt x="238" y="2"/>
                  </a:lnTo>
                  <a:lnTo>
                    <a:pt x="239" y="2"/>
                  </a:lnTo>
                  <a:lnTo>
                    <a:pt x="239" y="0"/>
                  </a:lnTo>
                  <a:lnTo>
                    <a:pt x="241" y="0"/>
                  </a:lnTo>
                  <a:lnTo>
                    <a:pt x="243" y="0"/>
                  </a:lnTo>
                  <a:lnTo>
                    <a:pt x="244" y="0"/>
                  </a:lnTo>
                  <a:lnTo>
                    <a:pt x="246" y="0"/>
                  </a:lnTo>
                  <a:lnTo>
                    <a:pt x="248" y="0"/>
                  </a:lnTo>
                  <a:lnTo>
                    <a:pt x="250" y="0"/>
                  </a:lnTo>
                  <a:lnTo>
                    <a:pt x="251" y="2"/>
                  </a:lnTo>
                  <a:lnTo>
                    <a:pt x="253" y="2"/>
                  </a:lnTo>
                  <a:lnTo>
                    <a:pt x="255" y="2"/>
                  </a:lnTo>
                  <a:lnTo>
                    <a:pt x="257" y="4"/>
                  </a:lnTo>
                  <a:lnTo>
                    <a:pt x="258" y="4"/>
                  </a:lnTo>
                  <a:lnTo>
                    <a:pt x="260" y="6"/>
                  </a:lnTo>
                  <a:lnTo>
                    <a:pt x="262" y="7"/>
                  </a:lnTo>
                  <a:lnTo>
                    <a:pt x="263" y="7"/>
                  </a:lnTo>
                  <a:lnTo>
                    <a:pt x="263" y="9"/>
                  </a:lnTo>
                  <a:lnTo>
                    <a:pt x="265" y="11"/>
                  </a:lnTo>
                  <a:lnTo>
                    <a:pt x="265" y="12"/>
                  </a:lnTo>
                  <a:lnTo>
                    <a:pt x="267" y="14"/>
                  </a:lnTo>
                  <a:lnTo>
                    <a:pt x="270" y="14"/>
                  </a:lnTo>
                  <a:lnTo>
                    <a:pt x="272" y="16"/>
                  </a:lnTo>
                  <a:lnTo>
                    <a:pt x="272" y="18"/>
                  </a:lnTo>
                  <a:lnTo>
                    <a:pt x="274" y="19"/>
                  </a:lnTo>
                  <a:lnTo>
                    <a:pt x="274" y="21"/>
                  </a:lnTo>
                  <a:lnTo>
                    <a:pt x="281" y="28"/>
                  </a:lnTo>
                  <a:lnTo>
                    <a:pt x="281" y="30"/>
                  </a:lnTo>
                  <a:lnTo>
                    <a:pt x="284" y="30"/>
                  </a:lnTo>
                  <a:lnTo>
                    <a:pt x="294" y="37"/>
                  </a:lnTo>
                  <a:lnTo>
                    <a:pt x="296" y="37"/>
                  </a:lnTo>
                  <a:lnTo>
                    <a:pt x="305" y="43"/>
                  </a:lnTo>
                  <a:lnTo>
                    <a:pt x="317" y="50"/>
                  </a:lnTo>
                  <a:lnTo>
                    <a:pt x="325" y="56"/>
                  </a:lnTo>
                  <a:lnTo>
                    <a:pt x="330" y="52"/>
                  </a:lnTo>
                  <a:lnTo>
                    <a:pt x="341" y="45"/>
                  </a:lnTo>
                  <a:lnTo>
                    <a:pt x="349" y="43"/>
                  </a:lnTo>
                  <a:lnTo>
                    <a:pt x="351" y="45"/>
                  </a:lnTo>
                  <a:lnTo>
                    <a:pt x="361" y="52"/>
                  </a:lnTo>
                  <a:lnTo>
                    <a:pt x="365" y="59"/>
                  </a:lnTo>
                  <a:lnTo>
                    <a:pt x="367" y="62"/>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6" name="Freeform 187"/>
            <p:cNvSpPr>
              <a:spLocks/>
            </p:cNvSpPr>
            <p:nvPr/>
          </p:nvSpPr>
          <p:spPr bwMode="auto">
            <a:xfrm>
              <a:off x="7697084" y="3085894"/>
              <a:ext cx="141288" cy="298450"/>
            </a:xfrm>
            <a:custGeom>
              <a:avLst/>
              <a:gdLst/>
              <a:ahLst/>
              <a:cxnLst>
                <a:cxn ang="0">
                  <a:pos x="84" y="7"/>
                </a:cxn>
                <a:cxn ang="0">
                  <a:pos x="77" y="21"/>
                </a:cxn>
                <a:cxn ang="0">
                  <a:pos x="62" y="38"/>
                </a:cxn>
                <a:cxn ang="0">
                  <a:pos x="63" y="55"/>
                </a:cxn>
                <a:cxn ang="0">
                  <a:pos x="72" y="67"/>
                </a:cxn>
                <a:cxn ang="0">
                  <a:pos x="77" y="76"/>
                </a:cxn>
                <a:cxn ang="0">
                  <a:pos x="82" y="88"/>
                </a:cxn>
                <a:cxn ang="0">
                  <a:pos x="84" y="103"/>
                </a:cxn>
                <a:cxn ang="0">
                  <a:pos x="82" y="121"/>
                </a:cxn>
                <a:cxn ang="0">
                  <a:pos x="79" y="131"/>
                </a:cxn>
                <a:cxn ang="0">
                  <a:pos x="70" y="143"/>
                </a:cxn>
                <a:cxn ang="0">
                  <a:pos x="62" y="152"/>
                </a:cxn>
                <a:cxn ang="0">
                  <a:pos x="50" y="167"/>
                </a:cxn>
                <a:cxn ang="0">
                  <a:pos x="44" y="179"/>
                </a:cxn>
                <a:cxn ang="0">
                  <a:pos x="37" y="186"/>
                </a:cxn>
                <a:cxn ang="0">
                  <a:pos x="31" y="184"/>
                </a:cxn>
                <a:cxn ang="0">
                  <a:pos x="31" y="181"/>
                </a:cxn>
                <a:cxn ang="0">
                  <a:pos x="31" y="176"/>
                </a:cxn>
                <a:cxn ang="0">
                  <a:pos x="25" y="174"/>
                </a:cxn>
                <a:cxn ang="0">
                  <a:pos x="20" y="171"/>
                </a:cxn>
                <a:cxn ang="0">
                  <a:pos x="12" y="162"/>
                </a:cxn>
                <a:cxn ang="0">
                  <a:pos x="8" y="157"/>
                </a:cxn>
                <a:cxn ang="0">
                  <a:pos x="1" y="150"/>
                </a:cxn>
                <a:cxn ang="0">
                  <a:pos x="1" y="143"/>
                </a:cxn>
                <a:cxn ang="0">
                  <a:pos x="1" y="136"/>
                </a:cxn>
                <a:cxn ang="0">
                  <a:pos x="1" y="129"/>
                </a:cxn>
                <a:cxn ang="0">
                  <a:pos x="3" y="124"/>
                </a:cxn>
                <a:cxn ang="0">
                  <a:pos x="5" y="117"/>
                </a:cxn>
                <a:cxn ang="0">
                  <a:pos x="7" y="110"/>
                </a:cxn>
                <a:cxn ang="0">
                  <a:pos x="8" y="105"/>
                </a:cxn>
                <a:cxn ang="0">
                  <a:pos x="8" y="98"/>
                </a:cxn>
                <a:cxn ang="0">
                  <a:pos x="10" y="91"/>
                </a:cxn>
                <a:cxn ang="0">
                  <a:pos x="13" y="90"/>
                </a:cxn>
                <a:cxn ang="0">
                  <a:pos x="15" y="84"/>
                </a:cxn>
                <a:cxn ang="0">
                  <a:pos x="17" y="78"/>
                </a:cxn>
                <a:cxn ang="0">
                  <a:pos x="20" y="76"/>
                </a:cxn>
                <a:cxn ang="0">
                  <a:pos x="24" y="69"/>
                </a:cxn>
                <a:cxn ang="0">
                  <a:pos x="27" y="64"/>
                </a:cxn>
                <a:cxn ang="0">
                  <a:pos x="31" y="59"/>
                </a:cxn>
                <a:cxn ang="0">
                  <a:pos x="31" y="54"/>
                </a:cxn>
                <a:cxn ang="0">
                  <a:pos x="36" y="48"/>
                </a:cxn>
                <a:cxn ang="0">
                  <a:pos x="39" y="45"/>
                </a:cxn>
                <a:cxn ang="0">
                  <a:pos x="46" y="41"/>
                </a:cxn>
                <a:cxn ang="0">
                  <a:pos x="50" y="38"/>
                </a:cxn>
                <a:cxn ang="0">
                  <a:pos x="56" y="35"/>
                </a:cxn>
                <a:cxn ang="0">
                  <a:pos x="62" y="29"/>
                </a:cxn>
                <a:cxn ang="0">
                  <a:pos x="67" y="24"/>
                </a:cxn>
                <a:cxn ang="0">
                  <a:pos x="70" y="19"/>
                </a:cxn>
                <a:cxn ang="0">
                  <a:pos x="74" y="16"/>
                </a:cxn>
                <a:cxn ang="0">
                  <a:pos x="75" y="9"/>
                </a:cxn>
                <a:cxn ang="0">
                  <a:pos x="77" y="2"/>
                </a:cxn>
                <a:cxn ang="0">
                  <a:pos x="79" y="2"/>
                </a:cxn>
              </a:cxnLst>
              <a:rect l="0" t="0" r="r" b="b"/>
              <a:pathLst>
                <a:path w="89" h="188">
                  <a:moveTo>
                    <a:pt x="89" y="2"/>
                  </a:moveTo>
                  <a:lnTo>
                    <a:pt x="87" y="2"/>
                  </a:lnTo>
                  <a:lnTo>
                    <a:pt x="86" y="5"/>
                  </a:lnTo>
                  <a:lnTo>
                    <a:pt x="84" y="7"/>
                  </a:lnTo>
                  <a:lnTo>
                    <a:pt x="84" y="11"/>
                  </a:lnTo>
                  <a:lnTo>
                    <a:pt x="82" y="12"/>
                  </a:lnTo>
                  <a:lnTo>
                    <a:pt x="82" y="16"/>
                  </a:lnTo>
                  <a:lnTo>
                    <a:pt x="77" y="21"/>
                  </a:lnTo>
                  <a:lnTo>
                    <a:pt x="74" y="24"/>
                  </a:lnTo>
                  <a:lnTo>
                    <a:pt x="65" y="33"/>
                  </a:lnTo>
                  <a:lnTo>
                    <a:pt x="63" y="38"/>
                  </a:lnTo>
                  <a:lnTo>
                    <a:pt x="62" y="38"/>
                  </a:lnTo>
                  <a:lnTo>
                    <a:pt x="62" y="41"/>
                  </a:lnTo>
                  <a:lnTo>
                    <a:pt x="62" y="45"/>
                  </a:lnTo>
                  <a:lnTo>
                    <a:pt x="62" y="48"/>
                  </a:lnTo>
                  <a:lnTo>
                    <a:pt x="63" y="55"/>
                  </a:lnTo>
                  <a:lnTo>
                    <a:pt x="68" y="62"/>
                  </a:lnTo>
                  <a:lnTo>
                    <a:pt x="70" y="64"/>
                  </a:lnTo>
                  <a:lnTo>
                    <a:pt x="72" y="66"/>
                  </a:lnTo>
                  <a:lnTo>
                    <a:pt x="72" y="67"/>
                  </a:lnTo>
                  <a:lnTo>
                    <a:pt x="74" y="67"/>
                  </a:lnTo>
                  <a:lnTo>
                    <a:pt x="75" y="71"/>
                  </a:lnTo>
                  <a:lnTo>
                    <a:pt x="75" y="72"/>
                  </a:lnTo>
                  <a:lnTo>
                    <a:pt x="77" y="76"/>
                  </a:lnTo>
                  <a:lnTo>
                    <a:pt x="77" y="78"/>
                  </a:lnTo>
                  <a:lnTo>
                    <a:pt x="79" y="78"/>
                  </a:lnTo>
                  <a:lnTo>
                    <a:pt x="80" y="84"/>
                  </a:lnTo>
                  <a:lnTo>
                    <a:pt x="82" y="88"/>
                  </a:lnTo>
                  <a:lnTo>
                    <a:pt x="82" y="90"/>
                  </a:lnTo>
                  <a:lnTo>
                    <a:pt x="84" y="98"/>
                  </a:lnTo>
                  <a:lnTo>
                    <a:pt x="84" y="102"/>
                  </a:lnTo>
                  <a:lnTo>
                    <a:pt x="84" y="103"/>
                  </a:lnTo>
                  <a:lnTo>
                    <a:pt x="84" y="107"/>
                  </a:lnTo>
                  <a:lnTo>
                    <a:pt x="84" y="110"/>
                  </a:lnTo>
                  <a:lnTo>
                    <a:pt x="84" y="112"/>
                  </a:lnTo>
                  <a:lnTo>
                    <a:pt x="82" y="121"/>
                  </a:lnTo>
                  <a:lnTo>
                    <a:pt x="80" y="122"/>
                  </a:lnTo>
                  <a:lnTo>
                    <a:pt x="80" y="126"/>
                  </a:lnTo>
                  <a:lnTo>
                    <a:pt x="79" y="127"/>
                  </a:lnTo>
                  <a:lnTo>
                    <a:pt x="79" y="131"/>
                  </a:lnTo>
                  <a:lnTo>
                    <a:pt x="75" y="136"/>
                  </a:lnTo>
                  <a:lnTo>
                    <a:pt x="75" y="138"/>
                  </a:lnTo>
                  <a:lnTo>
                    <a:pt x="72" y="141"/>
                  </a:lnTo>
                  <a:lnTo>
                    <a:pt x="70" y="143"/>
                  </a:lnTo>
                  <a:lnTo>
                    <a:pt x="68" y="145"/>
                  </a:lnTo>
                  <a:lnTo>
                    <a:pt x="67" y="148"/>
                  </a:lnTo>
                  <a:lnTo>
                    <a:pt x="62" y="152"/>
                  </a:lnTo>
                  <a:lnTo>
                    <a:pt x="62" y="152"/>
                  </a:lnTo>
                  <a:lnTo>
                    <a:pt x="60" y="152"/>
                  </a:lnTo>
                  <a:lnTo>
                    <a:pt x="60" y="153"/>
                  </a:lnTo>
                  <a:lnTo>
                    <a:pt x="58" y="153"/>
                  </a:lnTo>
                  <a:lnTo>
                    <a:pt x="50" y="167"/>
                  </a:lnTo>
                  <a:lnTo>
                    <a:pt x="48" y="169"/>
                  </a:lnTo>
                  <a:lnTo>
                    <a:pt x="46" y="172"/>
                  </a:lnTo>
                  <a:lnTo>
                    <a:pt x="46" y="176"/>
                  </a:lnTo>
                  <a:lnTo>
                    <a:pt x="44" y="179"/>
                  </a:lnTo>
                  <a:lnTo>
                    <a:pt x="43" y="181"/>
                  </a:lnTo>
                  <a:lnTo>
                    <a:pt x="41" y="183"/>
                  </a:lnTo>
                  <a:lnTo>
                    <a:pt x="39" y="188"/>
                  </a:lnTo>
                  <a:lnTo>
                    <a:pt x="37" y="186"/>
                  </a:lnTo>
                  <a:lnTo>
                    <a:pt x="36" y="186"/>
                  </a:lnTo>
                  <a:lnTo>
                    <a:pt x="34" y="186"/>
                  </a:lnTo>
                  <a:lnTo>
                    <a:pt x="32" y="186"/>
                  </a:lnTo>
                  <a:lnTo>
                    <a:pt x="31" y="184"/>
                  </a:lnTo>
                  <a:lnTo>
                    <a:pt x="31" y="183"/>
                  </a:lnTo>
                  <a:lnTo>
                    <a:pt x="31" y="183"/>
                  </a:lnTo>
                  <a:lnTo>
                    <a:pt x="31" y="183"/>
                  </a:lnTo>
                  <a:lnTo>
                    <a:pt x="31" y="181"/>
                  </a:lnTo>
                  <a:lnTo>
                    <a:pt x="31" y="181"/>
                  </a:lnTo>
                  <a:lnTo>
                    <a:pt x="31" y="179"/>
                  </a:lnTo>
                  <a:lnTo>
                    <a:pt x="31" y="177"/>
                  </a:lnTo>
                  <a:lnTo>
                    <a:pt x="31" y="176"/>
                  </a:lnTo>
                  <a:lnTo>
                    <a:pt x="29" y="176"/>
                  </a:lnTo>
                  <a:lnTo>
                    <a:pt x="29" y="174"/>
                  </a:lnTo>
                  <a:lnTo>
                    <a:pt x="27" y="174"/>
                  </a:lnTo>
                  <a:lnTo>
                    <a:pt x="25" y="174"/>
                  </a:lnTo>
                  <a:lnTo>
                    <a:pt x="25" y="172"/>
                  </a:lnTo>
                  <a:lnTo>
                    <a:pt x="24" y="172"/>
                  </a:lnTo>
                  <a:lnTo>
                    <a:pt x="22" y="171"/>
                  </a:lnTo>
                  <a:lnTo>
                    <a:pt x="20" y="171"/>
                  </a:lnTo>
                  <a:lnTo>
                    <a:pt x="19" y="169"/>
                  </a:lnTo>
                  <a:lnTo>
                    <a:pt x="17" y="167"/>
                  </a:lnTo>
                  <a:lnTo>
                    <a:pt x="15" y="165"/>
                  </a:lnTo>
                  <a:lnTo>
                    <a:pt x="12" y="162"/>
                  </a:lnTo>
                  <a:lnTo>
                    <a:pt x="10" y="160"/>
                  </a:lnTo>
                  <a:lnTo>
                    <a:pt x="10" y="158"/>
                  </a:lnTo>
                  <a:lnTo>
                    <a:pt x="8" y="158"/>
                  </a:lnTo>
                  <a:lnTo>
                    <a:pt x="8" y="157"/>
                  </a:lnTo>
                  <a:lnTo>
                    <a:pt x="7" y="155"/>
                  </a:lnTo>
                  <a:lnTo>
                    <a:pt x="3" y="152"/>
                  </a:lnTo>
                  <a:lnTo>
                    <a:pt x="3" y="152"/>
                  </a:lnTo>
                  <a:lnTo>
                    <a:pt x="1" y="150"/>
                  </a:lnTo>
                  <a:lnTo>
                    <a:pt x="1" y="148"/>
                  </a:lnTo>
                  <a:lnTo>
                    <a:pt x="1" y="146"/>
                  </a:lnTo>
                  <a:lnTo>
                    <a:pt x="1" y="145"/>
                  </a:lnTo>
                  <a:lnTo>
                    <a:pt x="1" y="143"/>
                  </a:lnTo>
                  <a:lnTo>
                    <a:pt x="0" y="141"/>
                  </a:lnTo>
                  <a:lnTo>
                    <a:pt x="1" y="138"/>
                  </a:lnTo>
                  <a:lnTo>
                    <a:pt x="1" y="138"/>
                  </a:lnTo>
                  <a:lnTo>
                    <a:pt x="1" y="136"/>
                  </a:lnTo>
                  <a:lnTo>
                    <a:pt x="1" y="134"/>
                  </a:lnTo>
                  <a:lnTo>
                    <a:pt x="1" y="133"/>
                  </a:lnTo>
                  <a:lnTo>
                    <a:pt x="1" y="131"/>
                  </a:lnTo>
                  <a:lnTo>
                    <a:pt x="1" y="129"/>
                  </a:lnTo>
                  <a:lnTo>
                    <a:pt x="3" y="129"/>
                  </a:lnTo>
                  <a:lnTo>
                    <a:pt x="3" y="127"/>
                  </a:lnTo>
                  <a:lnTo>
                    <a:pt x="3" y="126"/>
                  </a:lnTo>
                  <a:lnTo>
                    <a:pt x="3" y="124"/>
                  </a:lnTo>
                  <a:lnTo>
                    <a:pt x="5" y="122"/>
                  </a:lnTo>
                  <a:lnTo>
                    <a:pt x="5" y="121"/>
                  </a:lnTo>
                  <a:lnTo>
                    <a:pt x="5" y="119"/>
                  </a:lnTo>
                  <a:lnTo>
                    <a:pt x="5" y="117"/>
                  </a:lnTo>
                  <a:lnTo>
                    <a:pt x="5" y="115"/>
                  </a:lnTo>
                  <a:lnTo>
                    <a:pt x="5" y="114"/>
                  </a:lnTo>
                  <a:lnTo>
                    <a:pt x="7" y="112"/>
                  </a:lnTo>
                  <a:lnTo>
                    <a:pt x="7" y="110"/>
                  </a:lnTo>
                  <a:lnTo>
                    <a:pt x="7" y="109"/>
                  </a:lnTo>
                  <a:lnTo>
                    <a:pt x="7" y="107"/>
                  </a:lnTo>
                  <a:lnTo>
                    <a:pt x="8" y="107"/>
                  </a:lnTo>
                  <a:lnTo>
                    <a:pt x="8" y="105"/>
                  </a:lnTo>
                  <a:lnTo>
                    <a:pt x="8" y="103"/>
                  </a:lnTo>
                  <a:lnTo>
                    <a:pt x="8" y="102"/>
                  </a:lnTo>
                  <a:lnTo>
                    <a:pt x="8" y="100"/>
                  </a:lnTo>
                  <a:lnTo>
                    <a:pt x="8" y="98"/>
                  </a:lnTo>
                  <a:lnTo>
                    <a:pt x="8" y="97"/>
                  </a:lnTo>
                  <a:lnTo>
                    <a:pt x="10" y="95"/>
                  </a:lnTo>
                  <a:lnTo>
                    <a:pt x="10" y="93"/>
                  </a:lnTo>
                  <a:lnTo>
                    <a:pt x="10" y="91"/>
                  </a:lnTo>
                  <a:lnTo>
                    <a:pt x="12" y="91"/>
                  </a:lnTo>
                  <a:lnTo>
                    <a:pt x="12" y="91"/>
                  </a:lnTo>
                  <a:lnTo>
                    <a:pt x="12" y="90"/>
                  </a:lnTo>
                  <a:lnTo>
                    <a:pt x="13" y="90"/>
                  </a:lnTo>
                  <a:lnTo>
                    <a:pt x="13" y="88"/>
                  </a:lnTo>
                  <a:lnTo>
                    <a:pt x="13" y="86"/>
                  </a:lnTo>
                  <a:lnTo>
                    <a:pt x="15" y="86"/>
                  </a:lnTo>
                  <a:lnTo>
                    <a:pt x="15" y="84"/>
                  </a:lnTo>
                  <a:lnTo>
                    <a:pt x="15" y="83"/>
                  </a:lnTo>
                  <a:lnTo>
                    <a:pt x="15" y="81"/>
                  </a:lnTo>
                  <a:lnTo>
                    <a:pt x="17" y="79"/>
                  </a:lnTo>
                  <a:lnTo>
                    <a:pt x="17" y="78"/>
                  </a:lnTo>
                  <a:lnTo>
                    <a:pt x="19" y="78"/>
                  </a:lnTo>
                  <a:lnTo>
                    <a:pt x="19" y="78"/>
                  </a:lnTo>
                  <a:lnTo>
                    <a:pt x="19" y="76"/>
                  </a:lnTo>
                  <a:lnTo>
                    <a:pt x="20" y="76"/>
                  </a:lnTo>
                  <a:lnTo>
                    <a:pt x="20" y="74"/>
                  </a:lnTo>
                  <a:lnTo>
                    <a:pt x="22" y="72"/>
                  </a:lnTo>
                  <a:lnTo>
                    <a:pt x="22" y="71"/>
                  </a:lnTo>
                  <a:lnTo>
                    <a:pt x="24" y="69"/>
                  </a:lnTo>
                  <a:lnTo>
                    <a:pt x="25" y="67"/>
                  </a:lnTo>
                  <a:lnTo>
                    <a:pt x="25" y="66"/>
                  </a:lnTo>
                  <a:lnTo>
                    <a:pt x="25" y="64"/>
                  </a:lnTo>
                  <a:lnTo>
                    <a:pt x="27" y="64"/>
                  </a:lnTo>
                  <a:lnTo>
                    <a:pt x="27" y="62"/>
                  </a:lnTo>
                  <a:lnTo>
                    <a:pt x="29" y="60"/>
                  </a:lnTo>
                  <a:lnTo>
                    <a:pt x="31" y="60"/>
                  </a:lnTo>
                  <a:lnTo>
                    <a:pt x="31" y="59"/>
                  </a:lnTo>
                  <a:lnTo>
                    <a:pt x="31" y="57"/>
                  </a:lnTo>
                  <a:lnTo>
                    <a:pt x="31" y="57"/>
                  </a:lnTo>
                  <a:lnTo>
                    <a:pt x="31" y="55"/>
                  </a:lnTo>
                  <a:lnTo>
                    <a:pt x="31" y="54"/>
                  </a:lnTo>
                  <a:lnTo>
                    <a:pt x="32" y="54"/>
                  </a:lnTo>
                  <a:lnTo>
                    <a:pt x="32" y="52"/>
                  </a:lnTo>
                  <a:lnTo>
                    <a:pt x="34" y="50"/>
                  </a:lnTo>
                  <a:lnTo>
                    <a:pt x="36" y="48"/>
                  </a:lnTo>
                  <a:lnTo>
                    <a:pt x="36" y="47"/>
                  </a:lnTo>
                  <a:lnTo>
                    <a:pt x="36" y="47"/>
                  </a:lnTo>
                  <a:lnTo>
                    <a:pt x="37" y="45"/>
                  </a:lnTo>
                  <a:lnTo>
                    <a:pt x="39" y="45"/>
                  </a:lnTo>
                  <a:lnTo>
                    <a:pt x="39" y="43"/>
                  </a:lnTo>
                  <a:lnTo>
                    <a:pt x="41" y="43"/>
                  </a:lnTo>
                  <a:lnTo>
                    <a:pt x="43" y="41"/>
                  </a:lnTo>
                  <a:lnTo>
                    <a:pt x="46" y="41"/>
                  </a:lnTo>
                  <a:lnTo>
                    <a:pt x="46" y="40"/>
                  </a:lnTo>
                  <a:lnTo>
                    <a:pt x="46" y="40"/>
                  </a:lnTo>
                  <a:lnTo>
                    <a:pt x="48" y="38"/>
                  </a:lnTo>
                  <a:lnTo>
                    <a:pt x="50" y="38"/>
                  </a:lnTo>
                  <a:lnTo>
                    <a:pt x="51" y="36"/>
                  </a:lnTo>
                  <a:lnTo>
                    <a:pt x="53" y="36"/>
                  </a:lnTo>
                  <a:lnTo>
                    <a:pt x="55" y="35"/>
                  </a:lnTo>
                  <a:lnTo>
                    <a:pt x="56" y="35"/>
                  </a:lnTo>
                  <a:lnTo>
                    <a:pt x="58" y="33"/>
                  </a:lnTo>
                  <a:lnTo>
                    <a:pt x="58" y="31"/>
                  </a:lnTo>
                  <a:lnTo>
                    <a:pt x="62" y="31"/>
                  </a:lnTo>
                  <a:lnTo>
                    <a:pt x="62" y="29"/>
                  </a:lnTo>
                  <a:lnTo>
                    <a:pt x="63" y="28"/>
                  </a:lnTo>
                  <a:lnTo>
                    <a:pt x="65" y="26"/>
                  </a:lnTo>
                  <a:lnTo>
                    <a:pt x="65" y="24"/>
                  </a:lnTo>
                  <a:lnTo>
                    <a:pt x="67" y="24"/>
                  </a:lnTo>
                  <a:lnTo>
                    <a:pt x="67" y="23"/>
                  </a:lnTo>
                  <a:lnTo>
                    <a:pt x="68" y="23"/>
                  </a:lnTo>
                  <a:lnTo>
                    <a:pt x="68" y="21"/>
                  </a:lnTo>
                  <a:lnTo>
                    <a:pt x="70" y="19"/>
                  </a:lnTo>
                  <a:lnTo>
                    <a:pt x="72" y="17"/>
                  </a:lnTo>
                  <a:lnTo>
                    <a:pt x="72" y="16"/>
                  </a:lnTo>
                  <a:lnTo>
                    <a:pt x="74" y="16"/>
                  </a:lnTo>
                  <a:lnTo>
                    <a:pt x="74" y="16"/>
                  </a:lnTo>
                  <a:lnTo>
                    <a:pt x="75" y="14"/>
                  </a:lnTo>
                  <a:lnTo>
                    <a:pt x="75" y="12"/>
                  </a:lnTo>
                  <a:lnTo>
                    <a:pt x="75" y="11"/>
                  </a:lnTo>
                  <a:lnTo>
                    <a:pt x="75" y="9"/>
                  </a:lnTo>
                  <a:lnTo>
                    <a:pt x="77" y="7"/>
                  </a:lnTo>
                  <a:lnTo>
                    <a:pt x="77" y="5"/>
                  </a:lnTo>
                  <a:lnTo>
                    <a:pt x="77" y="4"/>
                  </a:lnTo>
                  <a:lnTo>
                    <a:pt x="77" y="2"/>
                  </a:lnTo>
                  <a:lnTo>
                    <a:pt x="77" y="2"/>
                  </a:lnTo>
                  <a:lnTo>
                    <a:pt x="77" y="0"/>
                  </a:lnTo>
                  <a:lnTo>
                    <a:pt x="77" y="2"/>
                  </a:lnTo>
                  <a:lnTo>
                    <a:pt x="79" y="2"/>
                  </a:lnTo>
                  <a:lnTo>
                    <a:pt x="82" y="2"/>
                  </a:lnTo>
                  <a:lnTo>
                    <a:pt x="89" y="2"/>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7" name="Freeform 190"/>
            <p:cNvSpPr>
              <a:spLocks/>
            </p:cNvSpPr>
            <p:nvPr/>
          </p:nvSpPr>
          <p:spPr bwMode="auto">
            <a:xfrm>
              <a:off x="6692196" y="3192256"/>
              <a:ext cx="611188" cy="617538"/>
            </a:xfrm>
            <a:custGeom>
              <a:avLst/>
              <a:gdLst/>
              <a:ahLst/>
              <a:cxnLst>
                <a:cxn ang="0">
                  <a:pos x="24" y="2"/>
                </a:cxn>
                <a:cxn ang="0">
                  <a:pos x="34" y="4"/>
                </a:cxn>
                <a:cxn ang="0">
                  <a:pos x="50" y="19"/>
                </a:cxn>
                <a:cxn ang="0">
                  <a:pos x="63" y="31"/>
                </a:cxn>
                <a:cxn ang="0">
                  <a:pos x="75" y="40"/>
                </a:cxn>
                <a:cxn ang="0">
                  <a:pos x="84" y="48"/>
                </a:cxn>
                <a:cxn ang="0">
                  <a:pos x="84" y="60"/>
                </a:cxn>
                <a:cxn ang="0">
                  <a:pos x="94" y="71"/>
                </a:cxn>
                <a:cxn ang="0">
                  <a:pos x="130" y="79"/>
                </a:cxn>
                <a:cxn ang="0">
                  <a:pos x="154" y="83"/>
                </a:cxn>
                <a:cxn ang="0">
                  <a:pos x="187" y="74"/>
                </a:cxn>
                <a:cxn ang="0">
                  <a:pos x="208" y="95"/>
                </a:cxn>
                <a:cxn ang="0">
                  <a:pos x="223" y="112"/>
                </a:cxn>
                <a:cxn ang="0">
                  <a:pos x="235" y="116"/>
                </a:cxn>
                <a:cxn ang="0">
                  <a:pos x="247" y="121"/>
                </a:cxn>
                <a:cxn ang="0">
                  <a:pos x="261" y="129"/>
                </a:cxn>
                <a:cxn ang="0">
                  <a:pos x="280" y="128"/>
                </a:cxn>
                <a:cxn ang="0">
                  <a:pos x="296" y="117"/>
                </a:cxn>
                <a:cxn ang="0">
                  <a:pos x="314" y="107"/>
                </a:cxn>
                <a:cxn ang="0">
                  <a:pos x="342" y="86"/>
                </a:cxn>
                <a:cxn ang="0">
                  <a:pos x="368" y="71"/>
                </a:cxn>
                <a:cxn ang="0">
                  <a:pos x="371" y="59"/>
                </a:cxn>
                <a:cxn ang="0">
                  <a:pos x="376" y="52"/>
                </a:cxn>
                <a:cxn ang="0">
                  <a:pos x="383" y="48"/>
                </a:cxn>
                <a:cxn ang="0">
                  <a:pos x="383" y="69"/>
                </a:cxn>
                <a:cxn ang="0">
                  <a:pos x="383" y="112"/>
                </a:cxn>
                <a:cxn ang="0">
                  <a:pos x="383" y="145"/>
                </a:cxn>
                <a:cxn ang="0">
                  <a:pos x="383" y="164"/>
                </a:cxn>
                <a:cxn ang="0">
                  <a:pos x="383" y="179"/>
                </a:cxn>
                <a:cxn ang="0">
                  <a:pos x="383" y="200"/>
                </a:cxn>
                <a:cxn ang="0">
                  <a:pos x="383" y="224"/>
                </a:cxn>
                <a:cxn ang="0">
                  <a:pos x="378" y="255"/>
                </a:cxn>
                <a:cxn ang="0">
                  <a:pos x="376" y="276"/>
                </a:cxn>
                <a:cxn ang="0">
                  <a:pos x="375" y="289"/>
                </a:cxn>
                <a:cxn ang="0">
                  <a:pos x="368" y="329"/>
                </a:cxn>
                <a:cxn ang="0">
                  <a:pos x="364" y="363"/>
                </a:cxn>
                <a:cxn ang="0">
                  <a:pos x="340" y="382"/>
                </a:cxn>
                <a:cxn ang="0">
                  <a:pos x="304" y="382"/>
                </a:cxn>
                <a:cxn ang="0">
                  <a:pos x="277" y="382"/>
                </a:cxn>
                <a:cxn ang="0">
                  <a:pos x="240" y="384"/>
                </a:cxn>
                <a:cxn ang="0">
                  <a:pos x="196" y="386"/>
                </a:cxn>
                <a:cxn ang="0">
                  <a:pos x="165" y="386"/>
                </a:cxn>
                <a:cxn ang="0">
                  <a:pos x="132" y="386"/>
                </a:cxn>
                <a:cxn ang="0">
                  <a:pos x="118" y="386"/>
                </a:cxn>
                <a:cxn ang="0">
                  <a:pos x="89" y="387"/>
                </a:cxn>
                <a:cxn ang="0">
                  <a:pos x="46" y="387"/>
                </a:cxn>
                <a:cxn ang="0">
                  <a:pos x="15" y="387"/>
                </a:cxn>
                <a:cxn ang="0">
                  <a:pos x="7" y="370"/>
                </a:cxn>
                <a:cxn ang="0">
                  <a:pos x="7" y="346"/>
                </a:cxn>
                <a:cxn ang="0">
                  <a:pos x="7" y="315"/>
                </a:cxn>
                <a:cxn ang="0">
                  <a:pos x="5" y="291"/>
                </a:cxn>
                <a:cxn ang="0">
                  <a:pos x="5" y="258"/>
                </a:cxn>
                <a:cxn ang="0">
                  <a:pos x="3" y="236"/>
                </a:cxn>
                <a:cxn ang="0">
                  <a:pos x="3" y="212"/>
                </a:cxn>
                <a:cxn ang="0">
                  <a:pos x="1" y="191"/>
                </a:cxn>
                <a:cxn ang="0">
                  <a:pos x="1" y="160"/>
                </a:cxn>
                <a:cxn ang="0">
                  <a:pos x="0" y="121"/>
                </a:cxn>
                <a:cxn ang="0">
                  <a:pos x="0" y="100"/>
                </a:cxn>
                <a:cxn ang="0">
                  <a:pos x="0" y="78"/>
                </a:cxn>
                <a:cxn ang="0">
                  <a:pos x="0" y="43"/>
                </a:cxn>
                <a:cxn ang="0">
                  <a:pos x="0" y="9"/>
                </a:cxn>
              </a:cxnLst>
              <a:rect l="0" t="0" r="r" b="b"/>
              <a:pathLst>
                <a:path w="385" h="389">
                  <a:moveTo>
                    <a:pt x="0" y="9"/>
                  </a:moveTo>
                  <a:lnTo>
                    <a:pt x="5" y="11"/>
                  </a:lnTo>
                  <a:lnTo>
                    <a:pt x="8" y="11"/>
                  </a:lnTo>
                  <a:lnTo>
                    <a:pt x="12" y="11"/>
                  </a:lnTo>
                  <a:lnTo>
                    <a:pt x="13" y="11"/>
                  </a:lnTo>
                  <a:lnTo>
                    <a:pt x="15" y="11"/>
                  </a:lnTo>
                  <a:lnTo>
                    <a:pt x="22" y="2"/>
                  </a:lnTo>
                  <a:lnTo>
                    <a:pt x="24" y="2"/>
                  </a:lnTo>
                  <a:lnTo>
                    <a:pt x="24" y="0"/>
                  </a:lnTo>
                  <a:lnTo>
                    <a:pt x="25" y="0"/>
                  </a:lnTo>
                  <a:lnTo>
                    <a:pt x="27" y="0"/>
                  </a:lnTo>
                  <a:lnTo>
                    <a:pt x="29" y="0"/>
                  </a:lnTo>
                  <a:lnTo>
                    <a:pt x="31" y="0"/>
                  </a:lnTo>
                  <a:lnTo>
                    <a:pt x="31" y="2"/>
                  </a:lnTo>
                  <a:lnTo>
                    <a:pt x="32" y="2"/>
                  </a:lnTo>
                  <a:lnTo>
                    <a:pt x="34" y="4"/>
                  </a:lnTo>
                  <a:lnTo>
                    <a:pt x="36" y="5"/>
                  </a:lnTo>
                  <a:lnTo>
                    <a:pt x="38" y="7"/>
                  </a:lnTo>
                  <a:lnTo>
                    <a:pt x="39" y="9"/>
                  </a:lnTo>
                  <a:lnTo>
                    <a:pt x="43" y="11"/>
                  </a:lnTo>
                  <a:lnTo>
                    <a:pt x="46" y="14"/>
                  </a:lnTo>
                  <a:lnTo>
                    <a:pt x="46" y="16"/>
                  </a:lnTo>
                  <a:lnTo>
                    <a:pt x="46" y="16"/>
                  </a:lnTo>
                  <a:lnTo>
                    <a:pt x="50" y="19"/>
                  </a:lnTo>
                  <a:lnTo>
                    <a:pt x="53" y="21"/>
                  </a:lnTo>
                  <a:lnTo>
                    <a:pt x="55" y="23"/>
                  </a:lnTo>
                  <a:lnTo>
                    <a:pt x="56" y="23"/>
                  </a:lnTo>
                  <a:lnTo>
                    <a:pt x="58" y="24"/>
                  </a:lnTo>
                  <a:lnTo>
                    <a:pt x="60" y="26"/>
                  </a:lnTo>
                  <a:lnTo>
                    <a:pt x="60" y="28"/>
                  </a:lnTo>
                  <a:lnTo>
                    <a:pt x="62" y="30"/>
                  </a:lnTo>
                  <a:lnTo>
                    <a:pt x="63" y="31"/>
                  </a:lnTo>
                  <a:lnTo>
                    <a:pt x="65" y="33"/>
                  </a:lnTo>
                  <a:lnTo>
                    <a:pt x="67" y="33"/>
                  </a:lnTo>
                  <a:lnTo>
                    <a:pt x="68" y="35"/>
                  </a:lnTo>
                  <a:lnTo>
                    <a:pt x="70" y="36"/>
                  </a:lnTo>
                  <a:lnTo>
                    <a:pt x="72" y="36"/>
                  </a:lnTo>
                  <a:lnTo>
                    <a:pt x="74" y="38"/>
                  </a:lnTo>
                  <a:lnTo>
                    <a:pt x="75" y="40"/>
                  </a:lnTo>
                  <a:lnTo>
                    <a:pt x="75" y="40"/>
                  </a:lnTo>
                  <a:lnTo>
                    <a:pt x="77" y="40"/>
                  </a:lnTo>
                  <a:lnTo>
                    <a:pt x="79" y="40"/>
                  </a:lnTo>
                  <a:lnTo>
                    <a:pt x="79" y="42"/>
                  </a:lnTo>
                  <a:lnTo>
                    <a:pt x="81" y="42"/>
                  </a:lnTo>
                  <a:lnTo>
                    <a:pt x="81" y="43"/>
                  </a:lnTo>
                  <a:lnTo>
                    <a:pt x="82" y="45"/>
                  </a:lnTo>
                  <a:lnTo>
                    <a:pt x="82" y="47"/>
                  </a:lnTo>
                  <a:lnTo>
                    <a:pt x="84" y="48"/>
                  </a:lnTo>
                  <a:lnTo>
                    <a:pt x="84" y="50"/>
                  </a:lnTo>
                  <a:lnTo>
                    <a:pt x="86" y="52"/>
                  </a:lnTo>
                  <a:lnTo>
                    <a:pt x="86" y="54"/>
                  </a:lnTo>
                  <a:lnTo>
                    <a:pt x="86" y="55"/>
                  </a:lnTo>
                  <a:lnTo>
                    <a:pt x="86" y="55"/>
                  </a:lnTo>
                  <a:lnTo>
                    <a:pt x="86" y="57"/>
                  </a:lnTo>
                  <a:lnTo>
                    <a:pt x="84" y="59"/>
                  </a:lnTo>
                  <a:lnTo>
                    <a:pt x="84" y="60"/>
                  </a:lnTo>
                  <a:lnTo>
                    <a:pt x="86" y="64"/>
                  </a:lnTo>
                  <a:lnTo>
                    <a:pt x="86" y="66"/>
                  </a:lnTo>
                  <a:lnTo>
                    <a:pt x="86" y="67"/>
                  </a:lnTo>
                  <a:lnTo>
                    <a:pt x="87" y="67"/>
                  </a:lnTo>
                  <a:lnTo>
                    <a:pt x="89" y="69"/>
                  </a:lnTo>
                  <a:lnTo>
                    <a:pt x="91" y="69"/>
                  </a:lnTo>
                  <a:lnTo>
                    <a:pt x="91" y="71"/>
                  </a:lnTo>
                  <a:lnTo>
                    <a:pt x="94" y="71"/>
                  </a:lnTo>
                  <a:lnTo>
                    <a:pt x="99" y="71"/>
                  </a:lnTo>
                  <a:lnTo>
                    <a:pt x="101" y="71"/>
                  </a:lnTo>
                  <a:lnTo>
                    <a:pt x="103" y="73"/>
                  </a:lnTo>
                  <a:lnTo>
                    <a:pt x="106" y="74"/>
                  </a:lnTo>
                  <a:lnTo>
                    <a:pt x="111" y="76"/>
                  </a:lnTo>
                  <a:lnTo>
                    <a:pt x="117" y="78"/>
                  </a:lnTo>
                  <a:lnTo>
                    <a:pt x="124" y="78"/>
                  </a:lnTo>
                  <a:lnTo>
                    <a:pt x="130" y="79"/>
                  </a:lnTo>
                  <a:lnTo>
                    <a:pt x="136" y="81"/>
                  </a:lnTo>
                  <a:lnTo>
                    <a:pt x="139" y="83"/>
                  </a:lnTo>
                  <a:lnTo>
                    <a:pt x="142" y="85"/>
                  </a:lnTo>
                  <a:lnTo>
                    <a:pt x="146" y="85"/>
                  </a:lnTo>
                  <a:lnTo>
                    <a:pt x="148" y="85"/>
                  </a:lnTo>
                  <a:lnTo>
                    <a:pt x="149" y="85"/>
                  </a:lnTo>
                  <a:lnTo>
                    <a:pt x="151" y="83"/>
                  </a:lnTo>
                  <a:lnTo>
                    <a:pt x="154" y="83"/>
                  </a:lnTo>
                  <a:lnTo>
                    <a:pt x="160" y="81"/>
                  </a:lnTo>
                  <a:lnTo>
                    <a:pt x="165" y="78"/>
                  </a:lnTo>
                  <a:lnTo>
                    <a:pt x="168" y="76"/>
                  </a:lnTo>
                  <a:lnTo>
                    <a:pt x="170" y="76"/>
                  </a:lnTo>
                  <a:lnTo>
                    <a:pt x="175" y="74"/>
                  </a:lnTo>
                  <a:lnTo>
                    <a:pt x="182" y="73"/>
                  </a:lnTo>
                  <a:lnTo>
                    <a:pt x="184" y="73"/>
                  </a:lnTo>
                  <a:lnTo>
                    <a:pt x="187" y="74"/>
                  </a:lnTo>
                  <a:lnTo>
                    <a:pt x="189" y="74"/>
                  </a:lnTo>
                  <a:lnTo>
                    <a:pt x="196" y="78"/>
                  </a:lnTo>
                  <a:lnTo>
                    <a:pt x="196" y="79"/>
                  </a:lnTo>
                  <a:lnTo>
                    <a:pt x="199" y="83"/>
                  </a:lnTo>
                  <a:lnTo>
                    <a:pt x="201" y="85"/>
                  </a:lnTo>
                  <a:lnTo>
                    <a:pt x="203" y="85"/>
                  </a:lnTo>
                  <a:lnTo>
                    <a:pt x="204" y="90"/>
                  </a:lnTo>
                  <a:lnTo>
                    <a:pt x="208" y="95"/>
                  </a:lnTo>
                  <a:lnTo>
                    <a:pt x="208" y="98"/>
                  </a:lnTo>
                  <a:lnTo>
                    <a:pt x="211" y="100"/>
                  </a:lnTo>
                  <a:lnTo>
                    <a:pt x="211" y="102"/>
                  </a:lnTo>
                  <a:lnTo>
                    <a:pt x="211" y="104"/>
                  </a:lnTo>
                  <a:lnTo>
                    <a:pt x="213" y="105"/>
                  </a:lnTo>
                  <a:lnTo>
                    <a:pt x="218" y="109"/>
                  </a:lnTo>
                  <a:lnTo>
                    <a:pt x="220" y="110"/>
                  </a:lnTo>
                  <a:lnTo>
                    <a:pt x="223" y="112"/>
                  </a:lnTo>
                  <a:lnTo>
                    <a:pt x="225" y="114"/>
                  </a:lnTo>
                  <a:lnTo>
                    <a:pt x="227" y="114"/>
                  </a:lnTo>
                  <a:lnTo>
                    <a:pt x="227" y="116"/>
                  </a:lnTo>
                  <a:lnTo>
                    <a:pt x="228" y="116"/>
                  </a:lnTo>
                  <a:lnTo>
                    <a:pt x="230" y="116"/>
                  </a:lnTo>
                  <a:lnTo>
                    <a:pt x="232" y="116"/>
                  </a:lnTo>
                  <a:lnTo>
                    <a:pt x="234" y="116"/>
                  </a:lnTo>
                  <a:lnTo>
                    <a:pt x="235" y="116"/>
                  </a:lnTo>
                  <a:lnTo>
                    <a:pt x="237" y="116"/>
                  </a:lnTo>
                  <a:lnTo>
                    <a:pt x="239" y="117"/>
                  </a:lnTo>
                  <a:lnTo>
                    <a:pt x="240" y="117"/>
                  </a:lnTo>
                  <a:lnTo>
                    <a:pt x="242" y="117"/>
                  </a:lnTo>
                  <a:lnTo>
                    <a:pt x="242" y="119"/>
                  </a:lnTo>
                  <a:lnTo>
                    <a:pt x="244" y="119"/>
                  </a:lnTo>
                  <a:lnTo>
                    <a:pt x="246" y="121"/>
                  </a:lnTo>
                  <a:lnTo>
                    <a:pt x="247" y="121"/>
                  </a:lnTo>
                  <a:lnTo>
                    <a:pt x="247" y="122"/>
                  </a:lnTo>
                  <a:lnTo>
                    <a:pt x="251" y="124"/>
                  </a:lnTo>
                  <a:lnTo>
                    <a:pt x="253" y="126"/>
                  </a:lnTo>
                  <a:lnTo>
                    <a:pt x="256" y="126"/>
                  </a:lnTo>
                  <a:lnTo>
                    <a:pt x="256" y="128"/>
                  </a:lnTo>
                  <a:lnTo>
                    <a:pt x="258" y="128"/>
                  </a:lnTo>
                  <a:lnTo>
                    <a:pt x="259" y="129"/>
                  </a:lnTo>
                  <a:lnTo>
                    <a:pt x="261" y="129"/>
                  </a:lnTo>
                  <a:lnTo>
                    <a:pt x="263" y="129"/>
                  </a:lnTo>
                  <a:lnTo>
                    <a:pt x="265" y="129"/>
                  </a:lnTo>
                  <a:lnTo>
                    <a:pt x="268" y="131"/>
                  </a:lnTo>
                  <a:lnTo>
                    <a:pt x="270" y="131"/>
                  </a:lnTo>
                  <a:lnTo>
                    <a:pt x="271" y="131"/>
                  </a:lnTo>
                  <a:lnTo>
                    <a:pt x="273" y="129"/>
                  </a:lnTo>
                  <a:lnTo>
                    <a:pt x="277" y="129"/>
                  </a:lnTo>
                  <a:lnTo>
                    <a:pt x="280" y="128"/>
                  </a:lnTo>
                  <a:lnTo>
                    <a:pt x="282" y="128"/>
                  </a:lnTo>
                  <a:lnTo>
                    <a:pt x="285" y="126"/>
                  </a:lnTo>
                  <a:lnTo>
                    <a:pt x="287" y="124"/>
                  </a:lnTo>
                  <a:lnTo>
                    <a:pt x="287" y="122"/>
                  </a:lnTo>
                  <a:lnTo>
                    <a:pt x="290" y="121"/>
                  </a:lnTo>
                  <a:lnTo>
                    <a:pt x="292" y="119"/>
                  </a:lnTo>
                  <a:lnTo>
                    <a:pt x="294" y="119"/>
                  </a:lnTo>
                  <a:lnTo>
                    <a:pt x="296" y="117"/>
                  </a:lnTo>
                  <a:lnTo>
                    <a:pt x="299" y="116"/>
                  </a:lnTo>
                  <a:lnTo>
                    <a:pt x="301" y="114"/>
                  </a:lnTo>
                  <a:lnTo>
                    <a:pt x="302" y="114"/>
                  </a:lnTo>
                  <a:lnTo>
                    <a:pt x="302" y="112"/>
                  </a:lnTo>
                  <a:lnTo>
                    <a:pt x="304" y="112"/>
                  </a:lnTo>
                  <a:lnTo>
                    <a:pt x="306" y="110"/>
                  </a:lnTo>
                  <a:lnTo>
                    <a:pt x="311" y="109"/>
                  </a:lnTo>
                  <a:lnTo>
                    <a:pt x="314" y="107"/>
                  </a:lnTo>
                  <a:lnTo>
                    <a:pt x="318" y="104"/>
                  </a:lnTo>
                  <a:lnTo>
                    <a:pt x="321" y="100"/>
                  </a:lnTo>
                  <a:lnTo>
                    <a:pt x="326" y="97"/>
                  </a:lnTo>
                  <a:lnTo>
                    <a:pt x="330" y="93"/>
                  </a:lnTo>
                  <a:lnTo>
                    <a:pt x="332" y="93"/>
                  </a:lnTo>
                  <a:lnTo>
                    <a:pt x="333" y="90"/>
                  </a:lnTo>
                  <a:lnTo>
                    <a:pt x="337" y="88"/>
                  </a:lnTo>
                  <a:lnTo>
                    <a:pt x="342" y="86"/>
                  </a:lnTo>
                  <a:lnTo>
                    <a:pt x="345" y="85"/>
                  </a:lnTo>
                  <a:lnTo>
                    <a:pt x="351" y="85"/>
                  </a:lnTo>
                  <a:lnTo>
                    <a:pt x="357" y="83"/>
                  </a:lnTo>
                  <a:lnTo>
                    <a:pt x="363" y="79"/>
                  </a:lnTo>
                  <a:lnTo>
                    <a:pt x="364" y="76"/>
                  </a:lnTo>
                  <a:lnTo>
                    <a:pt x="364" y="74"/>
                  </a:lnTo>
                  <a:lnTo>
                    <a:pt x="366" y="73"/>
                  </a:lnTo>
                  <a:lnTo>
                    <a:pt x="368" y="71"/>
                  </a:lnTo>
                  <a:lnTo>
                    <a:pt x="368" y="71"/>
                  </a:lnTo>
                  <a:lnTo>
                    <a:pt x="369" y="69"/>
                  </a:lnTo>
                  <a:lnTo>
                    <a:pt x="369" y="67"/>
                  </a:lnTo>
                  <a:lnTo>
                    <a:pt x="369" y="66"/>
                  </a:lnTo>
                  <a:lnTo>
                    <a:pt x="369" y="64"/>
                  </a:lnTo>
                  <a:lnTo>
                    <a:pt x="371" y="62"/>
                  </a:lnTo>
                  <a:lnTo>
                    <a:pt x="371" y="60"/>
                  </a:lnTo>
                  <a:lnTo>
                    <a:pt x="371" y="59"/>
                  </a:lnTo>
                  <a:lnTo>
                    <a:pt x="373" y="59"/>
                  </a:lnTo>
                  <a:lnTo>
                    <a:pt x="373" y="57"/>
                  </a:lnTo>
                  <a:lnTo>
                    <a:pt x="373" y="55"/>
                  </a:lnTo>
                  <a:lnTo>
                    <a:pt x="375" y="55"/>
                  </a:lnTo>
                  <a:lnTo>
                    <a:pt x="375" y="55"/>
                  </a:lnTo>
                  <a:lnTo>
                    <a:pt x="376" y="55"/>
                  </a:lnTo>
                  <a:lnTo>
                    <a:pt x="376" y="54"/>
                  </a:lnTo>
                  <a:lnTo>
                    <a:pt x="376" y="52"/>
                  </a:lnTo>
                  <a:lnTo>
                    <a:pt x="376" y="50"/>
                  </a:lnTo>
                  <a:lnTo>
                    <a:pt x="378" y="48"/>
                  </a:lnTo>
                  <a:lnTo>
                    <a:pt x="378" y="48"/>
                  </a:lnTo>
                  <a:lnTo>
                    <a:pt x="380" y="48"/>
                  </a:lnTo>
                  <a:lnTo>
                    <a:pt x="382" y="48"/>
                  </a:lnTo>
                  <a:lnTo>
                    <a:pt x="382" y="47"/>
                  </a:lnTo>
                  <a:lnTo>
                    <a:pt x="383" y="47"/>
                  </a:lnTo>
                  <a:lnTo>
                    <a:pt x="383" y="48"/>
                  </a:lnTo>
                  <a:lnTo>
                    <a:pt x="383" y="55"/>
                  </a:lnTo>
                  <a:lnTo>
                    <a:pt x="383" y="57"/>
                  </a:lnTo>
                  <a:lnTo>
                    <a:pt x="383" y="59"/>
                  </a:lnTo>
                  <a:lnTo>
                    <a:pt x="383" y="62"/>
                  </a:lnTo>
                  <a:lnTo>
                    <a:pt x="383" y="64"/>
                  </a:lnTo>
                  <a:lnTo>
                    <a:pt x="383" y="66"/>
                  </a:lnTo>
                  <a:lnTo>
                    <a:pt x="383" y="67"/>
                  </a:lnTo>
                  <a:lnTo>
                    <a:pt x="383" y="69"/>
                  </a:lnTo>
                  <a:lnTo>
                    <a:pt x="383" y="81"/>
                  </a:lnTo>
                  <a:lnTo>
                    <a:pt x="383" y="95"/>
                  </a:lnTo>
                  <a:lnTo>
                    <a:pt x="383" y="100"/>
                  </a:lnTo>
                  <a:lnTo>
                    <a:pt x="383" y="102"/>
                  </a:lnTo>
                  <a:lnTo>
                    <a:pt x="383" y="104"/>
                  </a:lnTo>
                  <a:lnTo>
                    <a:pt x="383" y="105"/>
                  </a:lnTo>
                  <a:lnTo>
                    <a:pt x="383" y="109"/>
                  </a:lnTo>
                  <a:lnTo>
                    <a:pt x="383" y="112"/>
                  </a:lnTo>
                  <a:lnTo>
                    <a:pt x="383" y="116"/>
                  </a:lnTo>
                  <a:lnTo>
                    <a:pt x="383" y="117"/>
                  </a:lnTo>
                  <a:lnTo>
                    <a:pt x="383" y="119"/>
                  </a:lnTo>
                  <a:lnTo>
                    <a:pt x="383" y="121"/>
                  </a:lnTo>
                  <a:lnTo>
                    <a:pt x="383" y="128"/>
                  </a:lnTo>
                  <a:lnTo>
                    <a:pt x="383" y="129"/>
                  </a:lnTo>
                  <a:lnTo>
                    <a:pt x="383" y="134"/>
                  </a:lnTo>
                  <a:lnTo>
                    <a:pt x="383" y="145"/>
                  </a:lnTo>
                  <a:lnTo>
                    <a:pt x="383" y="147"/>
                  </a:lnTo>
                  <a:lnTo>
                    <a:pt x="383" y="150"/>
                  </a:lnTo>
                  <a:lnTo>
                    <a:pt x="383" y="153"/>
                  </a:lnTo>
                  <a:lnTo>
                    <a:pt x="383" y="155"/>
                  </a:lnTo>
                  <a:lnTo>
                    <a:pt x="383" y="160"/>
                  </a:lnTo>
                  <a:lnTo>
                    <a:pt x="383" y="160"/>
                  </a:lnTo>
                  <a:lnTo>
                    <a:pt x="383" y="162"/>
                  </a:lnTo>
                  <a:lnTo>
                    <a:pt x="383" y="164"/>
                  </a:lnTo>
                  <a:lnTo>
                    <a:pt x="383" y="165"/>
                  </a:lnTo>
                  <a:lnTo>
                    <a:pt x="383" y="167"/>
                  </a:lnTo>
                  <a:lnTo>
                    <a:pt x="383" y="169"/>
                  </a:lnTo>
                  <a:lnTo>
                    <a:pt x="383" y="171"/>
                  </a:lnTo>
                  <a:lnTo>
                    <a:pt x="383" y="172"/>
                  </a:lnTo>
                  <a:lnTo>
                    <a:pt x="383" y="176"/>
                  </a:lnTo>
                  <a:lnTo>
                    <a:pt x="383" y="177"/>
                  </a:lnTo>
                  <a:lnTo>
                    <a:pt x="383" y="179"/>
                  </a:lnTo>
                  <a:lnTo>
                    <a:pt x="383" y="181"/>
                  </a:lnTo>
                  <a:lnTo>
                    <a:pt x="383" y="183"/>
                  </a:lnTo>
                  <a:lnTo>
                    <a:pt x="383" y="184"/>
                  </a:lnTo>
                  <a:lnTo>
                    <a:pt x="383" y="190"/>
                  </a:lnTo>
                  <a:lnTo>
                    <a:pt x="383" y="191"/>
                  </a:lnTo>
                  <a:lnTo>
                    <a:pt x="383" y="193"/>
                  </a:lnTo>
                  <a:lnTo>
                    <a:pt x="383" y="195"/>
                  </a:lnTo>
                  <a:lnTo>
                    <a:pt x="383" y="200"/>
                  </a:lnTo>
                  <a:lnTo>
                    <a:pt x="385" y="202"/>
                  </a:lnTo>
                  <a:lnTo>
                    <a:pt x="385" y="203"/>
                  </a:lnTo>
                  <a:lnTo>
                    <a:pt x="385" y="205"/>
                  </a:lnTo>
                  <a:lnTo>
                    <a:pt x="385" y="208"/>
                  </a:lnTo>
                  <a:lnTo>
                    <a:pt x="385" y="214"/>
                  </a:lnTo>
                  <a:lnTo>
                    <a:pt x="385" y="217"/>
                  </a:lnTo>
                  <a:lnTo>
                    <a:pt x="385" y="219"/>
                  </a:lnTo>
                  <a:lnTo>
                    <a:pt x="383" y="224"/>
                  </a:lnTo>
                  <a:lnTo>
                    <a:pt x="383" y="227"/>
                  </a:lnTo>
                  <a:lnTo>
                    <a:pt x="382" y="233"/>
                  </a:lnTo>
                  <a:lnTo>
                    <a:pt x="382" y="234"/>
                  </a:lnTo>
                  <a:lnTo>
                    <a:pt x="382" y="241"/>
                  </a:lnTo>
                  <a:lnTo>
                    <a:pt x="380" y="243"/>
                  </a:lnTo>
                  <a:lnTo>
                    <a:pt x="380" y="250"/>
                  </a:lnTo>
                  <a:lnTo>
                    <a:pt x="380" y="251"/>
                  </a:lnTo>
                  <a:lnTo>
                    <a:pt x="378" y="255"/>
                  </a:lnTo>
                  <a:lnTo>
                    <a:pt x="378" y="258"/>
                  </a:lnTo>
                  <a:lnTo>
                    <a:pt x="378" y="260"/>
                  </a:lnTo>
                  <a:lnTo>
                    <a:pt x="378" y="262"/>
                  </a:lnTo>
                  <a:lnTo>
                    <a:pt x="378" y="263"/>
                  </a:lnTo>
                  <a:lnTo>
                    <a:pt x="378" y="265"/>
                  </a:lnTo>
                  <a:lnTo>
                    <a:pt x="378" y="269"/>
                  </a:lnTo>
                  <a:lnTo>
                    <a:pt x="378" y="272"/>
                  </a:lnTo>
                  <a:lnTo>
                    <a:pt x="376" y="276"/>
                  </a:lnTo>
                  <a:lnTo>
                    <a:pt x="376" y="279"/>
                  </a:lnTo>
                  <a:lnTo>
                    <a:pt x="376" y="281"/>
                  </a:lnTo>
                  <a:lnTo>
                    <a:pt x="376" y="281"/>
                  </a:lnTo>
                  <a:lnTo>
                    <a:pt x="376" y="282"/>
                  </a:lnTo>
                  <a:lnTo>
                    <a:pt x="376" y="284"/>
                  </a:lnTo>
                  <a:lnTo>
                    <a:pt x="375" y="286"/>
                  </a:lnTo>
                  <a:lnTo>
                    <a:pt x="375" y="288"/>
                  </a:lnTo>
                  <a:lnTo>
                    <a:pt x="375" y="289"/>
                  </a:lnTo>
                  <a:lnTo>
                    <a:pt x="373" y="296"/>
                  </a:lnTo>
                  <a:lnTo>
                    <a:pt x="373" y="303"/>
                  </a:lnTo>
                  <a:lnTo>
                    <a:pt x="371" y="310"/>
                  </a:lnTo>
                  <a:lnTo>
                    <a:pt x="371" y="312"/>
                  </a:lnTo>
                  <a:lnTo>
                    <a:pt x="371" y="315"/>
                  </a:lnTo>
                  <a:lnTo>
                    <a:pt x="369" y="324"/>
                  </a:lnTo>
                  <a:lnTo>
                    <a:pt x="369" y="325"/>
                  </a:lnTo>
                  <a:lnTo>
                    <a:pt x="368" y="329"/>
                  </a:lnTo>
                  <a:lnTo>
                    <a:pt x="366" y="341"/>
                  </a:lnTo>
                  <a:lnTo>
                    <a:pt x="366" y="346"/>
                  </a:lnTo>
                  <a:lnTo>
                    <a:pt x="366" y="350"/>
                  </a:lnTo>
                  <a:lnTo>
                    <a:pt x="366" y="353"/>
                  </a:lnTo>
                  <a:lnTo>
                    <a:pt x="366" y="355"/>
                  </a:lnTo>
                  <a:lnTo>
                    <a:pt x="364" y="355"/>
                  </a:lnTo>
                  <a:lnTo>
                    <a:pt x="364" y="358"/>
                  </a:lnTo>
                  <a:lnTo>
                    <a:pt x="364" y="363"/>
                  </a:lnTo>
                  <a:lnTo>
                    <a:pt x="363" y="370"/>
                  </a:lnTo>
                  <a:lnTo>
                    <a:pt x="363" y="377"/>
                  </a:lnTo>
                  <a:lnTo>
                    <a:pt x="363" y="382"/>
                  </a:lnTo>
                  <a:lnTo>
                    <a:pt x="356" y="382"/>
                  </a:lnTo>
                  <a:lnTo>
                    <a:pt x="347" y="382"/>
                  </a:lnTo>
                  <a:lnTo>
                    <a:pt x="345" y="382"/>
                  </a:lnTo>
                  <a:lnTo>
                    <a:pt x="342" y="382"/>
                  </a:lnTo>
                  <a:lnTo>
                    <a:pt x="340" y="382"/>
                  </a:lnTo>
                  <a:lnTo>
                    <a:pt x="339" y="382"/>
                  </a:lnTo>
                  <a:lnTo>
                    <a:pt x="330" y="382"/>
                  </a:lnTo>
                  <a:lnTo>
                    <a:pt x="326" y="382"/>
                  </a:lnTo>
                  <a:lnTo>
                    <a:pt x="321" y="382"/>
                  </a:lnTo>
                  <a:lnTo>
                    <a:pt x="316" y="382"/>
                  </a:lnTo>
                  <a:lnTo>
                    <a:pt x="313" y="382"/>
                  </a:lnTo>
                  <a:lnTo>
                    <a:pt x="306" y="382"/>
                  </a:lnTo>
                  <a:lnTo>
                    <a:pt x="304" y="382"/>
                  </a:lnTo>
                  <a:lnTo>
                    <a:pt x="302" y="382"/>
                  </a:lnTo>
                  <a:lnTo>
                    <a:pt x="301" y="382"/>
                  </a:lnTo>
                  <a:lnTo>
                    <a:pt x="299" y="382"/>
                  </a:lnTo>
                  <a:lnTo>
                    <a:pt x="294" y="382"/>
                  </a:lnTo>
                  <a:lnTo>
                    <a:pt x="292" y="382"/>
                  </a:lnTo>
                  <a:lnTo>
                    <a:pt x="289" y="382"/>
                  </a:lnTo>
                  <a:lnTo>
                    <a:pt x="287" y="382"/>
                  </a:lnTo>
                  <a:lnTo>
                    <a:pt x="277" y="382"/>
                  </a:lnTo>
                  <a:lnTo>
                    <a:pt x="271" y="382"/>
                  </a:lnTo>
                  <a:lnTo>
                    <a:pt x="270" y="384"/>
                  </a:lnTo>
                  <a:lnTo>
                    <a:pt x="258" y="384"/>
                  </a:lnTo>
                  <a:lnTo>
                    <a:pt x="254" y="384"/>
                  </a:lnTo>
                  <a:lnTo>
                    <a:pt x="247" y="384"/>
                  </a:lnTo>
                  <a:lnTo>
                    <a:pt x="247" y="382"/>
                  </a:lnTo>
                  <a:lnTo>
                    <a:pt x="242" y="384"/>
                  </a:lnTo>
                  <a:lnTo>
                    <a:pt x="240" y="384"/>
                  </a:lnTo>
                  <a:lnTo>
                    <a:pt x="235" y="384"/>
                  </a:lnTo>
                  <a:lnTo>
                    <a:pt x="228" y="386"/>
                  </a:lnTo>
                  <a:lnTo>
                    <a:pt x="227" y="386"/>
                  </a:lnTo>
                  <a:lnTo>
                    <a:pt x="225" y="386"/>
                  </a:lnTo>
                  <a:lnTo>
                    <a:pt x="216" y="386"/>
                  </a:lnTo>
                  <a:lnTo>
                    <a:pt x="211" y="386"/>
                  </a:lnTo>
                  <a:lnTo>
                    <a:pt x="197" y="386"/>
                  </a:lnTo>
                  <a:lnTo>
                    <a:pt x="196" y="386"/>
                  </a:lnTo>
                  <a:lnTo>
                    <a:pt x="191" y="386"/>
                  </a:lnTo>
                  <a:lnTo>
                    <a:pt x="182" y="386"/>
                  </a:lnTo>
                  <a:lnTo>
                    <a:pt x="179" y="386"/>
                  </a:lnTo>
                  <a:lnTo>
                    <a:pt x="177" y="386"/>
                  </a:lnTo>
                  <a:lnTo>
                    <a:pt x="172" y="386"/>
                  </a:lnTo>
                  <a:lnTo>
                    <a:pt x="170" y="386"/>
                  </a:lnTo>
                  <a:lnTo>
                    <a:pt x="168" y="386"/>
                  </a:lnTo>
                  <a:lnTo>
                    <a:pt x="165" y="386"/>
                  </a:lnTo>
                  <a:lnTo>
                    <a:pt x="163" y="386"/>
                  </a:lnTo>
                  <a:lnTo>
                    <a:pt x="156" y="386"/>
                  </a:lnTo>
                  <a:lnTo>
                    <a:pt x="153" y="386"/>
                  </a:lnTo>
                  <a:lnTo>
                    <a:pt x="144" y="386"/>
                  </a:lnTo>
                  <a:lnTo>
                    <a:pt x="141" y="386"/>
                  </a:lnTo>
                  <a:lnTo>
                    <a:pt x="139" y="386"/>
                  </a:lnTo>
                  <a:lnTo>
                    <a:pt x="134" y="386"/>
                  </a:lnTo>
                  <a:lnTo>
                    <a:pt x="132" y="386"/>
                  </a:lnTo>
                  <a:lnTo>
                    <a:pt x="130" y="386"/>
                  </a:lnTo>
                  <a:lnTo>
                    <a:pt x="129" y="386"/>
                  </a:lnTo>
                  <a:lnTo>
                    <a:pt x="127" y="386"/>
                  </a:lnTo>
                  <a:lnTo>
                    <a:pt x="125" y="386"/>
                  </a:lnTo>
                  <a:lnTo>
                    <a:pt x="124" y="386"/>
                  </a:lnTo>
                  <a:lnTo>
                    <a:pt x="122" y="386"/>
                  </a:lnTo>
                  <a:lnTo>
                    <a:pt x="122" y="386"/>
                  </a:lnTo>
                  <a:lnTo>
                    <a:pt x="118" y="386"/>
                  </a:lnTo>
                  <a:lnTo>
                    <a:pt x="117" y="386"/>
                  </a:lnTo>
                  <a:lnTo>
                    <a:pt x="108" y="386"/>
                  </a:lnTo>
                  <a:lnTo>
                    <a:pt x="103" y="386"/>
                  </a:lnTo>
                  <a:lnTo>
                    <a:pt x="96" y="386"/>
                  </a:lnTo>
                  <a:lnTo>
                    <a:pt x="94" y="386"/>
                  </a:lnTo>
                  <a:lnTo>
                    <a:pt x="93" y="386"/>
                  </a:lnTo>
                  <a:lnTo>
                    <a:pt x="91" y="386"/>
                  </a:lnTo>
                  <a:lnTo>
                    <a:pt x="89" y="387"/>
                  </a:lnTo>
                  <a:lnTo>
                    <a:pt x="82" y="387"/>
                  </a:lnTo>
                  <a:lnTo>
                    <a:pt x="77" y="387"/>
                  </a:lnTo>
                  <a:lnTo>
                    <a:pt x="75" y="387"/>
                  </a:lnTo>
                  <a:lnTo>
                    <a:pt x="75" y="387"/>
                  </a:lnTo>
                  <a:lnTo>
                    <a:pt x="65" y="387"/>
                  </a:lnTo>
                  <a:lnTo>
                    <a:pt x="62" y="387"/>
                  </a:lnTo>
                  <a:lnTo>
                    <a:pt x="53" y="387"/>
                  </a:lnTo>
                  <a:lnTo>
                    <a:pt x="46" y="387"/>
                  </a:lnTo>
                  <a:lnTo>
                    <a:pt x="41" y="387"/>
                  </a:lnTo>
                  <a:lnTo>
                    <a:pt x="38" y="387"/>
                  </a:lnTo>
                  <a:lnTo>
                    <a:pt x="34" y="387"/>
                  </a:lnTo>
                  <a:lnTo>
                    <a:pt x="24" y="387"/>
                  </a:lnTo>
                  <a:lnTo>
                    <a:pt x="22" y="387"/>
                  </a:lnTo>
                  <a:lnTo>
                    <a:pt x="19" y="387"/>
                  </a:lnTo>
                  <a:lnTo>
                    <a:pt x="17" y="387"/>
                  </a:lnTo>
                  <a:lnTo>
                    <a:pt x="15" y="387"/>
                  </a:lnTo>
                  <a:lnTo>
                    <a:pt x="12" y="387"/>
                  </a:lnTo>
                  <a:lnTo>
                    <a:pt x="7" y="389"/>
                  </a:lnTo>
                  <a:lnTo>
                    <a:pt x="7" y="387"/>
                  </a:lnTo>
                  <a:lnTo>
                    <a:pt x="7" y="386"/>
                  </a:lnTo>
                  <a:lnTo>
                    <a:pt x="7" y="386"/>
                  </a:lnTo>
                  <a:lnTo>
                    <a:pt x="7" y="382"/>
                  </a:lnTo>
                  <a:lnTo>
                    <a:pt x="7" y="372"/>
                  </a:lnTo>
                  <a:lnTo>
                    <a:pt x="7" y="370"/>
                  </a:lnTo>
                  <a:lnTo>
                    <a:pt x="7" y="368"/>
                  </a:lnTo>
                  <a:lnTo>
                    <a:pt x="7" y="365"/>
                  </a:lnTo>
                  <a:lnTo>
                    <a:pt x="7" y="360"/>
                  </a:lnTo>
                  <a:lnTo>
                    <a:pt x="7" y="358"/>
                  </a:lnTo>
                  <a:lnTo>
                    <a:pt x="7" y="355"/>
                  </a:lnTo>
                  <a:lnTo>
                    <a:pt x="7" y="353"/>
                  </a:lnTo>
                  <a:lnTo>
                    <a:pt x="7" y="350"/>
                  </a:lnTo>
                  <a:lnTo>
                    <a:pt x="7" y="346"/>
                  </a:lnTo>
                  <a:lnTo>
                    <a:pt x="7" y="343"/>
                  </a:lnTo>
                  <a:lnTo>
                    <a:pt x="7" y="341"/>
                  </a:lnTo>
                  <a:lnTo>
                    <a:pt x="7" y="332"/>
                  </a:lnTo>
                  <a:lnTo>
                    <a:pt x="7" y="327"/>
                  </a:lnTo>
                  <a:lnTo>
                    <a:pt x="7" y="325"/>
                  </a:lnTo>
                  <a:lnTo>
                    <a:pt x="7" y="324"/>
                  </a:lnTo>
                  <a:lnTo>
                    <a:pt x="7" y="320"/>
                  </a:lnTo>
                  <a:lnTo>
                    <a:pt x="7" y="315"/>
                  </a:lnTo>
                  <a:lnTo>
                    <a:pt x="7" y="313"/>
                  </a:lnTo>
                  <a:lnTo>
                    <a:pt x="5" y="308"/>
                  </a:lnTo>
                  <a:lnTo>
                    <a:pt x="5" y="307"/>
                  </a:lnTo>
                  <a:lnTo>
                    <a:pt x="5" y="305"/>
                  </a:lnTo>
                  <a:lnTo>
                    <a:pt x="5" y="298"/>
                  </a:lnTo>
                  <a:lnTo>
                    <a:pt x="5" y="296"/>
                  </a:lnTo>
                  <a:lnTo>
                    <a:pt x="5" y="293"/>
                  </a:lnTo>
                  <a:lnTo>
                    <a:pt x="5" y="291"/>
                  </a:lnTo>
                  <a:lnTo>
                    <a:pt x="5" y="286"/>
                  </a:lnTo>
                  <a:lnTo>
                    <a:pt x="5" y="281"/>
                  </a:lnTo>
                  <a:lnTo>
                    <a:pt x="5" y="277"/>
                  </a:lnTo>
                  <a:lnTo>
                    <a:pt x="5" y="272"/>
                  </a:lnTo>
                  <a:lnTo>
                    <a:pt x="5" y="267"/>
                  </a:lnTo>
                  <a:lnTo>
                    <a:pt x="5" y="262"/>
                  </a:lnTo>
                  <a:lnTo>
                    <a:pt x="5" y="260"/>
                  </a:lnTo>
                  <a:lnTo>
                    <a:pt x="5" y="258"/>
                  </a:lnTo>
                  <a:lnTo>
                    <a:pt x="5" y="257"/>
                  </a:lnTo>
                  <a:lnTo>
                    <a:pt x="3" y="251"/>
                  </a:lnTo>
                  <a:lnTo>
                    <a:pt x="3" y="246"/>
                  </a:lnTo>
                  <a:lnTo>
                    <a:pt x="3" y="245"/>
                  </a:lnTo>
                  <a:lnTo>
                    <a:pt x="3" y="243"/>
                  </a:lnTo>
                  <a:lnTo>
                    <a:pt x="3" y="241"/>
                  </a:lnTo>
                  <a:lnTo>
                    <a:pt x="3" y="239"/>
                  </a:lnTo>
                  <a:lnTo>
                    <a:pt x="3" y="236"/>
                  </a:lnTo>
                  <a:lnTo>
                    <a:pt x="3" y="234"/>
                  </a:lnTo>
                  <a:lnTo>
                    <a:pt x="3" y="229"/>
                  </a:lnTo>
                  <a:lnTo>
                    <a:pt x="3" y="227"/>
                  </a:lnTo>
                  <a:lnTo>
                    <a:pt x="3" y="224"/>
                  </a:lnTo>
                  <a:lnTo>
                    <a:pt x="3" y="222"/>
                  </a:lnTo>
                  <a:lnTo>
                    <a:pt x="3" y="219"/>
                  </a:lnTo>
                  <a:lnTo>
                    <a:pt x="3" y="215"/>
                  </a:lnTo>
                  <a:lnTo>
                    <a:pt x="3" y="212"/>
                  </a:lnTo>
                  <a:lnTo>
                    <a:pt x="3" y="210"/>
                  </a:lnTo>
                  <a:lnTo>
                    <a:pt x="3" y="208"/>
                  </a:lnTo>
                  <a:lnTo>
                    <a:pt x="3" y="207"/>
                  </a:lnTo>
                  <a:lnTo>
                    <a:pt x="3" y="205"/>
                  </a:lnTo>
                  <a:lnTo>
                    <a:pt x="3" y="202"/>
                  </a:lnTo>
                  <a:lnTo>
                    <a:pt x="1" y="198"/>
                  </a:lnTo>
                  <a:lnTo>
                    <a:pt x="1" y="193"/>
                  </a:lnTo>
                  <a:lnTo>
                    <a:pt x="1" y="191"/>
                  </a:lnTo>
                  <a:lnTo>
                    <a:pt x="1" y="184"/>
                  </a:lnTo>
                  <a:lnTo>
                    <a:pt x="1" y="183"/>
                  </a:lnTo>
                  <a:lnTo>
                    <a:pt x="1" y="179"/>
                  </a:lnTo>
                  <a:lnTo>
                    <a:pt x="1" y="177"/>
                  </a:lnTo>
                  <a:lnTo>
                    <a:pt x="1" y="176"/>
                  </a:lnTo>
                  <a:lnTo>
                    <a:pt x="1" y="174"/>
                  </a:lnTo>
                  <a:lnTo>
                    <a:pt x="1" y="164"/>
                  </a:lnTo>
                  <a:lnTo>
                    <a:pt x="1" y="160"/>
                  </a:lnTo>
                  <a:lnTo>
                    <a:pt x="1" y="155"/>
                  </a:lnTo>
                  <a:lnTo>
                    <a:pt x="1" y="152"/>
                  </a:lnTo>
                  <a:lnTo>
                    <a:pt x="1" y="150"/>
                  </a:lnTo>
                  <a:lnTo>
                    <a:pt x="1" y="147"/>
                  </a:lnTo>
                  <a:lnTo>
                    <a:pt x="0" y="140"/>
                  </a:lnTo>
                  <a:lnTo>
                    <a:pt x="0" y="134"/>
                  </a:lnTo>
                  <a:lnTo>
                    <a:pt x="0" y="126"/>
                  </a:lnTo>
                  <a:lnTo>
                    <a:pt x="0" y="121"/>
                  </a:lnTo>
                  <a:lnTo>
                    <a:pt x="0" y="119"/>
                  </a:lnTo>
                  <a:lnTo>
                    <a:pt x="0" y="117"/>
                  </a:lnTo>
                  <a:lnTo>
                    <a:pt x="0" y="116"/>
                  </a:lnTo>
                  <a:lnTo>
                    <a:pt x="0" y="112"/>
                  </a:lnTo>
                  <a:lnTo>
                    <a:pt x="0" y="109"/>
                  </a:lnTo>
                  <a:lnTo>
                    <a:pt x="0" y="105"/>
                  </a:lnTo>
                  <a:lnTo>
                    <a:pt x="0" y="102"/>
                  </a:lnTo>
                  <a:lnTo>
                    <a:pt x="0" y="100"/>
                  </a:lnTo>
                  <a:lnTo>
                    <a:pt x="0" y="98"/>
                  </a:lnTo>
                  <a:lnTo>
                    <a:pt x="0" y="97"/>
                  </a:lnTo>
                  <a:lnTo>
                    <a:pt x="0" y="91"/>
                  </a:lnTo>
                  <a:lnTo>
                    <a:pt x="0" y="90"/>
                  </a:lnTo>
                  <a:lnTo>
                    <a:pt x="0" y="85"/>
                  </a:lnTo>
                  <a:lnTo>
                    <a:pt x="0" y="85"/>
                  </a:lnTo>
                  <a:lnTo>
                    <a:pt x="0" y="83"/>
                  </a:lnTo>
                  <a:lnTo>
                    <a:pt x="0" y="78"/>
                  </a:lnTo>
                  <a:lnTo>
                    <a:pt x="0" y="74"/>
                  </a:lnTo>
                  <a:lnTo>
                    <a:pt x="0" y="73"/>
                  </a:lnTo>
                  <a:lnTo>
                    <a:pt x="0" y="67"/>
                  </a:lnTo>
                  <a:lnTo>
                    <a:pt x="0" y="66"/>
                  </a:lnTo>
                  <a:lnTo>
                    <a:pt x="0" y="59"/>
                  </a:lnTo>
                  <a:lnTo>
                    <a:pt x="0" y="54"/>
                  </a:lnTo>
                  <a:lnTo>
                    <a:pt x="0" y="47"/>
                  </a:lnTo>
                  <a:lnTo>
                    <a:pt x="0" y="43"/>
                  </a:lnTo>
                  <a:lnTo>
                    <a:pt x="0" y="42"/>
                  </a:lnTo>
                  <a:lnTo>
                    <a:pt x="0" y="40"/>
                  </a:lnTo>
                  <a:lnTo>
                    <a:pt x="0" y="35"/>
                  </a:lnTo>
                  <a:lnTo>
                    <a:pt x="0" y="33"/>
                  </a:lnTo>
                  <a:lnTo>
                    <a:pt x="0" y="19"/>
                  </a:lnTo>
                  <a:lnTo>
                    <a:pt x="0" y="17"/>
                  </a:lnTo>
                  <a:lnTo>
                    <a:pt x="0" y="11"/>
                  </a:lnTo>
                  <a:lnTo>
                    <a:pt x="0" y="9"/>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8" name="Freeform 191"/>
            <p:cNvSpPr>
              <a:spLocks/>
            </p:cNvSpPr>
            <p:nvPr/>
          </p:nvSpPr>
          <p:spPr bwMode="auto">
            <a:xfrm>
              <a:off x="5903209" y="3200194"/>
              <a:ext cx="528638" cy="514350"/>
            </a:xfrm>
            <a:custGeom>
              <a:avLst/>
              <a:gdLst/>
              <a:ahLst/>
              <a:cxnLst>
                <a:cxn ang="0">
                  <a:pos x="332" y="6"/>
                </a:cxn>
                <a:cxn ang="0">
                  <a:pos x="332" y="31"/>
                </a:cxn>
                <a:cxn ang="0">
                  <a:pos x="332" y="49"/>
                </a:cxn>
                <a:cxn ang="0">
                  <a:pos x="332" y="66"/>
                </a:cxn>
                <a:cxn ang="0">
                  <a:pos x="332" y="95"/>
                </a:cxn>
                <a:cxn ang="0">
                  <a:pos x="332" y="124"/>
                </a:cxn>
                <a:cxn ang="0">
                  <a:pos x="333" y="150"/>
                </a:cxn>
                <a:cxn ang="0">
                  <a:pos x="333" y="171"/>
                </a:cxn>
                <a:cxn ang="0">
                  <a:pos x="333" y="200"/>
                </a:cxn>
                <a:cxn ang="0">
                  <a:pos x="333" y="229"/>
                </a:cxn>
                <a:cxn ang="0">
                  <a:pos x="333" y="271"/>
                </a:cxn>
                <a:cxn ang="0">
                  <a:pos x="333" y="308"/>
                </a:cxn>
                <a:cxn ang="0">
                  <a:pos x="332" y="320"/>
                </a:cxn>
                <a:cxn ang="0">
                  <a:pos x="311" y="320"/>
                </a:cxn>
                <a:cxn ang="0">
                  <a:pos x="294" y="320"/>
                </a:cxn>
                <a:cxn ang="0">
                  <a:pos x="266" y="322"/>
                </a:cxn>
                <a:cxn ang="0">
                  <a:pos x="252" y="320"/>
                </a:cxn>
                <a:cxn ang="0">
                  <a:pos x="216" y="320"/>
                </a:cxn>
                <a:cxn ang="0">
                  <a:pos x="184" y="322"/>
                </a:cxn>
                <a:cxn ang="0">
                  <a:pos x="151" y="322"/>
                </a:cxn>
                <a:cxn ang="0">
                  <a:pos x="127" y="324"/>
                </a:cxn>
                <a:cxn ang="0">
                  <a:pos x="108" y="324"/>
                </a:cxn>
                <a:cxn ang="0">
                  <a:pos x="60" y="324"/>
                </a:cxn>
                <a:cxn ang="0">
                  <a:pos x="12" y="322"/>
                </a:cxn>
                <a:cxn ang="0">
                  <a:pos x="0" y="289"/>
                </a:cxn>
                <a:cxn ang="0">
                  <a:pos x="6" y="260"/>
                </a:cxn>
                <a:cxn ang="0">
                  <a:pos x="15" y="257"/>
                </a:cxn>
                <a:cxn ang="0">
                  <a:pos x="27" y="257"/>
                </a:cxn>
                <a:cxn ang="0">
                  <a:pos x="37" y="252"/>
                </a:cxn>
                <a:cxn ang="0">
                  <a:pos x="44" y="245"/>
                </a:cxn>
                <a:cxn ang="0">
                  <a:pos x="48" y="233"/>
                </a:cxn>
                <a:cxn ang="0">
                  <a:pos x="43" y="224"/>
                </a:cxn>
                <a:cxn ang="0">
                  <a:pos x="29" y="215"/>
                </a:cxn>
                <a:cxn ang="0">
                  <a:pos x="19" y="200"/>
                </a:cxn>
                <a:cxn ang="0">
                  <a:pos x="15" y="190"/>
                </a:cxn>
                <a:cxn ang="0">
                  <a:pos x="24" y="183"/>
                </a:cxn>
                <a:cxn ang="0">
                  <a:pos x="36" y="188"/>
                </a:cxn>
                <a:cxn ang="0">
                  <a:pos x="48" y="195"/>
                </a:cxn>
                <a:cxn ang="0">
                  <a:pos x="65" y="190"/>
                </a:cxn>
                <a:cxn ang="0">
                  <a:pos x="82" y="188"/>
                </a:cxn>
                <a:cxn ang="0">
                  <a:pos x="96" y="186"/>
                </a:cxn>
                <a:cxn ang="0">
                  <a:pos x="108" y="178"/>
                </a:cxn>
                <a:cxn ang="0">
                  <a:pos x="111" y="167"/>
                </a:cxn>
                <a:cxn ang="0">
                  <a:pos x="110" y="157"/>
                </a:cxn>
                <a:cxn ang="0">
                  <a:pos x="101" y="138"/>
                </a:cxn>
                <a:cxn ang="0">
                  <a:pos x="108" y="116"/>
                </a:cxn>
                <a:cxn ang="0">
                  <a:pos x="113" y="107"/>
                </a:cxn>
                <a:cxn ang="0">
                  <a:pos x="135" y="92"/>
                </a:cxn>
                <a:cxn ang="0">
                  <a:pos x="161" y="76"/>
                </a:cxn>
                <a:cxn ang="0">
                  <a:pos x="180" y="59"/>
                </a:cxn>
                <a:cxn ang="0">
                  <a:pos x="187" y="45"/>
                </a:cxn>
                <a:cxn ang="0">
                  <a:pos x="196" y="35"/>
                </a:cxn>
                <a:cxn ang="0">
                  <a:pos x="213" y="26"/>
                </a:cxn>
                <a:cxn ang="0">
                  <a:pos x="240" y="19"/>
                </a:cxn>
                <a:cxn ang="0">
                  <a:pos x="259" y="19"/>
                </a:cxn>
                <a:cxn ang="0">
                  <a:pos x="273" y="6"/>
                </a:cxn>
                <a:cxn ang="0">
                  <a:pos x="289" y="0"/>
                </a:cxn>
                <a:cxn ang="0">
                  <a:pos x="309" y="4"/>
                </a:cxn>
                <a:cxn ang="0">
                  <a:pos x="326" y="4"/>
                </a:cxn>
              </a:cxnLst>
              <a:rect l="0" t="0" r="r" b="b"/>
              <a:pathLst>
                <a:path w="333" h="324">
                  <a:moveTo>
                    <a:pt x="328" y="4"/>
                  </a:moveTo>
                  <a:lnTo>
                    <a:pt x="330" y="4"/>
                  </a:lnTo>
                  <a:lnTo>
                    <a:pt x="332" y="4"/>
                  </a:lnTo>
                  <a:lnTo>
                    <a:pt x="332" y="2"/>
                  </a:lnTo>
                  <a:lnTo>
                    <a:pt x="332" y="2"/>
                  </a:lnTo>
                  <a:lnTo>
                    <a:pt x="332" y="4"/>
                  </a:lnTo>
                  <a:lnTo>
                    <a:pt x="332" y="6"/>
                  </a:lnTo>
                  <a:lnTo>
                    <a:pt x="332" y="9"/>
                  </a:lnTo>
                  <a:lnTo>
                    <a:pt x="332" y="12"/>
                  </a:lnTo>
                  <a:lnTo>
                    <a:pt x="332" y="16"/>
                  </a:lnTo>
                  <a:lnTo>
                    <a:pt x="332" y="19"/>
                  </a:lnTo>
                  <a:lnTo>
                    <a:pt x="332" y="23"/>
                  </a:lnTo>
                  <a:lnTo>
                    <a:pt x="332" y="25"/>
                  </a:lnTo>
                  <a:lnTo>
                    <a:pt x="332" y="31"/>
                  </a:lnTo>
                  <a:lnTo>
                    <a:pt x="332" y="35"/>
                  </a:lnTo>
                  <a:lnTo>
                    <a:pt x="332" y="35"/>
                  </a:lnTo>
                  <a:lnTo>
                    <a:pt x="332" y="40"/>
                  </a:lnTo>
                  <a:lnTo>
                    <a:pt x="332" y="42"/>
                  </a:lnTo>
                  <a:lnTo>
                    <a:pt x="332" y="43"/>
                  </a:lnTo>
                  <a:lnTo>
                    <a:pt x="332" y="47"/>
                  </a:lnTo>
                  <a:lnTo>
                    <a:pt x="332" y="49"/>
                  </a:lnTo>
                  <a:lnTo>
                    <a:pt x="332" y="50"/>
                  </a:lnTo>
                  <a:lnTo>
                    <a:pt x="332" y="52"/>
                  </a:lnTo>
                  <a:lnTo>
                    <a:pt x="332" y="55"/>
                  </a:lnTo>
                  <a:lnTo>
                    <a:pt x="332" y="57"/>
                  </a:lnTo>
                  <a:lnTo>
                    <a:pt x="332" y="62"/>
                  </a:lnTo>
                  <a:lnTo>
                    <a:pt x="332" y="64"/>
                  </a:lnTo>
                  <a:lnTo>
                    <a:pt x="332" y="66"/>
                  </a:lnTo>
                  <a:lnTo>
                    <a:pt x="332" y="68"/>
                  </a:lnTo>
                  <a:lnTo>
                    <a:pt x="332" y="74"/>
                  </a:lnTo>
                  <a:lnTo>
                    <a:pt x="332" y="76"/>
                  </a:lnTo>
                  <a:lnTo>
                    <a:pt x="332" y="78"/>
                  </a:lnTo>
                  <a:lnTo>
                    <a:pt x="332" y="80"/>
                  </a:lnTo>
                  <a:lnTo>
                    <a:pt x="332" y="86"/>
                  </a:lnTo>
                  <a:lnTo>
                    <a:pt x="332" y="95"/>
                  </a:lnTo>
                  <a:lnTo>
                    <a:pt x="332" y="95"/>
                  </a:lnTo>
                  <a:lnTo>
                    <a:pt x="332" y="109"/>
                  </a:lnTo>
                  <a:lnTo>
                    <a:pt x="332" y="111"/>
                  </a:lnTo>
                  <a:lnTo>
                    <a:pt x="332" y="111"/>
                  </a:lnTo>
                  <a:lnTo>
                    <a:pt x="332" y="116"/>
                  </a:lnTo>
                  <a:lnTo>
                    <a:pt x="332" y="121"/>
                  </a:lnTo>
                  <a:lnTo>
                    <a:pt x="332" y="124"/>
                  </a:lnTo>
                  <a:lnTo>
                    <a:pt x="332" y="126"/>
                  </a:lnTo>
                  <a:lnTo>
                    <a:pt x="332" y="133"/>
                  </a:lnTo>
                  <a:lnTo>
                    <a:pt x="332" y="136"/>
                  </a:lnTo>
                  <a:lnTo>
                    <a:pt x="332" y="140"/>
                  </a:lnTo>
                  <a:lnTo>
                    <a:pt x="332" y="142"/>
                  </a:lnTo>
                  <a:lnTo>
                    <a:pt x="332" y="143"/>
                  </a:lnTo>
                  <a:lnTo>
                    <a:pt x="333" y="150"/>
                  </a:lnTo>
                  <a:lnTo>
                    <a:pt x="333" y="155"/>
                  </a:lnTo>
                  <a:lnTo>
                    <a:pt x="333" y="155"/>
                  </a:lnTo>
                  <a:lnTo>
                    <a:pt x="333" y="157"/>
                  </a:lnTo>
                  <a:lnTo>
                    <a:pt x="333" y="159"/>
                  </a:lnTo>
                  <a:lnTo>
                    <a:pt x="333" y="166"/>
                  </a:lnTo>
                  <a:lnTo>
                    <a:pt x="333" y="171"/>
                  </a:lnTo>
                  <a:lnTo>
                    <a:pt x="333" y="171"/>
                  </a:lnTo>
                  <a:lnTo>
                    <a:pt x="333" y="172"/>
                  </a:lnTo>
                  <a:lnTo>
                    <a:pt x="333" y="176"/>
                  </a:lnTo>
                  <a:lnTo>
                    <a:pt x="333" y="186"/>
                  </a:lnTo>
                  <a:lnTo>
                    <a:pt x="333" y="188"/>
                  </a:lnTo>
                  <a:lnTo>
                    <a:pt x="333" y="191"/>
                  </a:lnTo>
                  <a:lnTo>
                    <a:pt x="333" y="198"/>
                  </a:lnTo>
                  <a:lnTo>
                    <a:pt x="333" y="200"/>
                  </a:lnTo>
                  <a:lnTo>
                    <a:pt x="333" y="207"/>
                  </a:lnTo>
                  <a:lnTo>
                    <a:pt x="333" y="209"/>
                  </a:lnTo>
                  <a:lnTo>
                    <a:pt x="333" y="212"/>
                  </a:lnTo>
                  <a:lnTo>
                    <a:pt x="333" y="214"/>
                  </a:lnTo>
                  <a:lnTo>
                    <a:pt x="333" y="217"/>
                  </a:lnTo>
                  <a:lnTo>
                    <a:pt x="333" y="228"/>
                  </a:lnTo>
                  <a:lnTo>
                    <a:pt x="333" y="229"/>
                  </a:lnTo>
                  <a:lnTo>
                    <a:pt x="333" y="231"/>
                  </a:lnTo>
                  <a:lnTo>
                    <a:pt x="333" y="253"/>
                  </a:lnTo>
                  <a:lnTo>
                    <a:pt x="333" y="255"/>
                  </a:lnTo>
                  <a:lnTo>
                    <a:pt x="333" y="260"/>
                  </a:lnTo>
                  <a:lnTo>
                    <a:pt x="333" y="265"/>
                  </a:lnTo>
                  <a:lnTo>
                    <a:pt x="333" y="269"/>
                  </a:lnTo>
                  <a:lnTo>
                    <a:pt x="333" y="271"/>
                  </a:lnTo>
                  <a:lnTo>
                    <a:pt x="333" y="272"/>
                  </a:lnTo>
                  <a:lnTo>
                    <a:pt x="333" y="276"/>
                  </a:lnTo>
                  <a:lnTo>
                    <a:pt x="333" y="277"/>
                  </a:lnTo>
                  <a:lnTo>
                    <a:pt x="333" y="288"/>
                  </a:lnTo>
                  <a:lnTo>
                    <a:pt x="333" y="289"/>
                  </a:lnTo>
                  <a:lnTo>
                    <a:pt x="333" y="300"/>
                  </a:lnTo>
                  <a:lnTo>
                    <a:pt x="333" y="308"/>
                  </a:lnTo>
                  <a:lnTo>
                    <a:pt x="333" y="310"/>
                  </a:lnTo>
                  <a:lnTo>
                    <a:pt x="333" y="312"/>
                  </a:lnTo>
                  <a:lnTo>
                    <a:pt x="333" y="314"/>
                  </a:lnTo>
                  <a:lnTo>
                    <a:pt x="333" y="317"/>
                  </a:lnTo>
                  <a:lnTo>
                    <a:pt x="333" y="320"/>
                  </a:lnTo>
                  <a:lnTo>
                    <a:pt x="332" y="320"/>
                  </a:lnTo>
                  <a:lnTo>
                    <a:pt x="332" y="320"/>
                  </a:lnTo>
                  <a:lnTo>
                    <a:pt x="328" y="320"/>
                  </a:lnTo>
                  <a:lnTo>
                    <a:pt x="326" y="320"/>
                  </a:lnTo>
                  <a:lnTo>
                    <a:pt x="318" y="320"/>
                  </a:lnTo>
                  <a:lnTo>
                    <a:pt x="316" y="320"/>
                  </a:lnTo>
                  <a:lnTo>
                    <a:pt x="316" y="320"/>
                  </a:lnTo>
                  <a:lnTo>
                    <a:pt x="313" y="320"/>
                  </a:lnTo>
                  <a:lnTo>
                    <a:pt x="311" y="320"/>
                  </a:lnTo>
                  <a:lnTo>
                    <a:pt x="307" y="320"/>
                  </a:lnTo>
                  <a:lnTo>
                    <a:pt x="306" y="320"/>
                  </a:lnTo>
                  <a:lnTo>
                    <a:pt x="302" y="320"/>
                  </a:lnTo>
                  <a:lnTo>
                    <a:pt x="301" y="320"/>
                  </a:lnTo>
                  <a:lnTo>
                    <a:pt x="297" y="320"/>
                  </a:lnTo>
                  <a:lnTo>
                    <a:pt x="295" y="320"/>
                  </a:lnTo>
                  <a:lnTo>
                    <a:pt x="294" y="320"/>
                  </a:lnTo>
                  <a:lnTo>
                    <a:pt x="290" y="320"/>
                  </a:lnTo>
                  <a:lnTo>
                    <a:pt x="289" y="320"/>
                  </a:lnTo>
                  <a:lnTo>
                    <a:pt x="287" y="320"/>
                  </a:lnTo>
                  <a:lnTo>
                    <a:pt x="287" y="320"/>
                  </a:lnTo>
                  <a:lnTo>
                    <a:pt x="283" y="320"/>
                  </a:lnTo>
                  <a:lnTo>
                    <a:pt x="271" y="322"/>
                  </a:lnTo>
                  <a:lnTo>
                    <a:pt x="266" y="322"/>
                  </a:lnTo>
                  <a:lnTo>
                    <a:pt x="266" y="320"/>
                  </a:lnTo>
                  <a:lnTo>
                    <a:pt x="261" y="320"/>
                  </a:lnTo>
                  <a:lnTo>
                    <a:pt x="259" y="320"/>
                  </a:lnTo>
                  <a:lnTo>
                    <a:pt x="256" y="320"/>
                  </a:lnTo>
                  <a:lnTo>
                    <a:pt x="256" y="320"/>
                  </a:lnTo>
                  <a:lnTo>
                    <a:pt x="254" y="320"/>
                  </a:lnTo>
                  <a:lnTo>
                    <a:pt x="252" y="320"/>
                  </a:lnTo>
                  <a:lnTo>
                    <a:pt x="247" y="320"/>
                  </a:lnTo>
                  <a:lnTo>
                    <a:pt x="240" y="320"/>
                  </a:lnTo>
                  <a:lnTo>
                    <a:pt x="239" y="320"/>
                  </a:lnTo>
                  <a:lnTo>
                    <a:pt x="237" y="320"/>
                  </a:lnTo>
                  <a:lnTo>
                    <a:pt x="230" y="320"/>
                  </a:lnTo>
                  <a:lnTo>
                    <a:pt x="218" y="320"/>
                  </a:lnTo>
                  <a:lnTo>
                    <a:pt x="216" y="320"/>
                  </a:lnTo>
                  <a:lnTo>
                    <a:pt x="209" y="320"/>
                  </a:lnTo>
                  <a:lnTo>
                    <a:pt x="203" y="320"/>
                  </a:lnTo>
                  <a:lnTo>
                    <a:pt x="201" y="320"/>
                  </a:lnTo>
                  <a:lnTo>
                    <a:pt x="196" y="320"/>
                  </a:lnTo>
                  <a:lnTo>
                    <a:pt x="189" y="322"/>
                  </a:lnTo>
                  <a:lnTo>
                    <a:pt x="185" y="322"/>
                  </a:lnTo>
                  <a:lnTo>
                    <a:pt x="184" y="322"/>
                  </a:lnTo>
                  <a:lnTo>
                    <a:pt x="178" y="322"/>
                  </a:lnTo>
                  <a:lnTo>
                    <a:pt x="177" y="322"/>
                  </a:lnTo>
                  <a:lnTo>
                    <a:pt x="175" y="322"/>
                  </a:lnTo>
                  <a:lnTo>
                    <a:pt x="163" y="322"/>
                  </a:lnTo>
                  <a:lnTo>
                    <a:pt x="161" y="322"/>
                  </a:lnTo>
                  <a:lnTo>
                    <a:pt x="160" y="322"/>
                  </a:lnTo>
                  <a:lnTo>
                    <a:pt x="151" y="322"/>
                  </a:lnTo>
                  <a:lnTo>
                    <a:pt x="148" y="322"/>
                  </a:lnTo>
                  <a:lnTo>
                    <a:pt x="144" y="322"/>
                  </a:lnTo>
                  <a:lnTo>
                    <a:pt x="142" y="322"/>
                  </a:lnTo>
                  <a:lnTo>
                    <a:pt x="139" y="322"/>
                  </a:lnTo>
                  <a:lnTo>
                    <a:pt x="135" y="322"/>
                  </a:lnTo>
                  <a:lnTo>
                    <a:pt x="135" y="324"/>
                  </a:lnTo>
                  <a:lnTo>
                    <a:pt x="127" y="324"/>
                  </a:lnTo>
                  <a:lnTo>
                    <a:pt x="125" y="324"/>
                  </a:lnTo>
                  <a:lnTo>
                    <a:pt x="123" y="324"/>
                  </a:lnTo>
                  <a:lnTo>
                    <a:pt x="120" y="324"/>
                  </a:lnTo>
                  <a:lnTo>
                    <a:pt x="117" y="324"/>
                  </a:lnTo>
                  <a:lnTo>
                    <a:pt x="113" y="324"/>
                  </a:lnTo>
                  <a:lnTo>
                    <a:pt x="111" y="324"/>
                  </a:lnTo>
                  <a:lnTo>
                    <a:pt x="108" y="324"/>
                  </a:lnTo>
                  <a:lnTo>
                    <a:pt x="106" y="324"/>
                  </a:lnTo>
                  <a:lnTo>
                    <a:pt x="106" y="324"/>
                  </a:lnTo>
                  <a:lnTo>
                    <a:pt x="105" y="324"/>
                  </a:lnTo>
                  <a:lnTo>
                    <a:pt x="103" y="324"/>
                  </a:lnTo>
                  <a:lnTo>
                    <a:pt x="75" y="324"/>
                  </a:lnTo>
                  <a:lnTo>
                    <a:pt x="74" y="324"/>
                  </a:lnTo>
                  <a:lnTo>
                    <a:pt x="60" y="324"/>
                  </a:lnTo>
                  <a:lnTo>
                    <a:pt x="44" y="322"/>
                  </a:lnTo>
                  <a:lnTo>
                    <a:pt x="36" y="322"/>
                  </a:lnTo>
                  <a:lnTo>
                    <a:pt x="32" y="322"/>
                  </a:lnTo>
                  <a:lnTo>
                    <a:pt x="24" y="322"/>
                  </a:lnTo>
                  <a:lnTo>
                    <a:pt x="15" y="322"/>
                  </a:lnTo>
                  <a:lnTo>
                    <a:pt x="13" y="322"/>
                  </a:lnTo>
                  <a:lnTo>
                    <a:pt x="12" y="322"/>
                  </a:lnTo>
                  <a:lnTo>
                    <a:pt x="0" y="322"/>
                  </a:lnTo>
                  <a:lnTo>
                    <a:pt x="0" y="312"/>
                  </a:lnTo>
                  <a:lnTo>
                    <a:pt x="0" y="310"/>
                  </a:lnTo>
                  <a:lnTo>
                    <a:pt x="0" y="302"/>
                  </a:lnTo>
                  <a:lnTo>
                    <a:pt x="0" y="295"/>
                  </a:lnTo>
                  <a:lnTo>
                    <a:pt x="0" y="293"/>
                  </a:lnTo>
                  <a:lnTo>
                    <a:pt x="0" y="289"/>
                  </a:lnTo>
                  <a:lnTo>
                    <a:pt x="1" y="276"/>
                  </a:lnTo>
                  <a:lnTo>
                    <a:pt x="1" y="267"/>
                  </a:lnTo>
                  <a:lnTo>
                    <a:pt x="1" y="264"/>
                  </a:lnTo>
                  <a:lnTo>
                    <a:pt x="1" y="262"/>
                  </a:lnTo>
                  <a:lnTo>
                    <a:pt x="3" y="260"/>
                  </a:lnTo>
                  <a:lnTo>
                    <a:pt x="5" y="260"/>
                  </a:lnTo>
                  <a:lnTo>
                    <a:pt x="6" y="260"/>
                  </a:lnTo>
                  <a:lnTo>
                    <a:pt x="8" y="258"/>
                  </a:lnTo>
                  <a:lnTo>
                    <a:pt x="8" y="257"/>
                  </a:lnTo>
                  <a:lnTo>
                    <a:pt x="10" y="257"/>
                  </a:lnTo>
                  <a:lnTo>
                    <a:pt x="12" y="257"/>
                  </a:lnTo>
                  <a:lnTo>
                    <a:pt x="13" y="257"/>
                  </a:lnTo>
                  <a:lnTo>
                    <a:pt x="15" y="257"/>
                  </a:lnTo>
                  <a:lnTo>
                    <a:pt x="15" y="257"/>
                  </a:lnTo>
                  <a:lnTo>
                    <a:pt x="15" y="258"/>
                  </a:lnTo>
                  <a:lnTo>
                    <a:pt x="17" y="258"/>
                  </a:lnTo>
                  <a:lnTo>
                    <a:pt x="19" y="258"/>
                  </a:lnTo>
                  <a:lnTo>
                    <a:pt x="20" y="258"/>
                  </a:lnTo>
                  <a:lnTo>
                    <a:pt x="22" y="258"/>
                  </a:lnTo>
                  <a:lnTo>
                    <a:pt x="22" y="257"/>
                  </a:lnTo>
                  <a:lnTo>
                    <a:pt x="27" y="257"/>
                  </a:lnTo>
                  <a:lnTo>
                    <a:pt x="27" y="255"/>
                  </a:lnTo>
                  <a:lnTo>
                    <a:pt x="29" y="255"/>
                  </a:lnTo>
                  <a:lnTo>
                    <a:pt x="31" y="255"/>
                  </a:lnTo>
                  <a:lnTo>
                    <a:pt x="32" y="253"/>
                  </a:lnTo>
                  <a:lnTo>
                    <a:pt x="34" y="253"/>
                  </a:lnTo>
                  <a:lnTo>
                    <a:pt x="36" y="252"/>
                  </a:lnTo>
                  <a:lnTo>
                    <a:pt x="37" y="252"/>
                  </a:lnTo>
                  <a:lnTo>
                    <a:pt x="39" y="250"/>
                  </a:lnTo>
                  <a:lnTo>
                    <a:pt x="41" y="248"/>
                  </a:lnTo>
                  <a:lnTo>
                    <a:pt x="43" y="248"/>
                  </a:lnTo>
                  <a:lnTo>
                    <a:pt x="43" y="246"/>
                  </a:lnTo>
                  <a:lnTo>
                    <a:pt x="44" y="246"/>
                  </a:lnTo>
                  <a:lnTo>
                    <a:pt x="44" y="246"/>
                  </a:lnTo>
                  <a:lnTo>
                    <a:pt x="44" y="245"/>
                  </a:lnTo>
                  <a:lnTo>
                    <a:pt x="46" y="243"/>
                  </a:lnTo>
                  <a:lnTo>
                    <a:pt x="46" y="241"/>
                  </a:lnTo>
                  <a:lnTo>
                    <a:pt x="48" y="241"/>
                  </a:lnTo>
                  <a:lnTo>
                    <a:pt x="48" y="238"/>
                  </a:lnTo>
                  <a:lnTo>
                    <a:pt x="48" y="236"/>
                  </a:lnTo>
                  <a:lnTo>
                    <a:pt x="48" y="234"/>
                  </a:lnTo>
                  <a:lnTo>
                    <a:pt x="48" y="233"/>
                  </a:lnTo>
                  <a:lnTo>
                    <a:pt x="48" y="231"/>
                  </a:lnTo>
                  <a:lnTo>
                    <a:pt x="46" y="231"/>
                  </a:lnTo>
                  <a:lnTo>
                    <a:pt x="44" y="229"/>
                  </a:lnTo>
                  <a:lnTo>
                    <a:pt x="44" y="228"/>
                  </a:lnTo>
                  <a:lnTo>
                    <a:pt x="44" y="226"/>
                  </a:lnTo>
                  <a:lnTo>
                    <a:pt x="44" y="226"/>
                  </a:lnTo>
                  <a:lnTo>
                    <a:pt x="43" y="224"/>
                  </a:lnTo>
                  <a:lnTo>
                    <a:pt x="39" y="222"/>
                  </a:lnTo>
                  <a:lnTo>
                    <a:pt x="37" y="221"/>
                  </a:lnTo>
                  <a:lnTo>
                    <a:pt x="34" y="217"/>
                  </a:lnTo>
                  <a:lnTo>
                    <a:pt x="32" y="217"/>
                  </a:lnTo>
                  <a:lnTo>
                    <a:pt x="31" y="215"/>
                  </a:lnTo>
                  <a:lnTo>
                    <a:pt x="31" y="215"/>
                  </a:lnTo>
                  <a:lnTo>
                    <a:pt x="29" y="215"/>
                  </a:lnTo>
                  <a:lnTo>
                    <a:pt x="27" y="215"/>
                  </a:lnTo>
                  <a:lnTo>
                    <a:pt x="25" y="214"/>
                  </a:lnTo>
                  <a:lnTo>
                    <a:pt x="22" y="210"/>
                  </a:lnTo>
                  <a:lnTo>
                    <a:pt x="22" y="209"/>
                  </a:lnTo>
                  <a:lnTo>
                    <a:pt x="20" y="205"/>
                  </a:lnTo>
                  <a:lnTo>
                    <a:pt x="20" y="203"/>
                  </a:lnTo>
                  <a:lnTo>
                    <a:pt x="19" y="200"/>
                  </a:lnTo>
                  <a:lnTo>
                    <a:pt x="19" y="200"/>
                  </a:lnTo>
                  <a:lnTo>
                    <a:pt x="19" y="198"/>
                  </a:lnTo>
                  <a:lnTo>
                    <a:pt x="19" y="197"/>
                  </a:lnTo>
                  <a:lnTo>
                    <a:pt x="19" y="195"/>
                  </a:lnTo>
                  <a:lnTo>
                    <a:pt x="17" y="193"/>
                  </a:lnTo>
                  <a:lnTo>
                    <a:pt x="17" y="191"/>
                  </a:lnTo>
                  <a:lnTo>
                    <a:pt x="15" y="190"/>
                  </a:lnTo>
                  <a:lnTo>
                    <a:pt x="15" y="188"/>
                  </a:lnTo>
                  <a:lnTo>
                    <a:pt x="15" y="186"/>
                  </a:lnTo>
                  <a:lnTo>
                    <a:pt x="17" y="186"/>
                  </a:lnTo>
                  <a:lnTo>
                    <a:pt x="19" y="186"/>
                  </a:lnTo>
                  <a:lnTo>
                    <a:pt x="20" y="185"/>
                  </a:lnTo>
                  <a:lnTo>
                    <a:pt x="20" y="183"/>
                  </a:lnTo>
                  <a:lnTo>
                    <a:pt x="24" y="183"/>
                  </a:lnTo>
                  <a:lnTo>
                    <a:pt x="25" y="183"/>
                  </a:lnTo>
                  <a:lnTo>
                    <a:pt x="27" y="183"/>
                  </a:lnTo>
                  <a:lnTo>
                    <a:pt x="29" y="183"/>
                  </a:lnTo>
                  <a:lnTo>
                    <a:pt x="31" y="185"/>
                  </a:lnTo>
                  <a:lnTo>
                    <a:pt x="34" y="186"/>
                  </a:lnTo>
                  <a:lnTo>
                    <a:pt x="36" y="186"/>
                  </a:lnTo>
                  <a:lnTo>
                    <a:pt x="36" y="188"/>
                  </a:lnTo>
                  <a:lnTo>
                    <a:pt x="37" y="190"/>
                  </a:lnTo>
                  <a:lnTo>
                    <a:pt x="39" y="191"/>
                  </a:lnTo>
                  <a:lnTo>
                    <a:pt x="41" y="193"/>
                  </a:lnTo>
                  <a:lnTo>
                    <a:pt x="43" y="193"/>
                  </a:lnTo>
                  <a:lnTo>
                    <a:pt x="44" y="195"/>
                  </a:lnTo>
                  <a:lnTo>
                    <a:pt x="44" y="195"/>
                  </a:lnTo>
                  <a:lnTo>
                    <a:pt x="48" y="195"/>
                  </a:lnTo>
                  <a:lnTo>
                    <a:pt x="49" y="195"/>
                  </a:lnTo>
                  <a:lnTo>
                    <a:pt x="51" y="195"/>
                  </a:lnTo>
                  <a:lnTo>
                    <a:pt x="55" y="195"/>
                  </a:lnTo>
                  <a:lnTo>
                    <a:pt x="58" y="195"/>
                  </a:lnTo>
                  <a:lnTo>
                    <a:pt x="60" y="193"/>
                  </a:lnTo>
                  <a:lnTo>
                    <a:pt x="63" y="191"/>
                  </a:lnTo>
                  <a:lnTo>
                    <a:pt x="65" y="190"/>
                  </a:lnTo>
                  <a:lnTo>
                    <a:pt x="68" y="188"/>
                  </a:lnTo>
                  <a:lnTo>
                    <a:pt x="72" y="188"/>
                  </a:lnTo>
                  <a:lnTo>
                    <a:pt x="74" y="188"/>
                  </a:lnTo>
                  <a:lnTo>
                    <a:pt x="75" y="186"/>
                  </a:lnTo>
                  <a:lnTo>
                    <a:pt x="79" y="186"/>
                  </a:lnTo>
                  <a:lnTo>
                    <a:pt x="80" y="186"/>
                  </a:lnTo>
                  <a:lnTo>
                    <a:pt x="82" y="188"/>
                  </a:lnTo>
                  <a:lnTo>
                    <a:pt x="84" y="188"/>
                  </a:lnTo>
                  <a:lnTo>
                    <a:pt x="87" y="188"/>
                  </a:lnTo>
                  <a:lnTo>
                    <a:pt x="89" y="188"/>
                  </a:lnTo>
                  <a:lnTo>
                    <a:pt x="91" y="188"/>
                  </a:lnTo>
                  <a:lnTo>
                    <a:pt x="92" y="186"/>
                  </a:lnTo>
                  <a:lnTo>
                    <a:pt x="94" y="186"/>
                  </a:lnTo>
                  <a:lnTo>
                    <a:pt x="96" y="186"/>
                  </a:lnTo>
                  <a:lnTo>
                    <a:pt x="99" y="185"/>
                  </a:lnTo>
                  <a:lnTo>
                    <a:pt x="103" y="185"/>
                  </a:lnTo>
                  <a:lnTo>
                    <a:pt x="105" y="181"/>
                  </a:lnTo>
                  <a:lnTo>
                    <a:pt x="106" y="181"/>
                  </a:lnTo>
                  <a:lnTo>
                    <a:pt x="106" y="179"/>
                  </a:lnTo>
                  <a:lnTo>
                    <a:pt x="106" y="178"/>
                  </a:lnTo>
                  <a:lnTo>
                    <a:pt x="108" y="178"/>
                  </a:lnTo>
                  <a:lnTo>
                    <a:pt x="108" y="176"/>
                  </a:lnTo>
                  <a:lnTo>
                    <a:pt x="110" y="174"/>
                  </a:lnTo>
                  <a:lnTo>
                    <a:pt x="110" y="172"/>
                  </a:lnTo>
                  <a:lnTo>
                    <a:pt x="111" y="171"/>
                  </a:lnTo>
                  <a:lnTo>
                    <a:pt x="111" y="171"/>
                  </a:lnTo>
                  <a:lnTo>
                    <a:pt x="111" y="169"/>
                  </a:lnTo>
                  <a:lnTo>
                    <a:pt x="111" y="167"/>
                  </a:lnTo>
                  <a:lnTo>
                    <a:pt x="113" y="166"/>
                  </a:lnTo>
                  <a:lnTo>
                    <a:pt x="113" y="164"/>
                  </a:lnTo>
                  <a:lnTo>
                    <a:pt x="111" y="164"/>
                  </a:lnTo>
                  <a:lnTo>
                    <a:pt x="111" y="162"/>
                  </a:lnTo>
                  <a:lnTo>
                    <a:pt x="111" y="160"/>
                  </a:lnTo>
                  <a:lnTo>
                    <a:pt x="111" y="159"/>
                  </a:lnTo>
                  <a:lnTo>
                    <a:pt x="110" y="157"/>
                  </a:lnTo>
                  <a:lnTo>
                    <a:pt x="106" y="155"/>
                  </a:lnTo>
                  <a:lnTo>
                    <a:pt x="106" y="154"/>
                  </a:lnTo>
                  <a:lnTo>
                    <a:pt x="106" y="150"/>
                  </a:lnTo>
                  <a:lnTo>
                    <a:pt x="105" y="147"/>
                  </a:lnTo>
                  <a:lnTo>
                    <a:pt x="103" y="143"/>
                  </a:lnTo>
                  <a:lnTo>
                    <a:pt x="101" y="140"/>
                  </a:lnTo>
                  <a:lnTo>
                    <a:pt x="101" y="138"/>
                  </a:lnTo>
                  <a:lnTo>
                    <a:pt x="99" y="133"/>
                  </a:lnTo>
                  <a:lnTo>
                    <a:pt x="101" y="126"/>
                  </a:lnTo>
                  <a:lnTo>
                    <a:pt x="101" y="123"/>
                  </a:lnTo>
                  <a:lnTo>
                    <a:pt x="103" y="121"/>
                  </a:lnTo>
                  <a:lnTo>
                    <a:pt x="105" y="119"/>
                  </a:lnTo>
                  <a:lnTo>
                    <a:pt x="106" y="117"/>
                  </a:lnTo>
                  <a:lnTo>
                    <a:pt x="108" y="116"/>
                  </a:lnTo>
                  <a:lnTo>
                    <a:pt x="111" y="116"/>
                  </a:lnTo>
                  <a:lnTo>
                    <a:pt x="113" y="116"/>
                  </a:lnTo>
                  <a:lnTo>
                    <a:pt x="115" y="116"/>
                  </a:lnTo>
                  <a:lnTo>
                    <a:pt x="115" y="114"/>
                  </a:lnTo>
                  <a:lnTo>
                    <a:pt x="113" y="112"/>
                  </a:lnTo>
                  <a:lnTo>
                    <a:pt x="111" y="109"/>
                  </a:lnTo>
                  <a:lnTo>
                    <a:pt x="113" y="107"/>
                  </a:lnTo>
                  <a:lnTo>
                    <a:pt x="117" y="104"/>
                  </a:lnTo>
                  <a:lnTo>
                    <a:pt x="122" y="99"/>
                  </a:lnTo>
                  <a:lnTo>
                    <a:pt x="125" y="95"/>
                  </a:lnTo>
                  <a:lnTo>
                    <a:pt x="127" y="95"/>
                  </a:lnTo>
                  <a:lnTo>
                    <a:pt x="130" y="93"/>
                  </a:lnTo>
                  <a:lnTo>
                    <a:pt x="134" y="92"/>
                  </a:lnTo>
                  <a:lnTo>
                    <a:pt x="135" y="92"/>
                  </a:lnTo>
                  <a:lnTo>
                    <a:pt x="142" y="90"/>
                  </a:lnTo>
                  <a:lnTo>
                    <a:pt x="146" y="88"/>
                  </a:lnTo>
                  <a:lnTo>
                    <a:pt x="148" y="88"/>
                  </a:lnTo>
                  <a:lnTo>
                    <a:pt x="149" y="88"/>
                  </a:lnTo>
                  <a:lnTo>
                    <a:pt x="151" y="86"/>
                  </a:lnTo>
                  <a:lnTo>
                    <a:pt x="158" y="80"/>
                  </a:lnTo>
                  <a:lnTo>
                    <a:pt x="161" y="76"/>
                  </a:lnTo>
                  <a:lnTo>
                    <a:pt x="165" y="73"/>
                  </a:lnTo>
                  <a:lnTo>
                    <a:pt x="168" y="69"/>
                  </a:lnTo>
                  <a:lnTo>
                    <a:pt x="170" y="68"/>
                  </a:lnTo>
                  <a:lnTo>
                    <a:pt x="172" y="66"/>
                  </a:lnTo>
                  <a:lnTo>
                    <a:pt x="173" y="66"/>
                  </a:lnTo>
                  <a:lnTo>
                    <a:pt x="178" y="61"/>
                  </a:lnTo>
                  <a:lnTo>
                    <a:pt x="180" y="59"/>
                  </a:lnTo>
                  <a:lnTo>
                    <a:pt x="180" y="57"/>
                  </a:lnTo>
                  <a:lnTo>
                    <a:pt x="180" y="55"/>
                  </a:lnTo>
                  <a:lnTo>
                    <a:pt x="182" y="52"/>
                  </a:lnTo>
                  <a:lnTo>
                    <a:pt x="184" y="50"/>
                  </a:lnTo>
                  <a:lnTo>
                    <a:pt x="184" y="49"/>
                  </a:lnTo>
                  <a:lnTo>
                    <a:pt x="185" y="47"/>
                  </a:lnTo>
                  <a:lnTo>
                    <a:pt x="187" y="45"/>
                  </a:lnTo>
                  <a:lnTo>
                    <a:pt x="187" y="43"/>
                  </a:lnTo>
                  <a:lnTo>
                    <a:pt x="189" y="42"/>
                  </a:lnTo>
                  <a:lnTo>
                    <a:pt x="189" y="40"/>
                  </a:lnTo>
                  <a:lnTo>
                    <a:pt x="191" y="40"/>
                  </a:lnTo>
                  <a:lnTo>
                    <a:pt x="191" y="38"/>
                  </a:lnTo>
                  <a:lnTo>
                    <a:pt x="192" y="38"/>
                  </a:lnTo>
                  <a:lnTo>
                    <a:pt x="196" y="35"/>
                  </a:lnTo>
                  <a:lnTo>
                    <a:pt x="196" y="35"/>
                  </a:lnTo>
                  <a:lnTo>
                    <a:pt x="197" y="33"/>
                  </a:lnTo>
                  <a:lnTo>
                    <a:pt x="199" y="33"/>
                  </a:lnTo>
                  <a:lnTo>
                    <a:pt x="204" y="30"/>
                  </a:lnTo>
                  <a:lnTo>
                    <a:pt x="209" y="28"/>
                  </a:lnTo>
                  <a:lnTo>
                    <a:pt x="211" y="28"/>
                  </a:lnTo>
                  <a:lnTo>
                    <a:pt x="213" y="26"/>
                  </a:lnTo>
                  <a:lnTo>
                    <a:pt x="215" y="26"/>
                  </a:lnTo>
                  <a:lnTo>
                    <a:pt x="216" y="25"/>
                  </a:lnTo>
                  <a:lnTo>
                    <a:pt x="223" y="21"/>
                  </a:lnTo>
                  <a:lnTo>
                    <a:pt x="230" y="19"/>
                  </a:lnTo>
                  <a:lnTo>
                    <a:pt x="234" y="19"/>
                  </a:lnTo>
                  <a:lnTo>
                    <a:pt x="237" y="19"/>
                  </a:lnTo>
                  <a:lnTo>
                    <a:pt x="240" y="19"/>
                  </a:lnTo>
                  <a:lnTo>
                    <a:pt x="242" y="19"/>
                  </a:lnTo>
                  <a:lnTo>
                    <a:pt x="247" y="19"/>
                  </a:lnTo>
                  <a:lnTo>
                    <a:pt x="249" y="19"/>
                  </a:lnTo>
                  <a:lnTo>
                    <a:pt x="252" y="19"/>
                  </a:lnTo>
                  <a:lnTo>
                    <a:pt x="256" y="19"/>
                  </a:lnTo>
                  <a:lnTo>
                    <a:pt x="258" y="19"/>
                  </a:lnTo>
                  <a:lnTo>
                    <a:pt x="259" y="19"/>
                  </a:lnTo>
                  <a:lnTo>
                    <a:pt x="259" y="18"/>
                  </a:lnTo>
                  <a:lnTo>
                    <a:pt x="261" y="18"/>
                  </a:lnTo>
                  <a:lnTo>
                    <a:pt x="263" y="16"/>
                  </a:lnTo>
                  <a:lnTo>
                    <a:pt x="264" y="14"/>
                  </a:lnTo>
                  <a:lnTo>
                    <a:pt x="266" y="12"/>
                  </a:lnTo>
                  <a:lnTo>
                    <a:pt x="271" y="6"/>
                  </a:lnTo>
                  <a:lnTo>
                    <a:pt x="273" y="6"/>
                  </a:lnTo>
                  <a:lnTo>
                    <a:pt x="277" y="4"/>
                  </a:lnTo>
                  <a:lnTo>
                    <a:pt x="277" y="2"/>
                  </a:lnTo>
                  <a:lnTo>
                    <a:pt x="280" y="2"/>
                  </a:lnTo>
                  <a:lnTo>
                    <a:pt x="282" y="2"/>
                  </a:lnTo>
                  <a:lnTo>
                    <a:pt x="283" y="0"/>
                  </a:lnTo>
                  <a:lnTo>
                    <a:pt x="287" y="0"/>
                  </a:lnTo>
                  <a:lnTo>
                    <a:pt x="289" y="0"/>
                  </a:lnTo>
                  <a:lnTo>
                    <a:pt x="297" y="0"/>
                  </a:lnTo>
                  <a:lnTo>
                    <a:pt x="299" y="0"/>
                  </a:lnTo>
                  <a:lnTo>
                    <a:pt x="302" y="0"/>
                  </a:lnTo>
                  <a:lnTo>
                    <a:pt x="302" y="2"/>
                  </a:lnTo>
                  <a:lnTo>
                    <a:pt x="304" y="2"/>
                  </a:lnTo>
                  <a:lnTo>
                    <a:pt x="306" y="2"/>
                  </a:lnTo>
                  <a:lnTo>
                    <a:pt x="309" y="4"/>
                  </a:lnTo>
                  <a:lnTo>
                    <a:pt x="311" y="4"/>
                  </a:lnTo>
                  <a:lnTo>
                    <a:pt x="313" y="4"/>
                  </a:lnTo>
                  <a:lnTo>
                    <a:pt x="316" y="6"/>
                  </a:lnTo>
                  <a:lnTo>
                    <a:pt x="321" y="6"/>
                  </a:lnTo>
                  <a:lnTo>
                    <a:pt x="323" y="6"/>
                  </a:lnTo>
                  <a:lnTo>
                    <a:pt x="325" y="4"/>
                  </a:lnTo>
                  <a:lnTo>
                    <a:pt x="326" y="4"/>
                  </a:lnTo>
                  <a:lnTo>
                    <a:pt x="328" y="4"/>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59" name="Freeform 195"/>
            <p:cNvSpPr>
              <a:spLocks/>
            </p:cNvSpPr>
            <p:nvPr/>
          </p:nvSpPr>
          <p:spPr bwMode="auto">
            <a:xfrm>
              <a:off x="7268459" y="3425619"/>
              <a:ext cx="512763" cy="614363"/>
            </a:xfrm>
            <a:custGeom>
              <a:avLst/>
              <a:gdLst/>
              <a:ahLst/>
              <a:cxnLst>
                <a:cxn ang="0">
                  <a:pos x="31" y="22"/>
                </a:cxn>
                <a:cxn ang="0">
                  <a:pos x="31" y="29"/>
                </a:cxn>
                <a:cxn ang="0">
                  <a:pos x="51" y="36"/>
                </a:cxn>
                <a:cxn ang="0">
                  <a:pos x="55" y="37"/>
                </a:cxn>
                <a:cxn ang="0">
                  <a:pos x="51" y="44"/>
                </a:cxn>
                <a:cxn ang="0">
                  <a:pos x="63" y="44"/>
                </a:cxn>
                <a:cxn ang="0">
                  <a:pos x="70" y="36"/>
                </a:cxn>
                <a:cxn ang="0">
                  <a:pos x="82" y="15"/>
                </a:cxn>
                <a:cxn ang="0">
                  <a:pos x="94" y="27"/>
                </a:cxn>
                <a:cxn ang="0">
                  <a:pos x="106" y="5"/>
                </a:cxn>
                <a:cxn ang="0">
                  <a:pos x="142" y="1"/>
                </a:cxn>
                <a:cxn ang="0">
                  <a:pos x="161" y="1"/>
                </a:cxn>
                <a:cxn ang="0">
                  <a:pos x="178" y="1"/>
                </a:cxn>
                <a:cxn ang="0">
                  <a:pos x="194" y="0"/>
                </a:cxn>
                <a:cxn ang="0">
                  <a:pos x="216" y="0"/>
                </a:cxn>
                <a:cxn ang="0">
                  <a:pos x="215" y="15"/>
                </a:cxn>
                <a:cxn ang="0">
                  <a:pos x="220" y="37"/>
                </a:cxn>
                <a:cxn ang="0">
                  <a:pos x="246" y="34"/>
                </a:cxn>
                <a:cxn ang="0">
                  <a:pos x="261" y="44"/>
                </a:cxn>
                <a:cxn ang="0">
                  <a:pos x="259" y="82"/>
                </a:cxn>
                <a:cxn ang="0">
                  <a:pos x="254" y="104"/>
                </a:cxn>
                <a:cxn ang="0">
                  <a:pos x="244" y="161"/>
                </a:cxn>
                <a:cxn ang="0">
                  <a:pos x="246" y="178"/>
                </a:cxn>
                <a:cxn ang="0">
                  <a:pos x="249" y="194"/>
                </a:cxn>
                <a:cxn ang="0">
                  <a:pos x="266" y="233"/>
                </a:cxn>
                <a:cxn ang="0">
                  <a:pos x="301" y="256"/>
                </a:cxn>
                <a:cxn ang="0">
                  <a:pos x="321" y="290"/>
                </a:cxn>
                <a:cxn ang="0">
                  <a:pos x="316" y="295"/>
                </a:cxn>
                <a:cxn ang="0">
                  <a:pos x="313" y="301"/>
                </a:cxn>
                <a:cxn ang="0">
                  <a:pos x="306" y="302"/>
                </a:cxn>
                <a:cxn ang="0">
                  <a:pos x="301" y="311"/>
                </a:cxn>
                <a:cxn ang="0">
                  <a:pos x="297" y="314"/>
                </a:cxn>
                <a:cxn ang="0">
                  <a:pos x="285" y="314"/>
                </a:cxn>
                <a:cxn ang="0">
                  <a:pos x="275" y="313"/>
                </a:cxn>
                <a:cxn ang="0">
                  <a:pos x="251" y="330"/>
                </a:cxn>
                <a:cxn ang="0">
                  <a:pos x="225" y="352"/>
                </a:cxn>
                <a:cxn ang="0">
                  <a:pos x="201" y="361"/>
                </a:cxn>
                <a:cxn ang="0">
                  <a:pos x="165" y="373"/>
                </a:cxn>
                <a:cxn ang="0">
                  <a:pos x="129" y="383"/>
                </a:cxn>
                <a:cxn ang="0">
                  <a:pos x="98" y="383"/>
                </a:cxn>
                <a:cxn ang="0">
                  <a:pos x="105" y="378"/>
                </a:cxn>
                <a:cxn ang="0">
                  <a:pos x="103" y="369"/>
                </a:cxn>
                <a:cxn ang="0">
                  <a:pos x="99" y="357"/>
                </a:cxn>
                <a:cxn ang="0">
                  <a:pos x="101" y="345"/>
                </a:cxn>
                <a:cxn ang="0">
                  <a:pos x="105" y="333"/>
                </a:cxn>
                <a:cxn ang="0">
                  <a:pos x="98" y="330"/>
                </a:cxn>
                <a:cxn ang="0">
                  <a:pos x="86" y="330"/>
                </a:cxn>
                <a:cxn ang="0">
                  <a:pos x="74" y="325"/>
                </a:cxn>
                <a:cxn ang="0">
                  <a:pos x="79" y="316"/>
                </a:cxn>
                <a:cxn ang="0">
                  <a:pos x="75" y="318"/>
                </a:cxn>
                <a:cxn ang="0">
                  <a:pos x="65" y="323"/>
                </a:cxn>
                <a:cxn ang="0">
                  <a:pos x="60" y="318"/>
                </a:cxn>
                <a:cxn ang="0">
                  <a:pos x="60" y="311"/>
                </a:cxn>
                <a:cxn ang="0">
                  <a:pos x="43" y="285"/>
                </a:cxn>
                <a:cxn ang="0">
                  <a:pos x="27" y="268"/>
                </a:cxn>
                <a:cxn ang="0">
                  <a:pos x="8" y="246"/>
                </a:cxn>
                <a:cxn ang="0">
                  <a:pos x="3" y="208"/>
                </a:cxn>
                <a:cxn ang="0">
                  <a:pos x="8" y="168"/>
                </a:cxn>
                <a:cxn ang="0">
                  <a:pos x="13" y="137"/>
                </a:cxn>
                <a:cxn ang="0">
                  <a:pos x="15" y="118"/>
                </a:cxn>
                <a:cxn ang="0">
                  <a:pos x="17" y="96"/>
                </a:cxn>
                <a:cxn ang="0">
                  <a:pos x="22" y="67"/>
                </a:cxn>
                <a:cxn ang="0">
                  <a:pos x="20" y="44"/>
                </a:cxn>
              </a:cxnLst>
              <a:rect l="0" t="0" r="r" b="b"/>
              <a:pathLst>
                <a:path w="323" h="387">
                  <a:moveTo>
                    <a:pt x="20" y="32"/>
                  </a:moveTo>
                  <a:lnTo>
                    <a:pt x="22" y="30"/>
                  </a:lnTo>
                  <a:lnTo>
                    <a:pt x="22" y="25"/>
                  </a:lnTo>
                  <a:lnTo>
                    <a:pt x="24" y="20"/>
                  </a:lnTo>
                  <a:lnTo>
                    <a:pt x="25" y="20"/>
                  </a:lnTo>
                  <a:lnTo>
                    <a:pt x="27" y="20"/>
                  </a:lnTo>
                  <a:lnTo>
                    <a:pt x="29" y="20"/>
                  </a:lnTo>
                  <a:lnTo>
                    <a:pt x="31" y="22"/>
                  </a:lnTo>
                  <a:lnTo>
                    <a:pt x="32" y="24"/>
                  </a:lnTo>
                  <a:lnTo>
                    <a:pt x="32" y="25"/>
                  </a:lnTo>
                  <a:lnTo>
                    <a:pt x="34" y="25"/>
                  </a:lnTo>
                  <a:lnTo>
                    <a:pt x="34" y="27"/>
                  </a:lnTo>
                  <a:lnTo>
                    <a:pt x="32" y="27"/>
                  </a:lnTo>
                  <a:lnTo>
                    <a:pt x="32" y="29"/>
                  </a:lnTo>
                  <a:lnTo>
                    <a:pt x="32" y="29"/>
                  </a:lnTo>
                  <a:lnTo>
                    <a:pt x="31" y="29"/>
                  </a:lnTo>
                  <a:lnTo>
                    <a:pt x="32" y="29"/>
                  </a:lnTo>
                  <a:lnTo>
                    <a:pt x="36" y="29"/>
                  </a:lnTo>
                  <a:lnTo>
                    <a:pt x="37" y="29"/>
                  </a:lnTo>
                  <a:lnTo>
                    <a:pt x="43" y="27"/>
                  </a:lnTo>
                  <a:lnTo>
                    <a:pt x="44" y="29"/>
                  </a:lnTo>
                  <a:lnTo>
                    <a:pt x="46" y="32"/>
                  </a:lnTo>
                  <a:lnTo>
                    <a:pt x="48" y="34"/>
                  </a:lnTo>
                  <a:lnTo>
                    <a:pt x="51" y="36"/>
                  </a:lnTo>
                  <a:lnTo>
                    <a:pt x="51" y="39"/>
                  </a:lnTo>
                  <a:lnTo>
                    <a:pt x="49" y="39"/>
                  </a:lnTo>
                  <a:lnTo>
                    <a:pt x="49" y="41"/>
                  </a:lnTo>
                  <a:lnTo>
                    <a:pt x="49" y="43"/>
                  </a:lnTo>
                  <a:lnTo>
                    <a:pt x="51" y="43"/>
                  </a:lnTo>
                  <a:lnTo>
                    <a:pt x="53" y="41"/>
                  </a:lnTo>
                  <a:lnTo>
                    <a:pt x="53" y="39"/>
                  </a:lnTo>
                  <a:lnTo>
                    <a:pt x="55" y="37"/>
                  </a:lnTo>
                  <a:lnTo>
                    <a:pt x="56" y="37"/>
                  </a:lnTo>
                  <a:lnTo>
                    <a:pt x="56" y="39"/>
                  </a:lnTo>
                  <a:lnTo>
                    <a:pt x="58" y="41"/>
                  </a:lnTo>
                  <a:lnTo>
                    <a:pt x="56" y="44"/>
                  </a:lnTo>
                  <a:lnTo>
                    <a:pt x="55" y="44"/>
                  </a:lnTo>
                  <a:lnTo>
                    <a:pt x="53" y="44"/>
                  </a:lnTo>
                  <a:lnTo>
                    <a:pt x="53" y="44"/>
                  </a:lnTo>
                  <a:lnTo>
                    <a:pt x="51" y="44"/>
                  </a:lnTo>
                  <a:lnTo>
                    <a:pt x="51" y="46"/>
                  </a:lnTo>
                  <a:lnTo>
                    <a:pt x="53" y="46"/>
                  </a:lnTo>
                  <a:lnTo>
                    <a:pt x="53" y="44"/>
                  </a:lnTo>
                  <a:lnTo>
                    <a:pt x="55" y="44"/>
                  </a:lnTo>
                  <a:lnTo>
                    <a:pt x="56" y="46"/>
                  </a:lnTo>
                  <a:lnTo>
                    <a:pt x="60" y="46"/>
                  </a:lnTo>
                  <a:lnTo>
                    <a:pt x="62" y="44"/>
                  </a:lnTo>
                  <a:lnTo>
                    <a:pt x="63" y="44"/>
                  </a:lnTo>
                  <a:lnTo>
                    <a:pt x="65" y="44"/>
                  </a:lnTo>
                  <a:lnTo>
                    <a:pt x="68" y="43"/>
                  </a:lnTo>
                  <a:lnTo>
                    <a:pt x="70" y="41"/>
                  </a:lnTo>
                  <a:lnTo>
                    <a:pt x="70" y="39"/>
                  </a:lnTo>
                  <a:lnTo>
                    <a:pt x="72" y="39"/>
                  </a:lnTo>
                  <a:lnTo>
                    <a:pt x="72" y="37"/>
                  </a:lnTo>
                  <a:lnTo>
                    <a:pt x="72" y="36"/>
                  </a:lnTo>
                  <a:lnTo>
                    <a:pt x="70" y="36"/>
                  </a:lnTo>
                  <a:lnTo>
                    <a:pt x="70" y="34"/>
                  </a:lnTo>
                  <a:lnTo>
                    <a:pt x="68" y="27"/>
                  </a:lnTo>
                  <a:lnTo>
                    <a:pt x="67" y="22"/>
                  </a:lnTo>
                  <a:lnTo>
                    <a:pt x="70" y="13"/>
                  </a:lnTo>
                  <a:lnTo>
                    <a:pt x="75" y="13"/>
                  </a:lnTo>
                  <a:lnTo>
                    <a:pt x="75" y="13"/>
                  </a:lnTo>
                  <a:lnTo>
                    <a:pt x="79" y="13"/>
                  </a:lnTo>
                  <a:lnTo>
                    <a:pt x="82" y="15"/>
                  </a:lnTo>
                  <a:lnTo>
                    <a:pt x="86" y="18"/>
                  </a:lnTo>
                  <a:lnTo>
                    <a:pt x="86" y="20"/>
                  </a:lnTo>
                  <a:lnTo>
                    <a:pt x="87" y="22"/>
                  </a:lnTo>
                  <a:lnTo>
                    <a:pt x="87" y="24"/>
                  </a:lnTo>
                  <a:lnTo>
                    <a:pt x="89" y="24"/>
                  </a:lnTo>
                  <a:lnTo>
                    <a:pt x="89" y="25"/>
                  </a:lnTo>
                  <a:lnTo>
                    <a:pt x="92" y="27"/>
                  </a:lnTo>
                  <a:lnTo>
                    <a:pt x="94" y="27"/>
                  </a:lnTo>
                  <a:lnTo>
                    <a:pt x="99" y="22"/>
                  </a:lnTo>
                  <a:lnTo>
                    <a:pt x="101" y="22"/>
                  </a:lnTo>
                  <a:lnTo>
                    <a:pt x="101" y="20"/>
                  </a:lnTo>
                  <a:lnTo>
                    <a:pt x="101" y="18"/>
                  </a:lnTo>
                  <a:lnTo>
                    <a:pt x="105" y="13"/>
                  </a:lnTo>
                  <a:lnTo>
                    <a:pt x="105" y="10"/>
                  </a:lnTo>
                  <a:lnTo>
                    <a:pt x="105" y="8"/>
                  </a:lnTo>
                  <a:lnTo>
                    <a:pt x="106" y="5"/>
                  </a:lnTo>
                  <a:lnTo>
                    <a:pt x="108" y="3"/>
                  </a:lnTo>
                  <a:lnTo>
                    <a:pt x="110" y="3"/>
                  </a:lnTo>
                  <a:lnTo>
                    <a:pt x="111" y="3"/>
                  </a:lnTo>
                  <a:lnTo>
                    <a:pt x="125" y="1"/>
                  </a:lnTo>
                  <a:lnTo>
                    <a:pt x="127" y="1"/>
                  </a:lnTo>
                  <a:lnTo>
                    <a:pt x="134" y="1"/>
                  </a:lnTo>
                  <a:lnTo>
                    <a:pt x="135" y="1"/>
                  </a:lnTo>
                  <a:lnTo>
                    <a:pt x="142" y="1"/>
                  </a:lnTo>
                  <a:lnTo>
                    <a:pt x="144" y="1"/>
                  </a:lnTo>
                  <a:lnTo>
                    <a:pt x="146" y="1"/>
                  </a:lnTo>
                  <a:lnTo>
                    <a:pt x="148" y="1"/>
                  </a:lnTo>
                  <a:lnTo>
                    <a:pt x="149" y="1"/>
                  </a:lnTo>
                  <a:lnTo>
                    <a:pt x="153" y="1"/>
                  </a:lnTo>
                  <a:lnTo>
                    <a:pt x="154" y="1"/>
                  </a:lnTo>
                  <a:lnTo>
                    <a:pt x="156" y="1"/>
                  </a:lnTo>
                  <a:lnTo>
                    <a:pt x="161" y="1"/>
                  </a:lnTo>
                  <a:lnTo>
                    <a:pt x="163" y="1"/>
                  </a:lnTo>
                  <a:lnTo>
                    <a:pt x="165" y="1"/>
                  </a:lnTo>
                  <a:lnTo>
                    <a:pt x="166" y="1"/>
                  </a:lnTo>
                  <a:lnTo>
                    <a:pt x="170" y="1"/>
                  </a:lnTo>
                  <a:lnTo>
                    <a:pt x="172" y="1"/>
                  </a:lnTo>
                  <a:lnTo>
                    <a:pt x="173" y="1"/>
                  </a:lnTo>
                  <a:lnTo>
                    <a:pt x="177" y="1"/>
                  </a:lnTo>
                  <a:lnTo>
                    <a:pt x="178" y="1"/>
                  </a:lnTo>
                  <a:lnTo>
                    <a:pt x="180" y="0"/>
                  </a:lnTo>
                  <a:lnTo>
                    <a:pt x="182" y="0"/>
                  </a:lnTo>
                  <a:lnTo>
                    <a:pt x="184" y="0"/>
                  </a:lnTo>
                  <a:lnTo>
                    <a:pt x="185" y="0"/>
                  </a:lnTo>
                  <a:lnTo>
                    <a:pt x="187" y="0"/>
                  </a:lnTo>
                  <a:lnTo>
                    <a:pt x="191" y="0"/>
                  </a:lnTo>
                  <a:lnTo>
                    <a:pt x="192" y="0"/>
                  </a:lnTo>
                  <a:lnTo>
                    <a:pt x="194" y="0"/>
                  </a:lnTo>
                  <a:lnTo>
                    <a:pt x="196" y="0"/>
                  </a:lnTo>
                  <a:lnTo>
                    <a:pt x="196" y="0"/>
                  </a:lnTo>
                  <a:lnTo>
                    <a:pt x="197" y="0"/>
                  </a:lnTo>
                  <a:lnTo>
                    <a:pt x="204" y="0"/>
                  </a:lnTo>
                  <a:lnTo>
                    <a:pt x="208" y="0"/>
                  </a:lnTo>
                  <a:lnTo>
                    <a:pt x="211" y="0"/>
                  </a:lnTo>
                  <a:lnTo>
                    <a:pt x="211" y="0"/>
                  </a:lnTo>
                  <a:lnTo>
                    <a:pt x="216" y="0"/>
                  </a:lnTo>
                  <a:lnTo>
                    <a:pt x="220" y="0"/>
                  </a:lnTo>
                  <a:lnTo>
                    <a:pt x="220" y="1"/>
                  </a:lnTo>
                  <a:lnTo>
                    <a:pt x="220" y="3"/>
                  </a:lnTo>
                  <a:lnTo>
                    <a:pt x="220" y="8"/>
                  </a:lnTo>
                  <a:lnTo>
                    <a:pt x="220" y="10"/>
                  </a:lnTo>
                  <a:lnTo>
                    <a:pt x="218" y="13"/>
                  </a:lnTo>
                  <a:lnTo>
                    <a:pt x="216" y="15"/>
                  </a:lnTo>
                  <a:lnTo>
                    <a:pt x="215" y="15"/>
                  </a:lnTo>
                  <a:lnTo>
                    <a:pt x="211" y="13"/>
                  </a:lnTo>
                  <a:lnTo>
                    <a:pt x="211" y="13"/>
                  </a:lnTo>
                  <a:lnTo>
                    <a:pt x="211" y="18"/>
                  </a:lnTo>
                  <a:lnTo>
                    <a:pt x="211" y="20"/>
                  </a:lnTo>
                  <a:lnTo>
                    <a:pt x="215" y="29"/>
                  </a:lnTo>
                  <a:lnTo>
                    <a:pt x="215" y="34"/>
                  </a:lnTo>
                  <a:lnTo>
                    <a:pt x="218" y="37"/>
                  </a:lnTo>
                  <a:lnTo>
                    <a:pt x="220" y="37"/>
                  </a:lnTo>
                  <a:lnTo>
                    <a:pt x="223" y="36"/>
                  </a:lnTo>
                  <a:lnTo>
                    <a:pt x="227" y="32"/>
                  </a:lnTo>
                  <a:lnTo>
                    <a:pt x="228" y="34"/>
                  </a:lnTo>
                  <a:lnTo>
                    <a:pt x="228" y="36"/>
                  </a:lnTo>
                  <a:lnTo>
                    <a:pt x="228" y="39"/>
                  </a:lnTo>
                  <a:lnTo>
                    <a:pt x="235" y="37"/>
                  </a:lnTo>
                  <a:lnTo>
                    <a:pt x="239" y="36"/>
                  </a:lnTo>
                  <a:lnTo>
                    <a:pt x="246" y="34"/>
                  </a:lnTo>
                  <a:lnTo>
                    <a:pt x="247" y="34"/>
                  </a:lnTo>
                  <a:lnTo>
                    <a:pt x="251" y="32"/>
                  </a:lnTo>
                  <a:lnTo>
                    <a:pt x="254" y="32"/>
                  </a:lnTo>
                  <a:lnTo>
                    <a:pt x="261" y="34"/>
                  </a:lnTo>
                  <a:lnTo>
                    <a:pt x="263" y="36"/>
                  </a:lnTo>
                  <a:lnTo>
                    <a:pt x="263" y="37"/>
                  </a:lnTo>
                  <a:lnTo>
                    <a:pt x="263" y="41"/>
                  </a:lnTo>
                  <a:lnTo>
                    <a:pt x="261" y="44"/>
                  </a:lnTo>
                  <a:lnTo>
                    <a:pt x="259" y="46"/>
                  </a:lnTo>
                  <a:lnTo>
                    <a:pt x="258" y="48"/>
                  </a:lnTo>
                  <a:lnTo>
                    <a:pt x="256" y="49"/>
                  </a:lnTo>
                  <a:lnTo>
                    <a:pt x="256" y="61"/>
                  </a:lnTo>
                  <a:lnTo>
                    <a:pt x="258" y="63"/>
                  </a:lnTo>
                  <a:lnTo>
                    <a:pt x="256" y="72"/>
                  </a:lnTo>
                  <a:lnTo>
                    <a:pt x="259" y="79"/>
                  </a:lnTo>
                  <a:lnTo>
                    <a:pt x="259" y="82"/>
                  </a:lnTo>
                  <a:lnTo>
                    <a:pt x="259" y="89"/>
                  </a:lnTo>
                  <a:lnTo>
                    <a:pt x="259" y="89"/>
                  </a:lnTo>
                  <a:lnTo>
                    <a:pt x="258" y="91"/>
                  </a:lnTo>
                  <a:lnTo>
                    <a:pt x="258" y="92"/>
                  </a:lnTo>
                  <a:lnTo>
                    <a:pt x="256" y="92"/>
                  </a:lnTo>
                  <a:lnTo>
                    <a:pt x="256" y="94"/>
                  </a:lnTo>
                  <a:lnTo>
                    <a:pt x="256" y="96"/>
                  </a:lnTo>
                  <a:lnTo>
                    <a:pt x="254" y="104"/>
                  </a:lnTo>
                  <a:lnTo>
                    <a:pt x="254" y="108"/>
                  </a:lnTo>
                  <a:lnTo>
                    <a:pt x="246" y="123"/>
                  </a:lnTo>
                  <a:lnTo>
                    <a:pt x="244" y="129"/>
                  </a:lnTo>
                  <a:lnTo>
                    <a:pt x="244" y="135"/>
                  </a:lnTo>
                  <a:lnTo>
                    <a:pt x="244" y="146"/>
                  </a:lnTo>
                  <a:lnTo>
                    <a:pt x="244" y="151"/>
                  </a:lnTo>
                  <a:lnTo>
                    <a:pt x="244" y="160"/>
                  </a:lnTo>
                  <a:lnTo>
                    <a:pt x="244" y="161"/>
                  </a:lnTo>
                  <a:lnTo>
                    <a:pt x="244" y="163"/>
                  </a:lnTo>
                  <a:lnTo>
                    <a:pt x="244" y="165"/>
                  </a:lnTo>
                  <a:lnTo>
                    <a:pt x="244" y="168"/>
                  </a:lnTo>
                  <a:lnTo>
                    <a:pt x="244" y="170"/>
                  </a:lnTo>
                  <a:lnTo>
                    <a:pt x="244" y="172"/>
                  </a:lnTo>
                  <a:lnTo>
                    <a:pt x="246" y="175"/>
                  </a:lnTo>
                  <a:lnTo>
                    <a:pt x="246" y="177"/>
                  </a:lnTo>
                  <a:lnTo>
                    <a:pt x="246" y="178"/>
                  </a:lnTo>
                  <a:lnTo>
                    <a:pt x="246" y="180"/>
                  </a:lnTo>
                  <a:lnTo>
                    <a:pt x="246" y="182"/>
                  </a:lnTo>
                  <a:lnTo>
                    <a:pt x="247" y="184"/>
                  </a:lnTo>
                  <a:lnTo>
                    <a:pt x="247" y="185"/>
                  </a:lnTo>
                  <a:lnTo>
                    <a:pt x="247" y="187"/>
                  </a:lnTo>
                  <a:lnTo>
                    <a:pt x="249" y="189"/>
                  </a:lnTo>
                  <a:lnTo>
                    <a:pt x="249" y="190"/>
                  </a:lnTo>
                  <a:lnTo>
                    <a:pt x="249" y="194"/>
                  </a:lnTo>
                  <a:lnTo>
                    <a:pt x="251" y="203"/>
                  </a:lnTo>
                  <a:lnTo>
                    <a:pt x="254" y="211"/>
                  </a:lnTo>
                  <a:lnTo>
                    <a:pt x="256" y="218"/>
                  </a:lnTo>
                  <a:lnTo>
                    <a:pt x="258" y="220"/>
                  </a:lnTo>
                  <a:lnTo>
                    <a:pt x="258" y="221"/>
                  </a:lnTo>
                  <a:lnTo>
                    <a:pt x="261" y="225"/>
                  </a:lnTo>
                  <a:lnTo>
                    <a:pt x="264" y="230"/>
                  </a:lnTo>
                  <a:lnTo>
                    <a:pt x="266" y="233"/>
                  </a:lnTo>
                  <a:lnTo>
                    <a:pt x="271" y="239"/>
                  </a:lnTo>
                  <a:lnTo>
                    <a:pt x="271" y="239"/>
                  </a:lnTo>
                  <a:lnTo>
                    <a:pt x="277" y="244"/>
                  </a:lnTo>
                  <a:lnTo>
                    <a:pt x="282" y="246"/>
                  </a:lnTo>
                  <a:lnTo>
                    <a:pt x="285" y="247"/>
                  </a:lnTo>
                  <a:lnTo>
                    <a:pt x="290" y="249"/>
                  </a:lnTo>
                  <a:lnTo>
                    <a:pt x="297" y="252"/>
                  </a:lnTo>
                  <a:lnTo>
                    <a:pt x="301" y="256"/>
                  </a:lnTo>
                  <a:lnTo>
                    <a:pt x="306" y="263"/>
                  </a:lnTo>
                  <a:lnTo>
                    <a:pt x="313" y="270"/>
                  </a:lnTo>
                  <a:lnTo>
                    <a:pt x="316" y="280"/>
                  </a:lnTo>
                  <a:lnTo>
                    <a:pt x="318" y="282"/>
                  </a:lnTo>
                  <a:lnTo>
                    <a:pt x="321" y="285"/>
                  </a:lnTo>
                  <a:lnTo>
                    <a:pt x="318" y="285"/>
                  </a:lnTo>
                  <a:lnTo>
                    <a:pt x="320" y="287"/>
                  </a:lnTo>
                  <a:lnTo>
                    <a:pt x="321" y="290"/>
                  </a:lnTo>
                  <a:lnTo>
                    <a:pt x="321" y="292"/>
                  </a:lnTo>
                  <a:lnTo>
                    <a:pt x="323" y="294"/>
                  </a:lnTo>
                  <a:lnTo>
                    <a:pt x="323" y="295"/>
                  </a:lnTo>
                  <a:lnTo>
                    <a:pt x="321" y="295"/>
                  </a:lnTo>
                  <a:lnTo>
                    <a:pt x="320" y="294"/>
                  </a:lnTo>
                  <a:lnTo>
                    <a:pt x="318" y="294"/>
                  </a:lnTo>
                  <a:lnTo>
                    <a:pt x="318" y="295"/>
                  </a:lnTo>
                  <a:lnTo>
                    <a:pt x="316" y="295"/>
                  </a:lnTo>
                  <a:lnTo>
                    <a:pt x="316" y="297"/>
                  </a:lnTo>
                  <a:lnTo>
                    <a:pt x="316" y="299"/>
                  </a:lnTo>
                  <a:lnTo>
                    <a:pt x="316" y="301"/>
                  </a:lnTo>
                  <a:lnTo>
                    <a:pt x="314" y="301"/>
                  </a:lnTo>
                  <a:lnTo>
                    <a:pt x="314" y="301"/>
                  </a:lnTo>
                  <a:lnTo>
                    <a:pt x="313" y="301"/>
                  </a:lnTo>
                  <a:lnTo>
                    <a:pt x="313" y="301"/>
                  </a:lnTo>
                  <a:lnTo>
                    <a:pt x="313" y="301"/>
                  </a:lnTo>
                  <a:lnTo>
                    <a:pt x="311" y="301"/>
                  </a:lnTo>
                  <a:lnTo>
                    <a:pt x="311" y="301"/>
                  </a:lnTo>
                  <a:lnTo>
                    <a:pt x="309" y="301"/>
                  </a:lnTo>
                  <a:lnTo>
                    <a:pt x="309" y="302"/>
                  </a:lnTo>
                  <a:lnTo>
                    <a:pt x="307" y="302"/>
                  </a:lnTo>
                  <a:lnTo>
                    <a:pt x="307" y="301"/>
                  </a:lnTo>
                  <a:lnTo>
                    <a:pt x="307" y="302"/>
                  </a:lnTo>
                  <a:lnTo>
                    <a:pt x="306" y="302"/>
                  </a:lnTo>
                  <a:lnTo>
                    <a:pt x="304" y="302"/>
                  </a:lnTo>
                  <a:lnTo>
                    <a:pt x="304" y="304"/>
                  </a:lnTo>
                  <a:lnTo>
                    <a:pt x="304" y="306"/>
                  </a:lnTo>
                  <a:lnTo>
                    <a:pt x="304" y="307"/>
                  </a:lnTo>
                  <a:lnTo>
                    <a:pt x="302" y="307"/>
                  </a:lnTo>
                  <a:lnTo>
                    <a:pt x="302" y="309"/>
                  </a:lnTo>
                  <a:lnTo>
                    <a:pt x="301" y="309"/>
                  </a:lnTo>
                  <a:lnTo>
                    <a:pt x="301" y="311"/>
                  </a:lnTo>
                  <a:lnTo>
                    <a:pt x="301" y="313"/>
                  </a:lnTo>
                  <a:lnTo>
                    <a:pt x="301" y="313"/>
                  </a:lnTo>
                  <a:lnTo>
                    <a:pt x="301" y="314"/>
                  </a:lnTo>
                  <a:lnTo>
                    <a:pt x="301" y="313"/>
                  </a:lnTo>
                  <a:lnTo>
                    <a:pt x="299" y="313"/>
                  </a:lnTo>
                  <a:lnTo>
                    <a:pt x="299" y="314"/>
                  </a:lnTo>
                  <a:lnTo>
                    <a:pt x="297" y="314"/>
                  </a:lnTo>
                  <a:lnTo>
                    <a:pt x="297" y="314"/>
                  </a:lnTo>
                  <a:lnTo>
                    <a:pt x="295" y="314"/>
                  </a:lnTo>
                  <a:lnTo>
                    <a:pt x="294" y="314"/>
                  </a:lnTo>
                  <a:lnTo>
                    <a:pt x="292" y="314"/>
                  </a:lnTo>
                  <a:lnTo>
                    <a:pt x="290" y="314"/>
                  </a:lnTo>
                  <a:lnTo>
                    <a:pt x="290" y="314"/>
                  </a:lnTo>
                  <a:lnTo>
                    <a:pt x="289" y="314"/>
                  </a:lnTo>
                  <a:lnTo>
                    <a:pt x="287" y="314"/>
                  </a:lnTo>
                  <a:lnTo>
                    <a:pt x="285" y="314"/>
                  </a:lnTo>
                  <a:lnTo>
                    <a:pt x="285" y="314"/>
                  </a:lnTo>
                  <a:lnTo>
                    <a:pt x="283" y="313"/>
                  </a:lnTo>
                  <a:lnTo>
                    <a:pt x="282" y="311"/>
                  </a:lnTo>
                  <a:lnTo>
                    <a:pt x="280" y="311"/>
                  </a:lnTo>
                  <a:lnTo>
                    <a:pt x="280" y="313"/>
                  </a:lnTo>
                  <a:lnTo>
                    <a:pt x="278" y="313"/>
                  </a:lnTo>
                  <a:lnTo>
                    <a:pt x="277" y="313"/>
                  </a:lnTo>
                  <a:lnTo>
                    <a:pt x="275" y="313"/>
                  </a:lnTo>
                  <a:lnTo>
                    <a:pt x="268" y="316"/>
                  </a:lnTo>
                  <a:lnTo>
                    <a:pt x="263" y="321"/>
                  </a:lnTo>
                  <a:lnTo>
                    <a:pt x="259" y="325"/>
                  </a:lnTo>
                  <a:lnTo>
                    <a:pt x="258" y="325"/>
                  </a:lnTo>
                  <a:lnTo>
                    <a:pt x="256" y="328"/>
                  </a:lnTo>
                  <a:lnTo>
                    <a:pt x="254" y="330"/>
                  </a:lnTo>
                  <a:lnTo>
                    <a:pt x="252" y="330"/>
                  </a:lnTo>
                  <a:lnTo>
                    <a:pt x="251" y="330"/>
                  </a:lnTo>
                  <a:lnTo>
                    <a:pt x="247" y="333"/>
                  </a:lnTo>
                  <a:lnTo>
                    <a:pt x="246" y="335"/>
                  </a:lnTo>
                  <a:lnTo>
                    <a:pt x="244" y="337"/>
                  </a:lnTo>
                  <a:lnTo>
                    <a:pt x="240" y="340"/>
                  </a:lnTo>
                  <a:lnTo>
                    <a:pt x="235" y="345"/>
                  </a:lnTo>
                  <a:lnTo>
                    <a:pt x="232" y="347"/>
                  </a:lnTo>
                  <a:lnTo>
                    <a:pt x="230" y="347"/>
                  </a:lnTo>
                  <a:lnTo>
                    <a:pt x="225" y="352"/>
                  </a:lnTo>
                  <a:lnTo>
                    <a:pt x="225" y="354"/>
                  </a:lnTo>
                  <a:lnTo>
                    <a:pt x="223" y="352"/>
                  </a:lnTo>
                  <a:lnTo>
                    <a:pt x="221" y="354"/>
                  </a:lnTo>
                  <a:lnTo>
                    <a:pt x="220" y="354"/>
                  </a:lnTo>
                  <a:lnTo>
                    <a:pt x="218" y="354"/>
                  </a:lnTo>
                  <a:lnTo>
                    <a:pt x="213" y="356"/>
                  </a:lnTo>
                  <a:lnTo>
                    <a:pt x="203" y="361"/>
                  </a:lnTo>
                  <a:lnTo>
                    <a:pt x="201" y="361"/>
                  </a:lnTo>
                  <a:lnTo>
                    <a:pt x="196" y="361"/>
                  </a:lnTo>
                  <a:lnTo>
                    <a:pt x="191" y="362"/>
                  </a:lnTo>
                  <a:lnTo>
                    <a:pt x="185" y="364"/>
                  </a:lnTo>
                  <a:lnTo>
                    <a:pt x="180" y="366"/>
                  </a:lnTo>
                  <a:lnTo>
                    <a:pt x="178" y="368"/>
                  </a:lnTo>
                  <a:lnTo>
                    <a:pt x="173" y="369"/>
                  </a:lnTo>
                  <a:lnTo>
                    <a:pt x="172" y="369"/>
                  </a:lnTo>
                  <a:lnTo>
                    <a:pt x="165" y="373"/>
                  </a:lnTo>
                  <a:lnTo>
                    <a:pt x="163" y="373"/>
                  </a:lnTo>
                  <a:lnTo>
                    <a:pt x="161" y="375"/>
                  </a:lnTo>
                  <a:lnTo>
                    <a:pt x="156" y="375"/>
                  </a:lnTo>
                  <a:lnTo>
                    <a:pt x="149" y="376"/>
                  </a:lnTo>
                  <a:lnTo>
                    <a:pt x="149" y="376"/>
                  </a:lnTo>
                  <a:lnTo>
                    <a:pt x="135" y="381"/>
                  </a:lnTo>
                  <a:lnTo>
                    <a:pt x="132" y="383"/>
                  </a:lnTo>
                  <a:lnTo>
                    <a:pt x="129" y="383"/>
                  </a:lnTo>
                  <a:lnTo>
                    <a:pt x="123" y="385"/>
                  </a:lnTo>
                  <a:lnTo>
                    <a:pt x="122" y="387"/>
                  </a:lnTo>
                  <a:lnTo>
                    <a:pt x="120" y="385"/>
                  </a:lnTo>
                  <a:lnTo>
                    <a:pt x="118" y="385"/>
                  </a:lnTo>
                  <a:lnTo>
                    <a:pt x="111" y="385"/>
                  </a:lnTo>
                  <a:lnTo>
                    <a:pt x="103" y="383"/>
                  </a:lnTo>
                  <a:lnTo>
                    <a:pt x="99" y="383"/>
                  </a:lnTo>
                  <a:lnTo>
                    <a:pt x="98" y="383"/>
                  </a:lnTo>
                  <a:lnTo>
                    <a:pt x="96" y="383"/>
                  </a:lnTo>
                  <a:lnTo>
                    <a:pt x="94" y="381"/>
                  </a:lnTo>
                  <a:lnTo>
                    <a:pt x="96" y="380"/>
                  </a:lnTo>
                  <a:lnTo>
                    <a:pt x="98" y="380"/>
                  </a:lnTo>
                  <a:lnTo>
                    <a:pt x="98" y="378"/>
                  </a:lnTo>
                  <a:lnTo>
                    <a:pt x="99" y="378"/>
                  </a:lnTo>
                  <a:lnTo>
                    <a:pt x="103" y="378"/>
                  </a:lnTo>
                  <a:lnTo>
                    <a:pt x="105" y="378"/>
                  </a:lnTo>
                  <a:lnTo>
                    <a:pt x="105" y="376"/>
                  </a:lnTo>
                  <a:lnTo>
                    <a:pt x="105" y="376"/>
                  </a:lnTo>
                  <a:lnTo>
                    <a:pt x="105" y="375"/>
                  </a:lnTo>
                  <a:lnTo>
                    <a:pt x="105" y="375"/>
                  </a:lnTo>
                  <a:lnTo>
                    <a:pt x="103" y="375"/>
                  </a:lnTo>
                  <a:lnTo>
                    <a:pt x="103" y="373"/>
                  </a:lnTo>
                  <a:lnTo>
                    <a:pt x="103" y="371"/>
                  </a:lnTo>
                  <a:lnTo>
                    <a:pt x="103" y="369"/>
                  </a:lnTo>
                  <a:lnTo>
                    <a:pt x="103" y="368"/>
                  </a:lnTo>
                  <a:lnTo>
                    <a:pt x="103" y="366"/>
                  </a:lnTo>
                  <a:lnTo>
                    <a:pt x="101" y="364"/>
                  </a:lnTo>
                  <a:lnTo>
                    <a:pt x="101" y="362"/>
                  </a:lnTo>
                  <a:lnTo>
                    <a:pt x="101" y="361"/>
                  </a:lnTo>
                  <a:lnTo>
                    <a:pt x="99" y="361"/>
                  </a:lnTo>
                  <a:lnTo>
                    <a:pt x="99" y="359"/>
                  </a:lnTo>
                  <a:lnTo>
                    <a:pt x="99" y="357"/>
                  </a:lnTo>
                  <a:lnTo>
                    <a:pt x="99" y="356"/>
                  </a:lnTo>
                  <a:lnTo>
                    <a:pt x="99" y="354"/>
                  </a:lnTo>
                  <a:lnTo>
                    <a:pt x="99" y="352"/>
                  </a:lnTo>
                  <a:lnTo>
                    <a:pt x="99" y="350"/>
                  </a:lnTo>
                  <a:lnTo>
                    <a:pt x="99" y="349"/>
                  </a:lnTo>
                  <a:lnTo>
                    <a:pt x="99" y="347"/>
                  </a:lnTo>
                  <a:lnTo>
                    <a:pt x="99" y="345"/>
                  </a:lnTo>
                  <a:lnTo>
                    <a:pt x="101" y="345"/>
                  </a:lnTo>
                  <a:lnTo>
                    <a:pt x="101" y="344"/>
                  </a:lnTo>
                  <a:lnTo>
                    <a:pt x="103" y="344"/>
                  </a:lnTo>
                  <a:lnTo>
                    <a:pt x="103" y="342"/>
                  </a:lnTo>
                  <a:lnTo>
                    <a:pt x="105" y="342"/>
                  </a:lnTo>
                  <a:lnTo>
                    <a:pt x="105" y="340"/>
                  </a:lnTo>
                  <a:lnTo>
                    <a:pt x="105" y="338"/>
                  </a:lnTo>
                  <a:lnTo>
                    <a:pt x="105" y="335"/>
                  </a:lnTo>
                  <a:lnTo>
                    <a:pt x="105" y="333"/>
                  </a:lnTo>
                  <a:lnTo>
                    <a:pt x="103" y="333"/>
                  </a:lnTo>
                  <a:lnTo>
                    <a:pt x="103" y="332"/>
                  </a:lnTo>
                  <a:lnTo>
                    <a:pt x="101" y="332"/>
                  </a:lnTo>
                  <a:lnTo>
                    <a:pt x="99" y="332"/>
                  </a:lnTo>
                  <a:lnTo>
                    <a:pt x="99" y="333"/>
                  </a:lnTo>
                  <a:lnTo>
                    <a:pt x="99" y="332"/>
                  </a:lnTo>
                  <a:lnTo>
                    <a:pt x="98" y="332"/>
                  </a:lnTo>
                  <a:lnTo>
                    <a:pt x="98" y="330"/>
                  </a:lnTo>
                  <a:lnTo>
                    <a:pt x="96" y="330"/>
                  </a:lnTo>
                  <a:lnTo>
                    <a:pt x="94" y="330"/>
                  </a:lnTo>
                  <a:lnTo>
                    <a:pt x="92" y="332"/>
                  </a:lnTo>
                  <a:lnTo>
                    <a:pt x="91" y="332"/>
                  </a:lnTo>
                  <a:lnTo>
                    <a:pt x="89" y="332"/>
                  </a:lnTo>
                  <a:lnTo>
                    <a:pt x="89" y="330"/>
                  </a:lnTo>
                  <a:lnTo>
                    <a:pt x="87" y="330"/>
                  </a:lnTo>
                  <a:lnTo>
                    <a:pt x="86" y="330"/>
                  </a:lnTo>
                  <a:lnTo>
                    <a:pt x="86" y="330"/>
                  </a:lnTo>
                  <a:lnTo>
                    <a:pt x="84" y="330"/>
                  </a:lnTo>
                  <a:lnTo>
                    <a:pt x="80" y="328"/>
                  </a:lnTo>
                  <a:lnTo>
                    <a:pt x="79" y="328"/>
                  </a:lnTo>
                  <a:lnTo>
                    <a:pt x="77" y="328"/>
                  </a:lnTo>
                  <a:lnTo>
                    <a:pt x="75" y="328"/>
                  </a:lnTo>
                  <a:lnTo>
                    <a:pt x="75" y="326"/>
                  </a:lnTo>
                  <a:lnTo>
                    <a:pt x="74" y="325"/>
                  </a:lnTo>
                  <a:lnTo>
                    <a:pt x="74" y="323"/>
                  </a:lnTo>
                  <a:lnTo>
                    <a:pt x="75" y="323"/>
                  </a:lnTo>
                  <a:lnTo>
                    <a:pt x="75" y="323"/>
                  </a:lnTo>
                  <a:lnTo>
                    <a:pt x="75" y="321"/>
                  </a:lnTo>
                  <a:lnTo>
                    <a:pt x="77" y="321"/>
                  </a:lnTo>
                  <a:lnTo>
                    <a:pt x="79" y="319"/>
                  </a:lnTo>
                  <a:lnTo>
                    <a:pt x="79" y="318"/>
                  </a:lnTo>
                  <a:lnTo>
                    <a:pt x="79" y="316"/>
                  </a:lnTo>
                  <a:lnTo>
                    <a:pt x="77" y="316"/>
                  </a:lnTo>
                  <a:lnTo>
                    <a:pt x="77" y="314"/>
                  </a:lnTo>
                  <a:lnTo>
                    <a:pt x="75" y="314"/>
                  </a:lnTo>
                  <a:lnTo>
                    <a:pt x="75" y="314"/>
                  </a:lnTo>
                  <a:lnTo>
                    <a:pt x="75" y="316"/>
                  </a:lnTo>
                  <a:lnTo>
                    <a:pt x="74" y="316"/>
                  </a:lnTo>
                  <a:lnTo>
                    <a:pt x="75" y="316"/>
                  </a:lnTo>
                  <a:lnTo>
                    <a:pt x="75" y="318"/>
                  </a:lnTo>
                  <a:lnTo>
                    <a:pt x="74" y="319"/>
                  </a:lnTo>
                  <a:lnTo>
                    <a:pt x="74" y="321"/>
                  </a:lnTo>
                  <a:lnTo>
                    <a:pt x="72" y="323"/>
                  </a:lnTo>
                  <a:lnTo>
                    <a:pt x="70" y="323"/>
                  </a:lnTo>
                  <a:lnTo>
                    <a:pt x="70" y="321"/>
                  </a:lnTo>
                  <a:lnTo>
                    <a:pt x="68" y="321"/>
                  </a:lnTo>
                  <a:lnTo>
                    <a:pt x="67" y="321"/>
                  </a:lnTo>
                  <a:lnTo>
                    <a:pt x="65" y="323"/>
                  </a:lnTo>
                  <a:lnTo>
                    <a:pt x="63" y="323"/>
                  </a:lnTo>
                  <a:lnTo>
                    <a:pt x="62" y="323"/>
                  </a:lnTo>
                  <a:lnTo>
                    <a:pt x="60" y="323"/>
                  </a:lnTo>
                  <a:lnTo>
                    <a:pt x="60" y="323"/>
                  </a:lnTo>
                  <a:lnTo>
                    <a:pt x="60" y="321"/>
                  </a:lnTo>
                  <a:lnTo>
                    <a:pt x="60" y="319"/>
                  </a:lnTo>
                  <a:lnTo>
                    <a:pt x="60" y="319"/>
                  </a:lnTo>
                  <a:lnTo>
                    <a:pt x="60" y="318"/>
                  </a:lnTo>
                  <a:lnTo>
                    <a:pt x="62" y="319"/>
                  </a:lnTo>
                  <a:lnTo>
                    <a:pt x="63" y="318"/>
                  </a:lnTo>
                  <a:lnTo>
                    <a:pt x="65" y="316"/>
                  </a:lnTo>
                  <a:lnTo>
                    <a:pt x="63" y="316"/>
                  </a:lnTo>
                  <a:lnTo>
                    <a:pt x="63" y="314"/>
                  </a:lnTo>
                  <a:lnTo>
                    <a:pt x="62" y="314"/>
                  </a:lnTo>
                  <a:lnTo>
                    <a:pt x="62" y="313"/>
                  </a:lnTo>
                  <a:lnTo>
                    <a:pt x="60" y="311"/>
                  </a:lnTo>
                  <a:lnTo>
                    <a:pt x="56" y="304"/>
                  </a:lnTo>
                  <a:lnTo>
                    <a:pt x="55" y="302"/>
                  </a:lnTo>
                  <a:lnTo>
                    <a:pt x="53" y="301"/>
                  </a:lnTo>
                  <a:lnTo>
                    <a:pt x="51" y="301"/>
                  </a:lnTo>
                  <a:lnTo>
                    <a:pt x="48" y="297"/>
                  </a:lnTo>
                  <a:lnTo>
                    <a:pt x="48" y="294"/>
                  </a:lnTo>
                  <a:lnTo>
                    <a:pt x="44" y="290"/>
                  </a:lnTo>
                  <a:lnTo>
                    <a:pt x="43" y="285"/>
                  </a:lnTo>
                  <a:lnTo>
                    <a:pt x="41" y="285"/>
                  </a:lnTo>
                  <a:lnTo>
                    <a:pt x="41" y="285"/>
                  </a:lnTo>
                  <a:lnTo>
                    <a:pt x="39" y="283"/>
                  </a:lnTo>
                  <a:lnTo>
                    <a:pt x="37" y="283"/>
                  </a:lnTo>
                  <a:lnTo>
                    <a:pt x="36" y="280"/>
                  </a:lnTo>
                  <a:lnTo>
                    <a:pt x="34" y="278"/>
                  </a:lnTo>
                  <a:lnTo>
                    <a:pt x="32" y="276"/>
                  </a:lnTo>
                  <a:lnTo>
                    <a:pt x="27" y="268"/>
                  </a:lnTo>
                  <a:lnTo>
                    <a:pt x="25" y="266"/>
                  </a:lnTo>
                  <a:lnTo>
                    <a:pt x="24" y="264"/>
                  </a:lnTo>
                  <a:lnTo>
                    <a:pt x="22" y="261"/>
                  </a:lnTo>
                  <a:lnTo>
                    <a:pt x="19" y="258"/>
                  </a:lnTo>
                  <a:lnTo>
                    <a:pt x="17" y="256"/>
                  </a:lnTo>
                  <a:lnTo>
                    <a:pt x="15" y="254"/>
                  </a:lnTo>
                  <a:lnTo>
                    <a:pt x="13" y="251"/>
                  </a:lnTo>
                  <a:lnTo>
                    <a:pt x="8" y="246"/>
                  </a:lnTo>
                  <a:lnTo>
                    <a:pt x="6" y="244"/>
                  </a:lnTo>
                  <a:lnTo>
                    <a:pt x="0" y="235"/>
                  </a:lnTo>
                  <a:lnTo>
                    <a:pt x="0" y="230"/>
                  </a:lnTo>
                  <a:lnTo>
                    <a:pt x="0" y="223"/>
                  </a:lnTo>
                  <a:lnTo>
                    <a:pt x="1" y="216"/>
                  </a:lnTo>
                  <a:lnTo>
                    <a:pt x="1" y="211"/>
                  </a:lnTo>
                  <a:lnTo>
                    <a:pt x="1" y="208"/>
                  </a:lnTo>
                  <a:lnTo>
                    <a:pt x="3" y="208"/>
                  </a:lnTo>
                  <a:lnTo>
                    <a:pt x="3" y="206"/>
                  </a:lnTo>
                  <a:lnTo>
                    <a:pt x="3" y="203"/>
                  </a:lnTo>
                  <a:lnTo>
                    <a:pt x="3" y="199"/>
                  </a:lnTo>
                  <a:lnTo>
                    <a:pt x="3" y="194"/>
                  </a:lnTo>
                  <a:lnTo>
                    <a:pt x="5" y="182"/>
                  </a:lnTo>
                  <a:lnTo>
                    <a:pt x="6" y="178"/>
                  </a:lnTo>
                  <a:lnTo>
                    <a:pt x="6" y="177"/>
                  </a:lnTo>
                  <a:lnTo>
                    <a:pt x="8" y="168"/>
                  </a:lnTo>
                  <a:lnTo>
                    <a:pt x="8" y="165"/>
                  </a:lnTo>
                  <a:lnTo>
                    <a:pt x="8" y="163"/>
                  </a:lnTo>
                  <a:lnTo>
                    <a:pt x="10" y="156"/>
                  </a:lnTo>
                  <a:lnTo>
                    <a:pt x="10" y="149"/>
                  </a:lnTo>
                  <a:lnTo>
                    <a:pt x="12" y="142"/>
                  </a:lnTo>
                  <a:lnTo>
                    <a:pt x="12" y="141"/>
                  </a:lnTo>
                  <a:lnTo>
                    <a:pt x="12" y="139"/>
                  </a:lnTo>
                  <a:lnTo>
                    <a:pt x="13" y="137"/>
                  </a:lnTo>
                  <a:lnTo>
                    <a:pt x="13" y="135"/>
                  </a:lnTo>
                  <a:lnTo>
                    <a:pt x="13" y="134"/>
                  </a:lnTo>
                  <a:lnTo>
                    <a:pt x="13" y="134"/>
                  </a:lnTo>
                  <a:lnTo>
                    <a:pt x="13" y="132"/>
                  </a:lnTo>
                  <a:lnTo>
                    <a:pt x="13" y="129"/>
                  </a:lnTo>
                  <a:lnTo>
                    <a:pt x="15" y="125"/>
                  </a:lnTo>
                  <a:lnTo>
                    <a:pt x="15" y="122"/>
                  </a:lnTo>
                  <a:lnTo>
                    <a:pt x="15" y="118"/>
                  </a:lnTo>
                  <a:lnTo>
                    <a:pt x="15" y="116"/>
                  </a:lnTo>
                  <a:lnTo>
                    <a:pt x="15" y="115"/>
                  </a:lnTo>
                  <a:lnTo>
                    <a:pt x="15" y="113"/>
                  </a:lnTo>
                  <a:lnTo>
                    <a:pt x="15" y="111"/>
                  </a:lnTo>
                  <a:lnTo>
                    <a:pt x="15" y="108"/>
                  </a:lnTo>
                  <a:lnTo>
                    <a:pt x="17" y="104"/>
                  </a:lnTo>
                  <a:lnTo>
                    <a:pt x="17" y="103"/>
                  </a:lnTo>
                  <a:lnTo>
                    <a:pt x="17" y="96"/>
                  </a:lnTo>
                  <a:lnTo>
                    <a:pt x="19" y="94"/>
                  </a:lnTo>
                  <a:lnTo>
                    <a:pt x="19" y="87"/>
                  </a:lnTo>
                  <a:lnTo>
                    <a:pt x="19" y="86"/>
                  </a:lnTo>
                  <a:lnTo>
                    <a:pt x="20" y="80"/>
                  </a:lnTo>
                  <a:lnTo>
                    <a:pt x="20" y="77"/>
                  </a:lnTo>
                  <a:lnTo>
                    <a:pt x="22" y="72"/>
                  </a:lnTo>
                  <a:lnTo>
                    <a:pt x="22" y="70"/>
                  </a:lnTo>
                  <a:lnTo>
                    <a:pt x="22" y="67"/>
                  </a:lnTo>
                  <a:lnTo>
                    <a:pt x="22" y="61"/>
                  </a:lnTo>
                  <a:lnTo>
                    <a:pt x="22" y="58"/>
                  </a:lnTo>
                  <a:lnTo>
                    <a:pt x="22" y="56"/>
                  </a:lnTo>
                  <a:lnTo>
                    <a:pt x="22" y="55"/>
                  </a:lnTo>
                  <a:lnTo>
                    <a:pt x="20" y="53"/>
                  </a:lnTo>
                  <a:lnTo>
                    <a:pt x="20" y="48"/>
                  </a:lnTo>
                  <a:lnTo>
                    <a:pt x="20" y="46"/>
                  </a:lnTo>
                  <a:lnTo>
                    <a:pt x="20" y="44"/>
                  </a:lnTo>
                  <a:lnTo>
                    <a:pt x="20" y="43"/>
                  </a:lnTo>
                  <a:lnTo>
                    <a:pt x="20" y="37"/>
                  </a:lnTo>
                  <a:lnTo>
                    <a:pt x="20" y="36"/>
                  </a:lnTo>
                  <a:lnTo>
                    <a:pt x="20" y="34"/>
                  </a:lnTo>
                  <a:lnTo>
                    <a:pt x="20" y="32"/>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0" name="Freeform 198"/>
            <p:cNvSpPr>
              <a:spLocks/>
            </p:cNvSpPr>
            <p:nvPr/>
          </p:nvSpPr>
          <p:spPr bwMode="auto">
            <a:xfrm>
              <a:off x="5903209" y="3708194"/>
              <a:ext cx="547688" cy="347663"/>
            </a:xfrm>
            <a:custGeom>
              <a:avLst/>
              <a:gdLst/>
              <a:ahLst/>
              <a:cxnLst>
                <a:cxn ang="0">
                  <a:pos x="333" y="14"/>
                </a:cxn>
                <a:cxn ang="0">
                  <a:pos x="333" y="31"/>
                </a:cxn>
                <a:cxn ang="0">
                  <a:pos x="335" y="47"/>
                </a:cxn>
                <a:cxn ang="0">
                  <a:pos x="335" y="74"/>
                </a:cxn>
                <a:cxn ang="0">
                  <a:pos x="335" y="102"/>
                </a:cxn>
                <a:cxn ang="0">
                  <a:pos x="345" y="107"/>
                </a:cxn>
                <a:cxn ang="0">
                  <a:pos x="345" y="138"/>
                </a:cxn>
                <a:cxn ang="0">
                  <a:pos x="345" y="162"/>
                </a:cxn>
                <a:cxn ang="0">
                  <a:pos x="345" y="183"/>
                </a:cxn>
                <a:cxn ang="0">
                  <a:pos x="323" y="183"/>
                </a:cxn>
                <a:cxn ang="0">
                  <a:pos x="295" y="183"/>
                </a:cxn>
                <a:cxn ang="0">
                  <a:pos x="271" y="183"/>
                </a:cxn>
                <a:cxn ang="0">
                  <a:pos x="263" y="183"/>
                </a:cxn>
                <a:cxn ang="0">
                  <a:pos x="252" y="183"/>
                </a:cxn>
                <a:cxn ang="0">
                  <a:pos x="237" y="184"/>
                </a:cxn>
                <a:cxn ang="0">
                  <a:pos x="223" y="184"/>
                </a:cxn>
                <a:cxn ang="0">
                  <a:pos x="185" y="186"/>
                </a:cxn>
                <a:cxn ang="0">
                  <a:pos x="180" y="190"/>
                </a:cxn>
                <a:cxn ang="0">
                  <a:pos x="172" y="193"/>
                </a:cxn>
                <a:cxn ang="0">
                  <a:pos x="166" y="198"/>
                </a:cxn>
                <a:cxn ang="0">
                  <a:pos x="160" y="202"/>
                </a:cxn>
                <a:cxn ang="0">
                  <a:pos x="158" y="195"/>
                </a:cxn>
                <a:cxn ang="0">
                  <a:pos x="151" y="195"/>
                </a:cxn>
                <a:cxn ang="0">
                  <a:pos x="146" y="200"/>
                </a:cxn>
                <a:cxn ang="0">
                  <a:pos x="144" y="209"/>
                </a:cxn>
                <a:cxn ang="0">
                  <a:pos x="142" y="217"/>
                </a:cxn>
                <a:cxn ang="0">
                  <a:pos x="120" y="219"/>
                </a:cxn>
                <a:cxn ang="0">
                  <a:pos x="91" y="217"/>
                </a:cxn>
                <a:cxn ang="0">
                  <a:pos x="74" y="217"/>
                </a:cxn>
                <a:cxn ang="0">
                  <a:pos x="58" y="217"/>
                </a:cxn>
                <a:cxn ang="0">
                  <a:pos x="44" y="215"/>
                </a:cxn>
                <a:cxn ang="0">
                  <a:pos x="25" y="215"/>
                </a:cxn>
                <a:cxn ang="0">
                  <a:pos x="8" y="210"/>
                </a:cxn>
                <a:cxn ang="0">
                  <a:pos x="10" y="202"/>
                </a:cxn>
                <a:cxn ang="0">
                  <a:pos x="10" y="171"/>
                </a:cxn>
                <a:cxn ang="0">
                  <a:pos x="10" y="126"/>
                </a:cxn>
                <a:cxn ang="0">
                  <a:pos x="10" y="111"/>
                </a:cxn>
                <a:cxn ang="0">
                  <a:pos x="0" y="85"/>
                </a:cxn>
                <a:cxn ang="0">
                  <a:pos x="0" y="40"/>
                </a:cxn>
                <a:cxn ang="0">
                  <a:pos x="0" y="26"/>
                </a:cxn>
                <a:cxn ang="0">
                  <a:pos x="0" y="2"/>
                </a:cxn>
                <a:cxn ang="0">
                  <a:pos x="36" y="2"/>
                </a:cxn>
                <a:cxn ang="0">
                  <a:pos x="105" y="4"/>
                </a:cxn>
                <a:cxn ang="0">
                  <a:pos x="117" y="4"/>
                </a:cxn>
                <a:cxn ang="0">
                  <a:pos x="135" y="2"/>
                </a:cxn>
                <a:cxn ang="0">
                  <a:pos x="160" y="2"/>
                </a:cxn>
                <a:cxn ang="0">
                  <a:pos x="184" y="2"/>
                </a:cxn>
                <a:cxn ang="0">
                  <a:pos x="209" y="0"/>
                </a:cxn>
                <a:cxn ang="0">
                  <a:pos x="240" y="0"/>
                </a:cxn>
                <a:cxn ang="0">
                  <a:pos x="259" y="0"/>
                </a:cxn>
                <a:cxn ang="0">
                  <a:pos x="287" y="0"/>
                </a:cxn>
                <a:cxn ang="0">
                  <a:pos x="297" y="0"/>
                </a:cxn>
                <a:cxn ang="0">
                  <a:pos x="313" y="0"/>
                </a:cxn>
                <a:cxn ang="0">
                  <a:pos x="332" y="0"/>
                </a:cxn>
              </a:cxnLst>
              <a:rect l="0" t="0" r="r" b="b"/>
              <a:pathLst>
                <a:path w="345" h="219">
                  <a:moveTo>
                    <a:pt x="333" y="0"/>
                  </a:moveTo>
                  <a:lnTo>
                    <a:pt x="333" y="2"/>
                  </a:lnTo>
                  <a:lnTo>
                    <a:pt x="333" y="4"/>
                  </a:lnTo>
                  <a:lnTo>
                    <a:pt x="333" y="7"/>
                  </a:lnTo>
                  <a:lnTo>
                    <a:pt x="333" y="9"/>
                  </a:lnTo>
                  <a:lnTo>
                    <a:pt x="333" y="14"/>
                  </a:lnTo>
                  <a:lnTo>
                    <a:pt x="333" y="16"/>
                  </a:lnTo>
                  <a:lnTo>
                    <a:pt x="333" y="18"/>
                  </a:lnTo>
                  <a:lnTo>
                    <a:pt x="333" y="19"/>
                  </a:lnTo>
                  <a:lnTo>
                    <a:pt x="333" y="21"/>
                  </a:lnTo>
                  <a:lnTo>
                    <a:pt x="333" y="23"/>
                  </a:lnTo>
                  <a:lnTo>
                    <a:pt x="333" y="31"/>
                  </a:lnTo>
                  <a:lnTo>
                    <a:pt x="335" y="31"/>
                  </a:lnTo>
                  <a:lnTo>
                    <a:pt x="335" y="31"/>
                  </a:lnTo>
                  <a:lnTo>
                    <a:pt x="335" y="37"/>
                  </a:lnTo>
                  <a:lnTo>
                    <a:pt x="335" y="40"/>
                  </a:lnTo>
                  <a:lnTo>
                    <a:pt x="335" y="47"/>
                  </a:lnTo>
                  <a:lnTo>
                    <a:pt x="335" y="47"/>
                  </a:lnTo>
                  <a:lnTo>
                    <a:pt x="335" y="52"/>
                  </a:lnTo>
                  <a:lnTo>
                    <a:pt x="335" y="61"/>
                  </a:lnTo>
                  <a:lnTo>
                    <a:pt x="335" y="64"/>
                  </a:lnTo>
                  <a:lnTo>
                    <a:pt x="335" y="66"/>
                  </a:lnTo>
                  <a:lnTo>
                    <a:pt x="335" y="71"/>
                  </a:lnTo>
                  <a:lnTo>
                    <a:pt x="335" y="74"/>
                  </a:lnTo>
                  <a:lnTo>
                    <a:pt x="335" y="80"/>
                  </a:lnTo>
                  <a:lnTo>
                    <a:pt x="335" y="81"/>
                  </a:lnTo>
                  <a:lnTo>
                    <a:pt x="335" y="83"/>
                  </a:lnTo>
                  <a:lnTo>
                    <a:pt x="335" y="85"/>
                  </a:lnTo>
                  <a:lnTo>
                    <a:pt x="335" y="97"/>
                  </a:lnTo>
                  <a:lnTo>
                    <a:pt x="335" y="102"/>
                  </a:lnTo>
                  <a:lnTo>
                    <a:pt x="335" y="104"/>
                  </a:lnTo>
                  <a:lnTo>
                    <a:pt x="335" y="105"/>
                  </a:lnTo>
                  <a:lnTo>
                    <a:pt x="337" y="105"/>
                  </a:lnTo>
                  <a:lnTo>
                    <a:pt x="344" y="105"/>
                  </a:lnTo>
                  <a:lnTo>
                    <a:pt x="345" y="105"/>
                  </a:lnTo>
                  <a:lnTo>
                    <a:pt x="345" y="107"/>
                  </a:lnTo>
                  <a:lnTo>
                    <a:pt x="345" y="111"/>
                  </a:lnTo>
                  <a:lnTo>
                    <a:pt x="345" y="114"/>
                  </a:lnTo>
                  <a:lnTo>
                    <a:pt x="345" y="119"/>
                  </a:lnTo>
                  <a:lnTo>
                    <a:pt x="345" y="123"/>
                  </a:lnTo>
                  <a:lnTo>
                    <a:pt x="345" y="128"/>
                  </a:lnTo>
                  <a:lnTo>
                    <a:pt x="345" y="138"/>
                  </a:lnTo>
                  <a:lnTo>
                    <a:pt x="345" y="140"/>
                  </a:lnTo>
                  <a:lnTo>
                    <a:pt x="345" y="141"/>
                  </a:lnTo>
                  <a:lnTo>
                    <a:pt x="345" y="145"/>
                  </a:lnTo>
                  <a:lnTo>
                    <a:pt x="345" y="150"/>
                  </a:lnTo>
                  <a:lnTo>
                    <a:pt x="345" y="160"/>
                  </a:lnTo>
                  <a:lnTo>
                    <a:pt x="345" y="162"/>
                  </a:lnTo>
                  <a:lnTo>
                    <a:pt x="345" y="166"/>
                  </a:lnTo>
                  <a:lnTo>
                    <a:pt x="345" y="167"/>
                  </a:lnTo>
                  <a:lnTo>
                    <a:pt x="345" y="171"/>
                  </a:lnTo>
                  <a:lnTo>
                    <a:pt x="345" y="174"/>
                  </a:lnTo>
                  <a:lnTo>
                    <a:pt x="345" y="181"/>
                  </a:lnTo>
                  <a:lnTo>
                    <a:pt x="345" y="183"/>
                  </a:lnTo>
                  <a:lnTo>
                    <a:pt x="338" y="183"/>
                  </a:lnTo>
                  <a:lnTo>
                    <a:pt x="333" y="183"/>
                  </a:lnTo>
                  <a:lnTo>
                    <a:pt x="332" y="183"/>
                  </a:lnTo>
                  <a:lnTo>
                    <a:pt x="330" y="183"/>
                  </a:lnTo>
                  <a:lnTo>
                    <a:pt x="325" y="183"/>
                  </a:lnTo>
                  <a:lnTo>
                    <a:pt x="323" y="183"/>
                  </a:lnTo>
                  <a:lnTo>
                    <a:pt x="320" y="183"/>
                  </a:lnTo>
                  <a:lnTo>
                    <a:pt x="316" y="183"/>
                  </a:lnTo>
                  <a:lnTo>
                    <a:pt x="311" y="183"/>
                  </a:lnTo>
                  <a:lnTo>
                    <a:pt x="309" y="183"/>
                  </a:lnTo>
                  <a:lnTo>
                    <a:pt x="307" y="183"/>
                  </a:lnTo>
                  <a:lnTo>
                    <a:pt x="295" y="183"/>
                  </a:lnTo>
                  <a:lnTo>
                    <a:pt x="289" y="183"/>
                  </a:lnTo>
                  <a:lnTo>
                    <a:pt x="287" y="183"/>
                  </a:lnTo>
                  <a:lnTo>
                    <a:pt x="280" y="183"/>
                  </a:lnTo>
                  <a:lnTo>
                    <a:pt x="278" y="183"/>
                  </a:lnTo>
                  <a:lnTo>
                    <a:pt x="275" y="183"/>
                  </a:lnTo>
                  <a:lnTo>
                    <a:pt x="271" y="183"/>
                  </a:lnTo>
                  <a:lnTo>
                    <a:pt x="271" y="183"/>
                  </a:lnTo>
                  <a:lnTo>
                    <a:pt x="270" y="183"/>
                  </a:lnTo>
                  <a:lnTo>
                    <a:pt x="268" y="183"/>
                  </a:lnTo>
                  <a:lnTo>
                    <a:pt x="266" y="183"/>
                  </a:lnTo>
                  <a:lnTo>
                    <a:pt x="264" y="183"/>
                  </a:lnTo>
                  <a:lnTo>
                    <a:pt x="263" y="183"/>
                  </a:lnTo>
                  <a:lnTo>
                    <a:pt x="261" y="183"/>
                  </a:lnTo>
                  <a:lnTo>
                    <a:pt x="259" y="183"/>
                  </a:lnTo>
                  <a:lnTo>
                    <a:pt x="258" y="183"/>
                  </a:lnTo>
                  <a:lnTo>
                    <a:pt x="256" y="183"/>
                  </a:lnTo>
                  <a:lnTo>
                    <a:pt x="254" y="183"/>
                  </a:lnTo>
                  <a:lnTo>
                    <a:pt x="252" y="183"/>
                  </a:lnTo>
                  <a:lnTo>
                    <a:pt x="246" y="184"/>
                  </a:lnTo>
                  <a:lnTo>
                    <a:pt x="244" y="184"/>
                  </a:lnTo>
                  <a:lnTo>
                    <a:pt x="242" y="184"/>
                  </a:lnTo>
                  <a:lnTo>
                    <a:pt x="240" y="184"/>
                  </a:lnTo>
                  <a:lnTo>
                    <a:pt x="239" y="184"/>
                  </a:lnTo>
                  <a:lnTo>
                    <a:pt x="237" y="184"/>
                  </a:lnTo>
                  <a:lnTo>
                    <a:pt x="235" y="184"/>
                  </a:lnTo>
                  <a:lnTo>
                    <a:pt x="228" y="184"/>
                  </a:lnTo>
                  <a:lnTo>
                    <a:pt x="227" y="184"/>
                  </a:lnTo>
                  <a:lnTo>
                    <a:pt x="227" y="184"/>
                  </a:lnTo>
                  <a:lnTo>
                    <a:pt x="225" y="184"/>
                  </a:lnTo>
                  <a:lnTo>
                    <a:pt x="223" y="184"/>
                  </a:lnTo>
                  <a:lnTo>
                    <a:pt x="218" y="184"/>
                  </a:lnTo>
                  <a:lnTo>
                    <a:pt x="216" y="184"/>
                  </a:lnTo>
                  <a:lnTo>
                    <a:pt x="204" y="184"/>
                  </a:lnTo>
                  <a:lnTo>
                    <a:pt x="201" y="184"/>
                  </a:lnTo>
                  <a:lnTo>
                    <a:pt x="196" y="186"/>
                  </a:lnTo>
                  <a:lnTo>
                    <a:pt x="185" y="186"/>
                  </a:lnTo>
                  <a:lnTo>
                    <a:pt x="184" y="186"/>
                  </a:lnTo>
                  <a:lnTo>
                    <a:pt x="184" y="188"/>
                  </a:lnTo>
                  <a:lnTo>
                    <a:pt x="182" y="188"/>
                  </a:lnTo>
                  <a:lnTo>
                    <a:pt x="182" y="190"/>
                  </a:lnTo>
                  <a:lnTo>
                    <a:pt x="180" y="190"/>
                  </a:lnTo>
                  <a:lnTo>
                    <a:pt x="180" y="190"/>
                  </a:lnTo>
                  <a:lnTo>
                    <a:pt x="178" y="190"/>
                  </a:lnTo>
                  <a:lnTo>
                    <a:pt x="178" y="191"/>
                  </a:lnTo>
                  <a:lnTo>
                    <a:pt x="177" y="191"/>
                  </a:lnTo>
                  <a:lnTo>
                    <a:pt x="175" y="191"/>
                  </a:lnTo>
                  <a:lnTo>
                    <a:pt x="173" y="193"/>
                  </a:lnTo>
                  <a:lnTo>
                    <a:pt x="172" y="193"/>
                  </a:lnTo>
                  <a:lnTo>
                    <a:pt x="172" y="195"/>
                  </a:lnTo>
                  <a:lnTo>
                    <a:pt x="170" y="195"/>
                  </a:lnTo>
                  <a:lnTo>
                    <a:pt x="170" y="197"/>
                  </a:lnTo>
                  <a:lnTo>
                    <a:pt x="168" y="197"/>
                  </a:lnTo>
                  <a:lnTo>
                    <a:pt x="166" y="197"/>
                  </a:lnTo>
                  <a:lnTo>
                    <a:pt x="166" y="198"/>
                  </a:lnTo>
                  <a:lnTo>
                    <a:pt x="166" y="198"/>
                  </a:lnTo>
                  <a:lnTo>
                    <a:pt x="165" y="200"/>
                  </a:lnTo>
                  <a:lnTo>
                    <a:pt x="163" y="200"/>
                  </a:lnTo>
                  <a:lnTo>
                    <a:pt x="161" y="200"/>
                  </a:lnTo>
                  <a:lnTo>
                    <a:pt x="161" y="202"/>
                  </a:lnTo>
                  <a:lnTo>
                    <a:pt x="160" y="202"/>
                  </a:lnTo>
                  <a:lnTo>
                    <a:pt x="160" y="200"/>
                  </a:lnTo>
                  <a:lnTo>
                    <a:pt x="160" y="198"/>
                  </a:lnTo>
                  <a:lnTo>
                    <a:pt x="160" y="197"/>
                  </a:lnTo>
                  <a:lnTo>
                    <a:pt x="158" y="197"/>
                  </a:lnTo>
                  <a:lnTo>
                    <a:pt x="158" y="197"/>
                  </a:lnTo>
                  <a:lnTo>
                    <a:pt x="158" y="195"/>
                  </a:lnTo>
                  <a:lnTo>
                    <a:pt x="156" y="195"/>
                  </a:lnTo>
                  <a:lnTo>
                    <a:pt x="156" y="193"/>
                  </a:lnTo>
                  <a:lnTo>
                    <a:pt x="154" y="193"/>
                  </a:lnTo>
                  <a:lnTo>
                    <a:pt x="153" y="193"/>
                  </a:lnTo>
                  <a:lnTo>
                    <a:pt x="151" y="195"/>
                  </a:lnTo>
                  <a:lnTo>
                    <a:pt x="151" y="195"/>
                  </a:lnTo>
                  <a:lnTo>
                    <a:pt x="149" y="195"/>
                  </a:lnTo>
                  <a:lnTo>
                    <a:pt x="149" y="197"/>
                  </a:lnTo>
                  <a:lnTo>
                    <a:pt x="148" y="197"/>
                  </a:lnTo>
                  <a:lnTo>
                    <a:pt x="148" y="198"/>
                  </a:lnTo>
                  <a:lnTo>
                    <a:pt x="146" y="198"/>
                  </a:lnTo>
                  <a:lnTo>
                    <a:pt x="146" y="200"/>
                  </a:lnTo>
                  <a:lnTo>
                    <a:pt x="146" y="202"/>
                  </a:lnTo>
                  <a:lnTo>
                    <a:pt x="146" y="203"/>
                  </a:lnTo>
                  <a:lnTo>
                    <a:pt x="146" y="205"/>
                  </a:lnTo>
                  <a:lnTo>
                    <a:pt x="144" y="205"/>
                  </a:lnTo>
                  <a:lnTo>
                    <a:pt x="144" y="207"/>
                  </a:lnTo>
                  <a:lnTo>
                    <a:pt x="144" y="209"/>
                  </a:lnTo>
                  <a:lnTo>
                    <a:pt x="144" y="210"/>
                  </a:lnTo>
                  <a:lnTo>
                    <a:pt x="144" y="212"/>
                  </a:lnTo>
                  <a:lnTo>
                    <a:pt x="144" y="212"/>
                  </a:lnTo>
                  <a:lnTo>
                    <a:pt x="144" y="214"/>
                  </a:lnTo>
                  <a:lnTo>
                    <a:pt x="142" y="215"/>
                  </a:lnTo>
                  <a:lnTo>
                    <a:pt x="142" y="217"/>
                  </a:lnTo>
                  <a:lnTo>
                    <a:pt x="142" y="219"/>
                  </a:lnTo>
                  <a:lnTo>
                    <a:pt x="137" y="219"/>
                  </a:lnTo>
                  <a:lnTo>
                    <a:pt x="130" y="219"/>
                  </a:lnTo>
                  <a:lnTo>
                    <a:pt x="123" y="219"/>
                  </a:lnTo>
                  <a:lnTo>
                    <a:pt x="120" y="217"/>
                  </a:lnTo>
                  <a:lnTo>
                    <a:pt x="120" y="219"/>
                  </a:lnTo>
                  <a:lnTo>
                    <a:pt x="120" y="219"/>
                  </a:lnTo>
                  <a:lnTo>
                    <a:pt x="108" y="217"/>
                  </a:lnTo>
                  <a:lnTo>
                    <a:pt x="106" y="217"/>
                  </a:lnTo>
                  <a:lnTo>
                    <a:pt x="99" y="217"/>
                  </a:lnTo>
                  <a:lnTo>
                    <a:pt x="92" y="217"/>
                  </a:lnTo>
                  <a:lnTo>
                    <a:pt x="91" y="217"/>
                  </a:lnTo>
                  <a:lnTo>
                    <a:pt x="87" y="217"/>
                  </a:lnTo>
                  <a:lnTo>
                    <a:pt x="86" y="217"/>
                  </a:lnTo>
                  <a:lnTo>
                    <a:pt x="84" y="217"/>
                  </a:lnTo>
                  <a:lnTo>
                    <a:pt x="75" y="217"/>
                  </a:lnTo>
                  <a:lnTo>
                    <a:pt x="75" y="217"/>
                  </a:lnTo>
                  <a:lnTo>
                    <a:pt x="74" y="217"/>
                  </a:lnTo>
                  <a:lnTo>
                    <a:pt x="70" y="217"/>
                  </a:lnTo>
                  <a:lnTo>
                    <a:pt x="68" y="217"/>
                  </a:lnTo>
                  <a:lnTo>
                    <a:pt x="65" y="217"/>
                  </a:lnTo>
                  <a:lnTo>
                    <a:pt x="63" y="217"/>
                  </a:lnTo>
                  <a:lnTo>
                    <a:pt x="60" y="217"/>
                  </a:lnTo>
                  <a:lnTo>
                    <a:pt x="58" y="217"/>
                  </a:lnTo>
                  <a:lnTo>
                    <a:pt x="55" y="217"/>
                  </a:lnTo>
                  <a:lnTo>
                    <a:pt x="53" y="217"/>
                  </a:lnTo>
                  <a:lnTo>
                    <a:pt x="51" y="217"/>
                  </a:lnTo>
                  <a:lnTo>
                    <a:pt x="48" y="217"/>
                  </a:lnTo>
                  <a:lnTo>
                    <a:pt x="44" y="215"/>
                  </a:lnTo>
                  <a:lnTo>
                    <a:pt x="44" y="215"/>
                  </a:lnTo>
                  <a:lnTo>
                    <a:pt x="43" y="215"/>
                  </a:lnTo>
                  <a:lnTo>
                    <a:pt x="37" y="215"/>
                  </a:lnTo>
                  <a:lnTo>
                    <a:pt x="34" y="215"/>
                  </a:lnTo>
                  <a:lnTo>
                    <a:pt x="31" y="215"/>
                  </a:lnTo>
                  <a:lnTo>
                    <a:pt x="27" y="215"/>
                  </a:lnTo>
                  <a:lnTo>
                    <a:pt x="25" y="215"/>
                  </a:lnTo>
                  <a:lnTo>
                    <a:pt x="22" y="215"/>
                  </a:lnTo>
                  <a:lnTo>
                    <a:pt x="17" y="215"/>
                  </a:lnTo>
                  <a:lnTo>
                    <a:pt x="8" y="215"/>
                  </a:lnTo>
                  <a:lnTo>
                    <a:pt x="8" y="214"/>
                  </a:lnTo>
                  <a:lnTo>
                    <a:pt x="8" y="212"/>
                  </a:lnTo>
                  <a:lnTo>
                    <a:pt x="8" y="210"/>
                  </a:lnTo>
                  <a:lnTo>
                    <a:pt x="8" y="207"/>
                  </a:lnTo>
                  <a:lnTo>
                    <a:pt x="8" y="205"/>
                  </a:lnTo>
                  <a:lnTo>
                    <a:pt x="10" y="203"/>
                  </a:lnTo>
                  <a:lnTo>
                    <a:pt x="8" y="203"/>
                  </a:lnTo>
                  <a:lnTo>
                    <a:pt x="10" y="203"/>
                  </a:lnTo>
                  <a:lnTo>
                    <a:pt x="10" y="202"/>
                  </a:lnTo>
                  <a:lnTo>
                    <a:pt x="10" y="197"/>
                  </a:lnTo>
                  <a:lnTo>
                    <a:pt x="10" y="181"/>
                  </a:lnTo>
                  <a:lnTo>
                    <a:pt x="10" y="179"/>
                  </a:lnTo>
                  <a:lnTo>
                    <a:pt x="10" y="176"/>
                  </a:lnTo>
                  <a:lnTo>
                    <a:pt x="10" y="174"/>
                  </a:lnTo>
                  <a:lnTo>
                    <a:pt x="10" y="171"/>
                  </a:lnTo>
                  <a:lnTo>
                    <a:pt x="10" y="155"/>
                  </a:lnTo>
                  <a:lnTo>
                    <a:pt x="10" y="147"/>
                  </a:lnTo>
                  <a:lnTo>
                    <a:pt x="10" y="145"/>
                  </a:lnTo>
                  <a:lnTo>
                    <a:pt x="10" y="133"/>
                  </a:lnTo>
                  <a:lnTo>
                    <a:pt x="10" y="131"/>
                  </a:lnTo>
                  <a:lnTo>
                    <a:pt x="10" y="126"/>
                  </a:lnTo>
                  <a:lnTo>
                    <a:pt x="10" y="124"/>
                  </a:lnTo>
                  <a:lnTo>
                    <a:pt x="10" y="121"/>
                  </a:lnTo>
                  <a:lnTo>
                    <a:pt x="10" y="119"/>
                  </a:lnTo>
                  <a:lnTo>
                    <a:pt x="10" y="114"/>
                  </a:lnTo>
                  <a:lnTo>
                    <a:pt x="10" y="112"/>
                  </a:lnTo>
                  <a:lnTo>
                    <a:pt x="10" y="111"/>
                  </a:lnTo>
                  <a:lnTo>
                    <a:pt x="10" y="104"/>
                  </a:lnTo>
                  <a:lnTo>
                    <a:pt x="0" y="104"/>
                  </a:lnTo>
                  <a:lnTo>
                    <a:pt x="0" y="95"/>
                  </a:lnTo>
                  <a:lnTo>
                    <a:pt x="0" y="93"/>
                  </a:lnTo>
                  <a:lnTo>
                    <a:pt x="0" y="86"/>
                  </a:lnTo>
                  <a:lnTo>
                    <a:pt x="0" y="85"/>
                  </a:lnTo>
                  <a:lnTo>
                    <a:pt x="0" y="76"/>
                  </a:lnTo>
                  <a:lnTo>
                    <a:pt x="0" y="69"/>
                  </a:lnTo>
                  <a:lnTo>
                    <a:pt x="0" y="66"/>
                  </a:lnTo>
                  <a:lnTo>
                    <a:pt x="0" y="57"/>
                  </a:lnTo>
                  <a:lnTo>
                    <a:pt x="0" y="55"/>
                  </a:lnTo>
                  <a:lnTo>
                    <a:pt x="0" y="40"/>
                  </a:lnTo>
                  <a:lnTo>
                    <a:pt x="0" y="38"/>
                  </a:lnTo>
                  <a:lnTo>
                    <a:pt x="0" y="37"/>
                  </a:lnTo>
                  <a:lnTo>
                    <a:pt x="0" y="35"/>
                  </a:lnTo>
                  <a:lnTo>
                    <a:pt x="0" y="33"/>
                  </a:lnTo>
                  <a:lnTo>
                    <a:pt x="0" y="31"/>
                  </a:lnTo>
                  <a:lnTo>
                    <a:pt x="0" y="26"/>
                  </a:lnTo>
                  <a:lnTo>
                    <a:pt x="0" y="19"/>
                  </a:lnTo>
                  <a:lnTo>
                    <a:pt x="0" y="16"/>
                  </a:lnTo>
                  <a:lnTo>
                    <a:pt x="0" y="11"/>
                  </a:lnTo>
                  <a:lnTo>
                    <a:pt x="0" y="7"/>
                  </a:lnTo>
                  <a:lnTo>
                    <a:pt x="0" y="6"/>
                  </a:lnTo>
                  <a:lnTo>
                    <a:pt x="0" y="2"/>
                  </a:lnTo>
                  <a:lnTo>
                    <a:pt x="12" y="2"/>
                  </a:lnTo>
                  <a:lnTo>
                    <a:pt x="13" y="2"/>
                  </a:lnTo>
                  <a:lnTo>
                    <a:pt x="15" y="2"/>
                  </a:lnTo>
                  <a:lnTo>
                    <a:pt x="24" y="2"/>
                  </a:lnTo>
                  <a:lnTo>
                    <a:pt x="32" y="2"/>
                  </a:lnTo>
                  <a:lnTo>
                    <a:pt x="36" y="2"/>
                  </a:lnTo>
                  <a:lnTo>
                    <a:pt x="44" y="2"/>
                  </a:lnTo>
                  <a:lnTo>
                    <a:pt x="60" y="4"/>
                  </a:lnTo>
                  <a:lnTo>
                    <a:pt x="74" y="4"/>
                  </a:lnTo>
                  <a:lnTo>
                    <a:pt x="75" y="4"/>
                  </a:lnTo>
                  <a:lnTo>
                    <a:pt x="103" y="4"/>
                  </a:lnTo>
                  <a:lnTo>
                    <a:pt x="105" y="4"/>
                  </a:lnTo>
                  <a:lnTo>
                    <a:pt x="106" y="4"/>
                  </a:lnTo>
                  <a:lnTo>
                    <a:pt x="106" y="4"/>
                  </a:lnTo>
                  <a:lnTo>
                    <a:pt x="108" y="4"/>
                  </a:lnTo>
                  <a:lnTo>
                    <a:pt x="111" y="4"/>
                  </a:lnTo>
                  <a:lnTo>
                    <a:pt x="113" y="4"/>
                  </a:lnTo>
                  <a:lnTo>
                    <a:pt x="117" y="4"/>
                  </a:lnTo>
                  <a:lnTo>
                    <a:pt x="120" y="4"/>
                  </a:lnTo>
                  <a:lnTo>
                    <a:pt x="123" y="4"/>
                  </a:lnTo>
                  <a:lnTo>
                    <a:pt x="125" y="4"/>
                  </a:lnTo>
                  <a:lnTo>
                    <a:pt x="127" y="4"/>
                  </a:lnTo>
                  <a:lnTo>
                    <a:pt x="135" y="4"/>
                  </a:lnTo>
                  <a:lnTo>
                    <a:pt x="135" y="2"/>
                  </a:lnTo>
                  <a:lnTo>
                    <a:pt x="139" y="2"/>
                  </a:lnTo>
                  <a:lnTo>
                    <a:pt x="142" y="2"/>
                  </a:lnTo>
                  <a:lnTo>
                    <a:pt x="144" y="2"/>
                  </a:lnTo>
                  <a:lnTo>
                    <a:pt x="148" y="2"/>
                  </a:lnTo>
                  <a:lnTo>
                    <a:pt x="151" y="2"/>
                  </a:lnTo>
                  <a:lnTo>
                    <a:pt x="160" y="2"/>
                  </a:lnTo>
                  <a:lnTo>
                    <a:pt x="161" y="2"/>
                  </a:lnTo>
                  <a:lnTo>
                    <a:pt x="163" y="2"/>
                  </a:lnTo>
                  <a:lnTo>
                    <a:pt x="175" y="2"/>
                  </a:lnTo>
                  <a:lnTo>
                    <a:pt x="177" y="2"/>
                  </a:lnTo>
                  <a:lnTo>
                    <a:pt x="178" y="2"/>
                  </a:lnTo>
                  <a:lnTo>
                    <a:pt x="184" y="2"/>
                  </a:lnTo>
                  <a:lnTo>
                    <a:pt x="185" y="2"/>
                  </a:lnTo>
                  <a:lnTo>
                    <a:pt x="189" y="2"/>
                  </a:lnTo>
                  <a:lnTo>
                    <a:pt x="196" y="0"/>
                  </a:lnTo>
                  <a:lnTo>
                    <a:pt x="201" y="0"/>
                  </a:lnTo>
                  <a:lnTo>
                    <a:pt x="203" y="0"/>
                  </a:lnTo>
                  <a:lnTo>
                    <a:pt x="209" y="0"/>
                  </a:lnTo>
                  <a:lnTo>
                    <a:pt x="216" y="0"/>
                  </a:lnTo>
                  <a:lnTo>
                    <a:pt x="218" y="0"/>
                  </a:lnTo>
                  <a:lnTo>
                    <a:pt x="230" y="0"/>
                  </a:lnTo>
                  <a:lnTo>
                    <a:pt x="237" y="0"/>
                  </a:lnTo>
                  <a:lnTo>
                    <a:pt x="239" y="0"/>
                  </a:lnTo>
                  <a:lnTo>
                    <a:pt x="240" y="0"/>
                  </a:lnTo>
                  <a:lnTo>
                    <a:pt x="247" y="0"/>
                  </a:lnTo>
                  <a:lnTo>
                    <a:pt x="252" y="0"/>
                  </a:lnTo>
                  <a:lnTo>
                    <a:pt x="254" y="0"/>
                  </a:lnTo>
                  <a:lnTo>
                    <a:pt x="256" y="0"/>
                  </a:lnTo>
                  <a:lnTo>
                    <a:pt x="256" y="0"/>
                  </a:lnTo>
                  <a:lnTo>
                    <a:pt x="259" y="0"/>
                  </a:lnTo>
                  <a:lnTo>
                    <a:pt x="261" y="0"/>
                  </a:lnTo>
                  <a:lnTo>
                    <a:pt x="266" y="0"/>
                  </a:lnTo>
                  <a:lnTo>
                    <a:pt x="266" y="2"/>
                  </a:lnTo>
                  <a:lnTo>
                    <a:pt x="271" y="2"/>
                  </a:lnTo>
                  <a:lnTo>
                    <a:pt x="283" y="0"/>
                  </a:lnTo>
                  <a:lnTo>
                    <a:pt x="287" y="0"/>
                  </a:lnTo>
                  <a:lnTo>
                    <a:pt x="287" y="0"/>
                  </a:lnTo>
                  <a:lnTo>
                    <a:pt x="289" y="0"/>
                  </a:lnTo>
                  <a:lnTo>
                    <a:pt x="290" y="0"/>
                  </a:lnTo>
                  <a:lnTo>
                    <a:pt x="294" y="0"/>
                  </a:lnTo>
                  <a:lnTo>
                    <a:pt x="295" y="0"/>
                  </a:lnTo>
                  <a:lnTo>
                    <a:pt x="297" y="0"/>
                  </a:lnTo>
                  <a:lnTo>
                    <a:pt x="301" y="0"/>
                  </a:lnTo>
                  <a:lnTo>
                    <a:pt x="302" y="0"/>
                  </a:lnTo>
                  <a:lnTo>
                    <a:pt x="306" y="0"/>
                  </a:lnTo>
                  <a:lnTo>
                    <a:pt x="307" y="0"/>
                  </a:lnTo>
                  <a:lnTo>
                    <a:pt x="311" y="0"/>
                  </a:lnTo>
                  <a:lnTo>
                    <a:pt x="313" y="0"/>
                  </a:lnTo>
                  <a:lnTo>
                    <a:pt x="316" y="0"/>
                  </a:lnTo>
                  <a:lnTo>
                    <a:pt x="316" y="0"/>
                  </a:lnTo>
                  <a:lnTo>
                    <a:pt x="318" y="0"/>
                  </a:lnTo>
                  <a:lnTo>
                    <a:pt x="326" y="0"/>
                  </a:lnTo>
                  <a:lnTo>
                    <a:pt x="328" y="0"/>
                  </a:lnTo>
                  <a:lnTo>
                    <a:pt x="332" y="0"/>
                  </a:lnTo>
                  <a:lnTo>
                    <a:pt x="332" y="0"/>
                  </a:lnTo>
                  <a:lnTo>
                    <a:pt x="333"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1" name="Freeform 201"/>
            <p:cNvSpPr>
              <a:spLocks/>
            </p:cNvSpPr>
            <p:nvPr/>
          </p:nvSpPr>
          <p:spPr bwMode="auto">
            <a:xfrm>
              <a:off x="6541384" y="3801856"/>
              <a:ext cx="431800" cy="622300"/>
            </a:xfrm>
            <a:custGeom>
              <a:avLst/>
              <a:gdLst/>
              <a:ahLst/>
              <a:cxnLst>
                <a:cxn ang="0">
                  <a:pos x="267" y="21"/>
                </a:cxn>
                <a:cxn ang="0">
                  <a:pos x="267" y="36"/>
                </a:cxn>
                <a:cxn ang="0">
                  <a:pos x="267" y="67"/>
                </a:cxn>
                <a:cxn ang="0">
                  <a:pos x="268" y="95"/>
                </a:cxn>
                <a:cxn ang="0">
                  <a:pos x="270" y="138"/>
                </a:cxn>
                <a:cxn ang="0">
                  <a:pos x="270" y="174"/>
                </a:cxn>
                <a:cxn ang="0">
                  <a:pos x="270" y="189"/>
                </a:cxn>
                <a:cxn ang="0">
                  <a:pos x="270" y="199"/>
                </a:cxn>
                <a:cxn ang="0">
                  <a:pos x="270" y="222"/>
                </a:cxn>
                <a:cxn ang="0">
                  <a:pos x="272" y="241"/>
                </a:cxn>
                <a:cxn ang="0">
                  <a:pos x="272" y="268"/>
                </a:cxn>
                <a:cxn ang="0">
                  <a:pos x="270" y="308"/>
                </a:cxn>
                <a:cxn ang="0">
                  <a:pos x="270" y="328"/>
                </a:cxn>
                <a:cxn ang="0">
                  <a:pos x="270" y="344"/>
                </a:cxn>
                <a:cxn ang="0">
                  <a:pos x="265" y="358"/>
                </a:cxn>
                <a:cxn ang="0">
                  <a:pos x="243" y="358"/>
                </a:cxn>
                <a:cxn ang="0">
                  <a:pos x="243" y="385"/>
                </a:cxn>
                <a:cxn ang="0">
                  <a:pos x="229" y="392"/>
                </a:cxn>
                <a:cxn ang="0">
                  <a:pos x="203" y="392"/>
                </a:cxn>
                <a:cxn ang="0">
                  <a:pos x="186" y="392"/>
                </a:cxn>
                <a:cxn ang="0">
                  <a:pos x="158" y="392"/>
                </a:cxn>
                <a:cxn ang="0">
                  <a:pos x="143" y="375"/>
                </a:cxn>
                <a:cxn ang="0">
                  <a:pos x="143" y="347"/>
                </a:cxn>
                <a:cxn ang="0">
                  <a:pos x="117" y="325"/>
                </a:cxn>
                <a:cxn ang="0">
                  <a:pos x="84" y="325"/>
                </a:cxn>
                <a:cxn ang="0">
                  <a:pos x="60" y="325"/>
                </a:cxn>
                <a:cxn ang="0">
                  <a:pos x="26" y="325"/>
                </a:cxn>
                <a:cxn ang="0">
                  <a:pos x="9" y="304"/>
                </a:cxn>
                <a:cxn ang="0">
                  <a:pos x="9" y="282"/>
                </a:cxn>
                <a:cxn ang="0">
                  <a:pos x="9" y="255"/>
                </a:cxn>
                <a:cxn ang="0">
                  <a:pos x="7" y="225"/>
                </a:cxn>
                <a:cxn ang="0">
                  <a:pos x="7" y="193"/>
                </a:cxn>
                <a:cxn ang="0">
                  <a:pos x="7" y="158"/>
                </a:cxn>
                <a:cxn ang="0">
                  <a:pos x="7" y="139"/>
                </a:cxn>
                <a:cxn ang="0">
                  <a:pos x="7" y="125"/>
                </a:cxn>
                <a:cxn ang="0">
                  <a:pos x="7" y="112"/>
                </a:cxn>
                <a:cxn ang="0">
                  <a:pos x="7" y="69"/>
                </a:cxn>
                <a:cxn ang="0">
                  <a:pos x="5" y="48"/>
                </a:cxn>
                <a:cxn ang="0">
                  <a:pos x="0" y="33"/>
                </a:cxn>
                <a:cxn ang="0">
                  <a:pos x="0" y="3"/>
                </a:cxn>
                <a:cxn ang="0">
                  <a:pos x="21" y="2"/>
                </a:cxn>
                <a:cxn ang="0">
                  <a:pos x="34" y="2"/>
                </a:cxn>
                <a:cxn ang="0">
                  <a:pos x="52" y="2"/>
                </a:cxn>
                <a:cxn ang="0">
                  <a:pos x="64" y="0"/>
                </a:cxn>
                <a:cxn ang="0">
                  <a:pos x="79" y="2"/>
                </a:cxn>
                <a:cxn ang="0">
                  <a:pos x="95" y="2"/>
                </a:cxn>
                <a:cxn ang="0">
                  <a:pos x="102" y="5"/>
                </a:cxn>
                <a:cxn ang="0">
                  <a:pos x="119" y="3"/>
                </a:cxn>
                <a:cxn ang="0">
                  <a:pos x="157" y="3"/>
                </a:cxn>
                <a:cxn ang="0">
                  <a:pos x="184" y="3"/>
                </a:cxn>
                <a:cxn ang="0">
                  <a:pos x="203" y="2"/>
                </a:cxn>
                <a:cxn ang="0">
                  <a:pos x="220" y="2"/>
                </a:cxn>
                <a:cxn ang="0">
                  <a:pos x="234" y="2"/>
                </a:cxn>
                <a:cxn ang="0">
                  <a:pos x="260" y="2"/>
                </a:cxn>
              </a:cxnLst>
              <a:rect l="0" t="0" r="r" b="b"/>
              <a:pathLst>
                <a:path w="272" h="392">
                  <a:moveTo>
                    <a:pt x="265" y="2"/>
                  </a:moveTo>
                  <a:lnTo>
                    <a:pt x="265" y="3"/>
                  </a:lnTo>
                  <a:lnTo>
                    <a:pt x="267" y="9"/>
                  </a:lnTo>
                  <a:lnTo>
                    <a:pt x="267" y="15"/>
                  </a:lnTo>
                  <a:lnTo>
                    <a:pt x="267" y="19"/>
                  </a:lnTo>
                  <a:lnTo>
                    <a:pt x="267" y="21"/>
                  </a:lnTo>
                  <a:lnTo>
                    <a:pt x="267" y="22"/>
                  </a:lnTo>
                  <a:lnTo>
                    <a:pt x="267" y="24"/>
                  </a:lnTo>
                  <a:lnTo>
                    <a:pt x="267" y="26"/>
                  </a:lnTo>
                  <a:lnTo>
                    <a:pt x="267" y="27"/>
                  </a:lnTo>
                  <a:lnTo>
                    <a:pt x="267" y="31"/>
                  </a:lnTo>
                  <a:lnTo>
                    <a:pt x="267" y="36"/>
                  </a:lnTo>
                  <a:lnTo>
                    <a:pt x="267" y="38"/>
                  </a:lnTo>
                  <a:lnTo>
                    <a:pt x="267" y="41"/>
                  </a:lnTo>
                  <a:lnTo>
                    <a:pt x="267" y="43"/>
                  </a:lnTo>
                  <a:lnTo>
                    <a:pt x="267" y="50"/>
                  </a:lnTo>
                  <a:lnTo>
                    <a:pt x="267" y="64"/>
                  </a:lnTo>
                  <a:lnTo>
                    <a:pt x="267" y="67"/>
                  </a:lnTo>
                  <a:lnTo>
                    <a:pt x="268" y="69"/>
                  </a:lnTo>
                  <a:lnTo>
                    <a:pt x="268" y="72"/>
                  </a:lnTo>
                  <a:lnTo>
                    <a:pt x="268" y="82"/>
                  </a:lnTo>
                  <a:lnTo>
                    <a:pt x="268" y="91"/>
                  </a:lnTo>
                  <a:lnTo>
                    <a:pt x="268" y="93"/>
                  </a:lnTo>
                  <a:lnTo>
                    <a:pt x="268" y="95"/>
                  </a:lnTo>
                  <a:lnTo>
                    <a:pt x="270" y="119"/>
                  </a:lnTo>
                  <a:lnTo>
                    <a:pt x="270" y="120"/>
                  </a:lnTo>
                  <a:lnTo>
                    <a:pt x="268" y="120"/>
                  </a:lnTo>
                  <a:lnTo>
                    <a:pt x="270" y="124"/>
                  </a:lnTo>
                  <a:lnTo>
                    <a:pt x="270" y="129"/>
                  </a:lnTo>
                  <a:lnTo>
                    <a:pt x="270" y="138"/>
                  </a:lnTo>
                  <a:lnTo>
                    <a:pt x="270" y="144"/>
                  </a:lnTo>
                  <a:lnTo>
                    <a:pt x="270" y="146"/>
                  </a:lnTo>
                  <a:lnTo>
                    <a:pt x="270" y="156"/>
                  </a:lnTo>
                  <a:lnTo>
                    <a:pt x="270" y="158"/>
                  </a:lnTo>
                  <a:lnTo>
                    <a:pt x="270" y="160"/>
                  </a:lnTo>
                  <a:lnTo>
                    <a:pt x="270" y="174"/>
                  </a:lnTo>
                  <a:lnTo>
                    <a:pt x="270" y="177"/>
                  </a:lnTo>
                  <a:lnTo>
                    <a:pt x="270" y="179"/>
                  </a:lnTo>
                  <a:lnTo>
                    <a:pt x="270" y="181"/>
                  </a:lnTo>
                  <a:lnTo>
                    <a:pt x="270" y="182"/>
                  </a:lnTo>
                  <a:lnTo>
                    <a:pt x="270" y="186"/>
                  </a:lnTo>
                  <a:lnTo>
                    <a:pt x="270" y="189"/>
                  </a:lnTo>
                  <a:lnTo>
                    <a:pt x="270" y="191"/>
                  </a:lnTo>
                  <a:lnTo>
                    <a:pt x="270" y="194"/>
                  </a:lnTo>
                  <a:lnTo>
                    <a:pt x="270" y="196"/>
                  </a:lnTo>
                  <a:lnTo>
                    <a:pt x="270" y="198"/>
                  </a:lnTo>
                  <a:lnTo>
                    <a:pt x="270" y="198"/>
                  </a:lnTo>
                  <a:lnTo>
                    <a:pt x="270" y="199"/>
                  </a:lnTo>
                  <a:lnTo>
                    <a:pt x="270" y="205"/>
                  </a:lnTo>
                  <a:lnTo>
                    <a:pt x="270" y="206"/>
                  </a:lnTo>
                  <a:lnTo>
                    <a:pt x="270" y="208"/>
                  </a:lnTo>
                  <a:lnTo>
                    <a:pt x="270" y="213"/>
                  </a:lnTo>
                  <a:lnTo>
                    <a:pt x="270" y="220"/>
                  </a:lnTo>
                  <a:lnTo>
                    <a:pt x="270" y="222"/>
                  </a:lnTo>
                  <a:lnTo>
                    <a:pt x="270" y="225"/>
                  </a:lnTo>
                  <a:lnTo>
                    <a:pt x="270" y="227"/>
                  </a:lnTo>
                  <a:lnTo>
                    <a:pt x="270" y="229"/>
                  </a:lnTo>
                  <a:lnTo>
                    <a:pt x="272" y="230"/>
                  </a:lnTo>
                  <a:lnTo>
                    <a:pt x="272" y="232"/>
                  </a:lnTo>
                  <a:lnTo>
                    <a:pt x="272" y="241"/>
                  </a:lnTo>
                  <a:lnTo>
                    <a:pt x="272" y="244"/>
                  </a:lnTo>
                  <a:lnTo>
                    <a:pt x="272" y="255"/>
                  </a:lnTo>
                  <a:lnTo>
                    <a:pt x="272" y="256"/>
                  </a:lnTo>
                  <a:lnTo>
                    <a:pt x="272" y="258"/>
                  </a:lnTo>
                  <a:lnTo>
                    <a:pt x="272" y="261"/>
                  </a:lnTo>
                  <a:lnTo>
                    <a:pt x="272" y="268"/>
                  </a:lnTo>
                  <a:lnTo>
                    <a:pt x="270" y="273"/>
                  </a:lnTo>
                  <a:lnTo>
                    <a:pt x="270" y="280"/>
                  </a:lnTo>
                  <a:lnTo>
                    <a:pt x="270" y="284"/>
                  </a:lnTo>
                  <a:lnTo>
                    <a:pt x="270" y="292"/>
                  </a:lnTo>
                  <a:lnTo>
                    <a:pt x="270" y="298"/>
                  </a:lnTo>
                  <a:lnTo>
                    <a:pt x="270" y="308"/>
                  </a:lnTo>
                  <a:lnTo>
                    <a:pt x="270" y="310"/>
                  </a:lnTo>
                  <a:lnTo>
                    <a:pt x="270" y="318"/>
                  </a:lnTo>
                  <a:lnTo>
                    <a:pt x="270" y="323"/>
                  </a:lnTo>
                  <a:lnTo>
                    <a:pt x="270" y="325"/>
                  </a:lnTo>
                  <a:lnTo>
                    <a:pt x="270" y="327"/>
                  </a:lnTo>
                  <a:lnTo>
                    <a:pt x="270" y="328"/>
                  </a:lnTo>
                  <a:lnTo>
                    <a:pt x="270" y="334"/>
                  </a:lnTo>
                  <a:lnTo>
                    <a:pt x="270" y="334"/>
                  </a:lnTo>
                  <a:lnTo>
                    <a:pt x="270" y="335"/>
                  </a:lnTo>
                  <a:lnTo>
                    <a:pt x="270" y="339"/>
                  </a:lnTo>
                  <a:lnTo>
                    <a:pt x="270" y="342"/>
                  </a:lnTo>
                  <a:lnTo>
                    <a:pt x="270" y="344"/>
                  </a:lnTo>
                  <a:lnTo>
                    <a:pt x="270" y="349"/>
                  </a:lnTo>
                  <a:lnTo>
                    <a:pt x="272" y="349"/>
                  </a:lnTo>
                  <a:lnTo>
                    <a:pt x="272" y="353"/>
                  </a:lnTo>
                  <a:lnTo>
                    <a:pt x="270" y="358"/>
                  </a:lnTo>
                  <a:lnTo>
                    <a:pt x="267" y="358"/>
                  </a:lnTo>
                  <a:lnTo>
                    <a:pt x="265" y="358"/>
                  </a:lnTo>
                  <a:lnTo>
                    <a:pt x="262" y="358"/>
                  </a:lnTo>
                  <a:lnTo>
                    <a:pt x="262" y="358"/>
                  </a:lnTo>
                  <a:lnTo>
                    <a:pt x="260" y="358"/>
                  </a:lnTo>
                  <a:lnTo>
                    <a:pt x="256" y="358"/>
                  </a:lnTo>
                  <a:lnTo>
                    <a:pt x="244" y="358"/>
                  </a:lnTo>
                  <a:lnTo>
                    <a:pt x="243" y="358"/>
                  </a:lnTo>
                  <a:lnTo>
                    <a:pt x="243" y="359"/>
                  </a:lnTo>
                  <a:lnTo>
                    <a:pt x="243" y="366"/>
                  </a:lnTo>
                  <a:lnTo>
                    <a:pt x="243" y="373"/>
                  </a:lnTo>
                  <a:lnTo>
                    <a:pt x="243" y="380"/>
                  </a:lnTo>
                  <a:lnTo>
                    <a:pt x="243" y="382"/>
                  </a:lnTo>
                  <a:lnTo>
                    <a:pt x="243" y="385"/>
                  </a:lnTo>
                  <a:lnTo>
                    <a:pt x="243" y="390"/>
                  </a:lnTo>
                  <a:lnTo>
                    <a:pt x="243" y="392"/>
                  </a:lnTo>
                  <a:lnTo>
                    <a:pt x="241" y="392"/>
                  </a:lnTo>
                  <a:lnTo>
                    <a:pt x="239" y="392"/>
                  </a:lnTo>
                  <a:lnTo>
                    <a:pt x="234" y="392"/>
                  </a:lnTo>
                  <a:lnTo>
                    <a:pt x="229" y="392"/>
                  </a:lnTo>
                  <a:lnTo>
                    <a:pt x="225" y="392"/>
                  </a:lnTo>
                  <a:lnTo>
                    <a:pt x="217" y="392"/>
                  </a:lnTo>
                  <a:lnTo>
                    <a:pt x="210" y="392"/>
                  </a:lnTo>
                  <a:lnTo>
                    <a:pt x="206" y="392"/>
                  </a:lnTo>
                  <a:lnTo>
                    <a:pt x="205" y="392"/>
                  </a:lnTo>
                  <a:lnTo>
                    <a:pt x="203" y="392"/>
                  </a:lnTo>
                  <a:lnTo>
                    <a:pt x="201" y="392"/>
                  </a:lnTo>
                  <a:lnTo>
                    <a:pt x="201" y="392"/>
                  </a:lnTo>
                  <a:lnTo>
                    <a:pt x="200" y="392"/>
                  </a:lnTo>
                  <a:lnTo>
                    <a:pt x="196" y="392"/>
                  </a:lnTo>
                  <a:lnTo>
                    <a:pt x="194" y="392"/>
                  </a:lnTo>
                  <a:lnTo>
                    <a:pt x="186" y="392"/>
                  </a:lnTo>
                  <a:lnTo>
                    <a:pt x="184" y="392"/>
                  </a:lnTo>
                  <a:lnTo>
                    <a:pt x="181" y="392"/>
                  </a:lnTo>
                  <a:lnTo>
                    <a:pt x="179" y="392"/>
                  </a:lnTo>
                  <a:lnTo>
                    <a:pt x="165" y="392"/>
                  </a:lnTo>
                  <a:lnTo>
                    <a:pt x="163" y="392"/>
                  </a:lnTo>
                  <a:lnTo>
                    <a:pt x="158" y="392"/>
                  </a:lnTo>
                  <a:lnTo>
                    <a:pt x="155" y="392"/>
                  </a:lnTo>
                  <a:lnTo>
                    <a:pt x="150" y="392"/>
                  </a:lnTo>
                  <a:lnTo>
                    <a:pt x="143" y="392"/>
                  </a:lnTo>
                  <a:lnTo>
                    <a:pt x="143" y="384"/>
                  </a:lnTo>
                  <a:lnTo>
                    <a:pt x="143" y="382"/>
                  </a:lnTo>
                  <a:lnTo>
                    <a:pt x="143" y="375"/>
                  </a:lnTo>
                  <a:lnTo>
                    <a:pt x="143" y="365"/>
                  </a:lnTo>
                  <a:lnTo>
                    <a:pt x="143" y="365"/>
                  </a:lnTo>
                  <a:lnTo>
                    <a:pt x="143" y="363"/>
                  </a:lnTo>
                  <a:lnTo>
                    <a:pt x="143" y="359"/>
                  </a:lnTo>
                  <a:lnTo>
                    <a:pt x="143" y="353"/>
                  </a:lnTo>
                  <a:lnTo>
                    <a:pt x="143" y="347"/>
                  </a:lnTo>
                  <a:lnTo>
                    <a:pt x="143" y="342"/>
                  </a:lnTo>
                  <a:lnTo>
                    <a:pt x="143" y="341"/>
                  </a:lnTo>
                  <a:lnTo>
                    <a:pt x="143" y="330"/>
                  </a:lnTo>
                  <a:lnTo>
                    <a:pt x="143" y="325"/>
                  </a:lnTo>
                  <a:lnTo>
                    <a:pt x="126" y="325"/>
                  </a:lnTo>
                  <a:lnTo>
                    <a:pt x="117" y="325"/>
                  </a:lnTo>
                  <a:lnTo>
                    <a:pt x="107" y="325"/>
                  </a:lnTo>
                  <a:lnTo>
                    <a:pt x="105" y="325"/>
                  </a:lnTo>
                  <a:lnTo>
                    <a:pt x="102" y="325"/>
                  </a:lnTo>
                  <a:lnTo>
                    <a:pt x="98" y="325"/>
                  </a:lnTo>
                  <a:lnTo>
                    <a:pt x="88" y="325"/>
                  </a:lnTo>
                  <a:lnTo>
                    <a:pt x="84" y="325"/>
                  </a:lnTo>
                  <a:lnTo>
                    <a:pt x="77" y="325"/>
                  </a:lnTo>
                  <a:lnTo>
                    <a:pt x="76" y="325"/>
                  </a:lnTo>
                  <a:lnTo>
                    <a:pt x="67" y="325"/>
                  </a:lnTo>
                  <a:lnTo>
                    <a:pt x="65" y="325"/>
                  </a:lnTo>
                  <a:lnTo>
                    <a:pt x="65" y="325"/>
                  </a:lnTo>
                  <a:lnTo>
                    <a:pt x="60" y="325"/>
                  </a:lnTo>
                  <a:lnTo>
                    <a:pt x="55" y="325"/>
                  </a:lnTo>
                  <a:lnTo>
                    <a:pt x="50" y="325"/>
                  </a:lnTo>
                  <a:lnTo>
                    <a:pt x="43" y="325"/>
                  </a:lnTo>
                  <a:lnTo>
                    <a:pt x="34" y="325"/>
                  </a:lnTo>
                  <a:lnTo>
                    <a:pt x="31" y="325"/>
                  </a:lnTo>
                  <a:lnTo>
                    <a:pt x="26" y="325"/>
                  </a:lnTo>
                  <a:lnTo>
                    <a:pt x="17" y="325"/>
                  </a:lnTo>
                  <a:lnTo>
                    <a:pt x="16" y="325"/>
                  </a:lnTo>
                  <a:lnTo>
                    <a:pt x="9" y="325"/>
                  </a:lnTo>
                  <a:lnTo>
                    <a:pt x="9" y="316"/>
                  </a:lnTo>
                  <a:lnTo>
                    <a:pt x="9" y="304"/>
                  </a:lnTo>
                  <a:lnTo>
                    <a:pt x="9" y="304"/>
                  </a:lnTo>
                  <a:lnTo>
                    <a:pt x="9" y="303"/>
                  </a:lnTo>
                  <a:lnTo>
                    <a:pt x="9" y="301"/>
                  </a:lnTo>
                  <a:lnTo>
                    <a:pt x="9" y="299"/>
                  </a:lnTo>
                  <a:lnTo>
                    <a:pt x="9" y="292"/>
                  </a:lnTo>
                  <a:lnTo>
                    <a:pt x="9" y="289"/>
                  </a:lnTo>
                  <a:lnTo>
                    <a:pt x="9" y="282"/>
                  </a:lnTo>
                  <a:lnTo>
                    <a:pt x="9" y="277"/>
                  </a:lnTo>
                  <a:lnTo>
                    <a:pt x="9" y="273"/>
                  </a:lnTo>
                  <a:lnTo>
                    <a:pt x="9" y="267"/>
                  </a:lnTo>
                  <a:lnTo>
                    <a:pt x="9" y="260"/>
                  </a:lnTo>
                  <a:lnTo>
                    <a:pt x="9" y="258"/>
                  </a:lnTo>
                  <a:lnTo>
                    <a:pt x="9" y="255"/>
                  </a:lnTo>
                  <a:lnTo>
                    <a:pt x="9" y="246"/>
                  </a:lnTo>
                  <a:lnTo>
                    <a:pt x="9" y="244"/>
                  </a:lnTo>
                  <a:lnTo>
                    <a:pt x="7" y="239"/>
                  </a:lnTo>
                  <a:lnTo>
                    <a:pt x="7" y="237"/>
                  </a:lnTo>
                  <a:lnTo>
                    <a:pt x="7" y="236"/>
                  </a:lnTo>
                  <a:lnTo>
                    <a:pt x="7" y="225"/>
                  </a:lnTo>
                  <a:lnTo>
                    <a:pt x="7" y="224"/>
                  </a:lnTo>
                  <a:lnTo>
                    <a:pt x="7" y="213"/>
                  </a:lnTo>
                  <a:lnTo>
                    <a:pt x="7" y="208"/>
                  </a:lnTo>
                  <a:lnTo>
                    <a:pt x="7" y="198"/>
                  </a:lnTo>
                  <a:lnTo>
                    <a:pt x="7" y="196"/>
                  </a:lnTo>
                  <a:lnTo>
                    <a:pt x="7" y="193"/>
                  </a:lnTo>
                  <a:lnTo>
                    <a:pt x="7" y="187"/>
                  </a:lnTo>
                  <a:lnTo>
                    <a:pt x="7" y="186"/>
                  </a:lnTo>
                  <a:lnTo>
                    <a:pt x="7" y="170"/>
                  </a:lnTo>
                  <a:lnTo>
                    <a:pt x="7" y="167"/>
                  </a:lnTo>
                  <a:lnTo>
                    <a:pt x="7" y="163"/>
                  </a:lnTo>
                  <a:lnTo>
                    <a:pt x="7" y="158"/>
                  </a:lnTo>
                  <a:lnTo>
                    <a:pt x="7" y="155"/>
                  </a:lnTo>
                  <a:lnTo>
                    <a:pt x="7" y="150"/>
                  </a:lnTo>
                  <a:lnTo>
                    <a:pt x="7" y="148"/>
                  </a:lnTo>
                  <a:lnTo>
                    <a:pt x="7" y="143"/>
                  </a:lnTo>
                  <a:lnTo>
                    <a:pt x="7" y="141"/>
                  </a:lnTo>
                  <a:lnTo>
                    <a:pt x="7" y="139"/>
                  </a:lnTo>
                  <a:lnTo>
                    <a:pt x="7" y="138"/>
                  </a:lnTo>
                  <a:lnTo>
                    <a:pt x="7" y="138"/>
                  </a:lnTo>
                  <a:lnTo>
                    <a:pt x="7" y="134"/>
                  </a:lnTo>
                  <a:lnTo>
                    <a:pt x="7" y="129"/>
                  </a:lnTo>
                  <a:lnTo>
                    <a:pt x="7" y="127"/>
                  </a:lnTo>
                  <a:lnTo>
                    <a:pt x="7" y="125"/>
                  </a:lnTo>
                  <a:lnTo>
                    <a:pt x="7" y="124"/>
                  </a:lnTo>
                  <a:lnTo>
                    <a:pt x="7" y="122"/>
                  </a:lnTo>
                  <a:lnTo>
                    <a:pt x="7" y="120"/>
                  </a:lnTo>
                  <a:lnTo>
                    <a:pt x="7" y="115"/>
                  </a:lnTo>
                  <a:lnTo>
                    <a:pt x="7" y="113"/>
                  </a:lnTo>
                  <a:lnTo>
                    <a:pt x="7" y="112"/>
                  </a:lnTo>
                  <a:lnTo>
                    <a:pt x="7" y="110"/>
                  </a:lnTo>
                  <a:lnTo>
                    <a:pt x="7" y="108"/>
                  </a:lnTo>
                  <a:lnTo>
                    <a:pt x="7" y="103"/>
                  </a:lnTo>
                  <a:lnTo>
                    <a:pt x="7" y="86"/>
                  </a:lnTo>
                  <a:lnTo>
                    <a:pt x="7" y="79"/>
                  </a:lnTo>
                  <a:lnTo>
                    <a:pt x="7" y="69"/>
                  </a:lnTo>
                  <a:lnTo>
                    <a:pt x="5" y="67"/>
                  </a:lnTo>
                  <a:lnTo>
                    <a:pt x="5" y="60"/>
                  </a:lnTo>
                  <a:lnTo>
                    <a:pt x="5" y="55"/>
                  </a:lnTo>
                  <a:lnTo>
                    <a:pt x="5" y="53"/>
                  </a:lnTo>
                  <a:lnTo>
                    <a:pt x="5" y="50"/>
                  </a:lnTo>
                  <a:lnTo>
                    <a:pt x="5" y="48"/>
                  </a:lnTo>
                  <a:lnTo>
                    <a:pt x="5" y="46"/>
                  </a:lnTo>
                  <a:lnTo>
                    <a:pt x="2" y="46"/>
                  </a:lnTo>
                  <a:lnTo>
                    <a:pt x="2" y="43"/>
                  </a:lnTo>
                  <a:lnTo>
                    <a:pt x="0" y="39"/>
                  </a:lnTo>
                  <a:lnTo>
                    <a:pt x="0" y="34"/>
                  </a:lnTo>
                  <a:lnTo>
                    <a:pt x="0" y="33"/>
                  </a:lnTo>
                  <a:lnTo>
                    <a:pt x="0" y="33"/>
                  </a:lnTo>
                  <a:lnTo>
                    <a:pt x="0" y="29"/>
                  </a:lnTo>
                  <a:lnTo>
                    <a:pt x="0" y="19"/>
                  </a:lnTo>
                  <a:lnTo>
                    <a:pt x="0" y="15"/>
                  </a:lnTo>
                  <a:lnTo>
                    <a:pt x="0" y="12"/>
                  </a:lnTo>
                  <a:lnTo>
                    <a:pt x="0" y="3"/>
                  </a:lnTo>
                  <a:lnTo>
                    <a:pt x="0" y="2"/>
                  </a:lnTo>
                  <a:lnTo>
                    <a:pt x="5" y="2"/>
                  </a:lnTo>
                  <a:lnTo>
                    <a:pt x="9" y="2"/>
                  </a:lnTo>
                  <a:lnTo>
                    <a:pt x="10" y="2"/>
                  </a:lnTo>
                  <a:lnTo>
                    <a:pt x="19" y="2"/>
                  </a:lnTo>
                  <a:lnTo>
                    <a:pt x="21" y="2"/>
                  </a:lnTo>
                  <a:lnTo>
                    <a:pt x="21" y="2"/>
                  </a:lnTo>
                  <a:lnTo>
                    <a:pt x="24" y="2"/>
                  </a:lnTo>
                  <a:lnTo>
                    <a:pt x="26" y="2"/>
                  </a:lnTo>
                  <a:lnTo>
                    <a:pt x="28" y="2"/>
                  </a:lnTo>
                  <a:lnTo>
                    <a:pt x="33" y="2"/>
                  </a:lnTo>
                  <a:lnTo>
                    <a:pt x="34" y="2"/>
                  </a:lnTo>
                  <a:lnTo>
                    <a:pt x="38" y="2"/>
                  </a:lnTo>
                  <a:lnTo>
                    <a:pt x="40" y="2"/>
                  </a:lnTo>
                  <a:lnTo>
                    <a:pt x="43" y="2"/>
                  </a:lnTo>
                  <a:lnTo>
                    <a:pt x="45" y="2"/>
                  </a:lnTo>
                  <a:lnTo>
                    <a:pt x="50" y="2"/>
                  </a:lnTo>
                  <a:lnTo>
                    <a:pt x="52" y="2"/>
                  </a:lnTo>
                  <a:lnTo>
                    <a:pt x="57" y="2"/>
                  </a:lnTo>
                  <a:lnTo>
                    <a:pt x="59" y="2"/>
                  </a:lnTo>
                  <a:lnTo>
                    <a:pt x="60" y="2"/>
                  </a:lnTo>
                  <a:lnTo>
                    <a:pt x="62" y="2"/>
                  </a:lnTo>
                  <a:lnTo>
                    <a:pt x="62" y="0"/>
                  </a:lnTo>
                  <a:lnTo>
                    <a:pt x="64" y="0"/>
                  </a:lnTo>
                  <a:lnTo>
                    <a:pt x="65" y="0"/>
                  </a:lnTo>
                  <a:lnTo>
                    <a:pt x="65" y="2"/>
                  </a:lnTo>
                  <a:lnTo>
                    <a:pt x="67" y="2"/>
                  </a:lnTo>
                  <a:lnTo>
                    <a:pt x="69" y="2"/>
                  </a:lnTo>
                  <a:lnTo>
                    <a:pt x="74" y="2"/>
                  </a:lnTo>
                  <a:lnTo>
                    <a:pt x="79" y="2"/>
                  </a:lnTo>
                  <a:lnTo>
                    <a:pt x="81" y="2"/>
                  </a:lnTo>
                  <a:lnTo>
                    <a:pt x="84" y="2"/>
                  </a:lnTo>
                  <a:lnTo>
                    <a:pt x="86" y="2"/>
                  </a:lnTo>
                  <a:lnTo>
                    <a:pt x="88" y="2"/>
                  </a:lnTo>
                  <a:lnTo>
                    <a:pt x="93" y="2"/>
                  </a:lnTo>
                  <a:lnTo>
                    <a:pt x="95" y="2"/>
                  </a:lnTo>
                  <a:lnTo>
                    <a:pt x="96" y="2"/>
                  </a:lnTo>
                  <a:lnTo>
                    <a:pt x="98" y="2"/>
                  </a:lnTo>
                  <a:lnTo>
                    <a:pt x="102" y="2"/>
                  </a:lnTo>
                  <a:lnTo>
                    <a:pt x="102" y="2"/>
                  </a:lnTo>
                  <a:lnTo>
                    <a:pt x="102" y="3"/>
                  </a:lnTo>
                  <a:lnTo>
                    <a:pt x="102" y="5"/>
                  </a:lnTo>
                  <a:lnTo>
                    <a:pt x="107" y="3"/>
                  </a:lnTo>
                  <a:lnTo>
                    <a:pt x="110" y="3"/>
                  </a:lnTo>
                  <a:lnTo>
                    <a:pt x="112" y="3"/>
                  </a:lnTo>
                  <a:lnTo>
                    <a:pt x="114" y="3"/>
                  </a:lnTo>
                  <a:lnTo>
                    <a:pt x="117" y="3"/>
                  </a:lnTo>
                  <a:lnTo>
                    <a:pt x="119" y="3"/>
                  </a:lnTo>
                  <a:lnTo>
                    <a:pt x="129" y="3"/>
                  </a:lnTo>
                  <a:lnTo>
                    <a:pt x="133" y="3"/>
                  </a:lnTo>
                  <a:lnTo>
                    <a:pt x="136" y="3"/>
                  </a:lnTo>
                  <a:lnTo>
                    <a:pt x="141" y="3"/>
                  </a:lnTo>
                  <a:lnTo>
                    <a:pt x="148" y="3"/>
                  </a:lnTo>
                  <a:lnTo>
                    <a:pt x="157" y="3"/>
                  </a:lnTo>
                  <a:lnTo>
                    <a:pt x="160" y="3"/>
                  </a:lnTo>
                  <a:lnTo>
                    <a:pt x="170" y="3"/>
                  </a:lnTo>
                  <a:lnTo>
                    <a:pt x="170" y="3"/>
                  </a:lnTo>
                  <a:lnTo>
                    <a:pt x="172" y="3"/>
                  </a:lnTo>
                  <a:lnTo>
                    <a:pt x="177" y="3"/>
                  </a:lnTo>
                  <a:lnTo>
                    <a:pt x="184" y="3"/>
                  </a:lnTo>
                  <a:lnTo>
                    <a:pt x="186" y="2"/>
                  </a:lnTo>
                  <a:lnTo>
                    <a:pt x="188" y="2"/>
                  </a:lnTo>
                  <a:lnTo>
                    <a:pt x="189" y="2"/>
                  </a:lnTo>
                  <a:lnTo>
                    <a:pt x="191" y="2"/>
                  </a:lnTo>
                  <a:lnTo>
                    <a:pt x="198" y="2"/>
                  </a:lnTo>
                  <a:lnTo>
                    <a:pt x="203" y="2"/>
                  </a:lnTo>
                  <a:lnTo>
                    <a:pt x="212" y="2"/>
                  </a:lnTo>
                  <a:lnTo>
                    <a:pt x="213" y="2"/>
                  </a:lnTo>
                  <a:lnTo>
                    <a:pt x="217" y="2"/>
                  </a:lnTo>
                  <a:lnTo>
                    <a:pt x="217" y="2"/>
                  </a:lnTo>
                  <a:lnTo>
                    <a:pt x="219" y="2"/>
                  </a:lnTo>
                  <a:lnTo>
                    <a:pt x="220" y="2"/>
                  </a:lnTo>
                  <a:lnTo>
                    <a:pt x="222" y="2"/>
                  </a:lnTo>
                  <a:lnTo>
                    <a:pt x="224" y="2"/>
                  </a:lnTo>
                  <a:lnTo>
                    <a:pt x="225" y="2"/>
                  </a:lnTo>
                  <a:lnTo>
                    <a:pt x="227" y="2"/>
                  </a:lnTo>
                  <a:lnTo>
                    <a:pt x="229" y="2"/>
                  </a:lnTo>
                  <a:lnTo>
                    <a:pt x="234" y="2"/>
                  </a:lnTo>
                  <a:lnTo>
                    <a:pt x="236" y="2"/>
                  </a:lnTo>
                  <a:lnTo>
                    <a:pt x="239" y="2"/>
                  </a:lnTo>
                  <a:lnTo>
                    <a:pt x="248" y="2"/>
                  </a:lnTo>
                  <a:lnTo>
                    <a:pt x="251" y="2"/>
                  </a:lnTo>
                  <a:lnTo>
                    <a:pt x="258" y="2"/>
                  </a:lnTo>
                  <a:lnTo>
                    <a:pt x="260" y="2"/>
                  </a:lnTo>
                  <a:lnTo>
                    <a:pt x="263" y="2"/>
                  </a:lnTo>
                  <a:lnTo>
                    <a:pt x="265" y="2"/>
                  </a:lnTo>
                  <a:lnTo>
                    <a:pt x="265" y="2"/>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2" name="Freeform 203"/>
            <p:cNvSpPr>
              <a:spLocks/>
            </p:cNvSpPr>
            <p:nvPr/>
          </p:nvSpPr>
          <p:spPr bwMode="auto">
            <a:xfrm>
              <a:off x="6071484" y="3874881"/>
              <a:ext cx="484188" cy="681038"/>
            </a:xfrm>
            <a:custGeom>
              <a:avLst/>
              <a:gdLst/>
              <a:ahLst/>
              <a:cxnLst>
                <a:cxn ang="0">
                  <a:pos x="267" y="0"/>
                </a:cxn>
                <a:cxn ang="0">
                  <a:pos x="301" y="2"/>
                </a:cxn>
                <a:cxn ang="0">
                  <a:pos x="303" y="33"/>
                </a:cxn>
                <a:cxn ang="0">
                  <a:pos x="303" y="69"/>
                </a:cxn>
                <a:cxn ang="0">
                  <a:pos x="303" y="88"/>
                </a:cxn>
                <a:cxn ang="0">
                  <a:pos x="303" y="104"/>
                </a:cxn>
                <a:cxn ang="0">
                  <a:pos x="303" y="141"/>
                </a:cxn>
                <a:cxn ang="0">
                  <a:pos x="303" y="179"/>
                </a:cxn>
                <a:cxn ang="0">
                  <a:pos x="305" y="212"/>
                </a:cxn>
                <a:cxn ang="0">
                  <a:pos x="305" y="246"/>
                </a:cxn>
                <a:cxn ang="0">
                  <a:pos x="305" y="279"/>
                </a:cxn>
                <a:cxn ang="0">
                  <a:pos x="270" y="279"/>
                </a:cxn>
                <a:cxn ang="0">
                  <a:pos x="238" y="279"/>
                </a:cxn>
                <a:cxn ang="0">
                  <a:pos x="210" y="279"/>
                </a:cxn>
                <a:cxn ang="0">
                  <a:pos x="181" y="279"/>
                </a:cxn>
                <a:cxn ang="0">
                  <a:pos x="158" y="279"/>
                </a:cxn>
                <a:cxn ang="0">
                  <a:pos x="134" y="291"/>
                </a:cxn>
                <a:cxn ang="0">
                  <a:pos x="134" y="322"/>
                </a:cxn>
                <a:cxn ang="0">
                  <a:pos x="134" y="348"/>
                </a:cxn>
                <a:cxn ang="0">
                  <a:pos x="134" y="391"/>
                </a:cxn>
                <a:cxn ang="0">
                  <a:pos x="134" y="427"/>
                </a:cxn>
                <a:cxn ang="0">
                  <a:pos x="100" y="427"/>
                </a:cxn>
                <a:cxn ang="0">
                  <a:pos x="78" y="427"/>
                </a:cxn>
                <a:cxn ang="0">
                  <a:pos x="55" y="427"/>
                </a:cxn>
                <a:cxn ang="0">
                  <a:pos x="28" y="427"/>
                </a:cxn>
                <a:cxn ang="0">
                  <a:pos x="0" y="424"/>
                </a:cxn>
                <a:cxn ang="0">
                  <a:pos x="0" y="408"/>
                </a:cxn>
                <a:cxn ang="0">
                  <a:pos x="0" y="381"/>
                </a:cxn>
                <a:cxn ang="0">
                  <a:pos x="0" y="353"/>
                </a:cxn>
                <a:cxn ang="0">
                  <a:pos x="2" y="324"/>
                </a:cxn>
                <a:cxn ang="0">
                  <a:pos x="2" y="289"/>
                </a:cxn>
                <a:cxn ang="0">
                  <a:pos x="2" y="248"/>
                </a:cxn>
                <a:cxn ang="0">
                  <a:pos x="2" y="219"/>
                </a:cxn>
                <a:cxn ang="0">
                  <a:pos x="2" y="190"/>
                </a:cxn>
                <a:cxn ang="0">
                  <a:pos x="2" y="160"/>
                </a:cxn>
                <a:cxn ang="0">
                  <a:pos x="2" y="136"/>
                </a:cxn>
                <a:cxn ang="0">
                  <a:pos x="14" y="114"/>
                </a:cxn>
                <a:cxn ang="0">
                  <a:pos x="36" y="112"/>
                </a:cxn>
                <a:cxn ang="0">
                  <a:pos x="38" y="102"/>
                </a:cxn>
                <a:cxn ang="0">
                  <a:pos x="42" y="93"/>
                </a:cxn>
                <a:cxn ang="0">
                  <a:pos x="48" y="88"/>
                </a:cxn>
                <a:cxn ang="0">
                  <a:pos x="54" y="93"/>
                </a:cxn>
                <a:cxn ang="0">
                  <a:pos x="60" y="93"/>
                </a:cxn>
                <a:cxn ang="0">
                  <a:pos x="66" y="88"/>
                </a:cxn>
                <a:cxn ang="0">
                  <a:pos x="74" y="85"/>
                </a:cxn>
                <a:cxn ang="0">
                  <a:pos x="95" y="79"/>
                </a:cxn>
                <a:cxn ang="0">
                  <a:pos x="121" y="79"/>
                </a:cxn>
                <a:cxn ang="0">
                  <a:pos x="138" y="79"/>
                </a:cxn>
                <a:cxn ang="0">
                  <a:pos x="155" y="78"/>
                </a:cxn>
                <a:cxn ang="0">
                  <a:pos x="165" y="78"/>
                </a:cxn>
                <a:cxn ang="0">
                  <a:pos x="201" y="78"/>
                </a:cxn>
                <a:cxn ang="0">
                  <a:pos x="224" y="78"/>
                </a:cxn>
                <a:cxn ang="0">
                  <a:pos x="239" y="66"/>
                </a:cxn>
                <a:cxn ang="0">
                  <a:pos x="239" y="36"/>
                </a:cxn>
                <a:cxn ang="0">
                  <a:pos x="239" y="6"/>
                </a:cxn>
              </a:cxnLst>
              <a:rect l="0" t="0" r="r" b="b"/>
              <a:pathLst>
                <a:path w="305" h="429">
                  <a:moveTo>
                    <a:pt x="239" y="0"/>
                  </a:moveTo>
                  <a:lnTo>
                    <a:pt x="241" y="0"/>
                  </a:lnTo>
                  <a:lnTo>
                    <a:pt x="246" y="0"/>
                  </a:lnTo>
                  <a:lnTo>
                    <a:pt x="251" y="0"/>
                  </a:lnTo>
                  <a:lnTo>
                    <a:pt x="253" y="0"/>
                  </a:lnTo>
                  <a:lnTo>
                    <a:pt x="263" y="0"/>
                  </a:lnTo>
                  <a:lnTo>
                    <a:pt x="267" y="0"/>
                  </a:lnTo>
                  <a:lnTo>
                    <a:pt x="270" y="0"/>
                  </a:lnTo>
                  <a:lnTo>
                    <a:pt x="277" y="0"/>
                  </a:lnTo>
                  <a:lnTo>
                    <a:pt x="291" y="0"/>
                  </a:lnTo>
                  <a:lnTo>
                    <a:pt x="294" y="0"/>
                  </a:lnTo>
                  <a:lnTo>
                    <a:pt x="298" y="0"/>
                  </a:lnTo>
                  <a:lnTo>
                    <a:pt x="301" y="0"/>
                  </a:lnTo>
                  <a:lnTo>
                    <a:pt x="301" y="2"/>
                  </a:lnTo>
                  <a:lnTo>
                    <a:pt x="301" y="4"/>
                  </a:lnTo>
                  <a:lnTo>
                    <a:pt x="301" y="7"/>
                  </a:lnTo>
                  <a:lnTo>
                    <a:pt x="301" y="9"/>
                  </a:lnTo>
                  <a:lnTo>
                    <a:pt x="301" y="14"/>
                  </a:lnTo>
                  <a:lnTo>
                    <a:pt x="301" y="21"/>
                  </a:lnTo>
                  <a:lnTo>
                    <a:pt x="303" y="23"/>
                  </a:lnTo>
                  <a:lnTo>
                    <a:pt x="303" y="33"/>
                  </a:lnTo>
                  <a:lnTo>
                    <a:pt x="303" y="40"/>
                  </a:lnTo>
                  <a:lnTo>
                    <a:pt x="303" y="57"/>
                  </a:lnTo>
                  <a:lnTo>
                    <a:pt x="303" y="62"/>
                  </a:lnTo>
                  <a:lnTo>
                    <a:pt x="303" y="64"/>
                  </a:lnTo>
                  <a:lnTo>
                    <a:pt x="303" y="66"/>
                  </a:lnTo>
                  <a:lnTo>
                    <a:pt x="303" y="67"/>
                  </a:lnTo>
                  <a:lnTo>
                    <a:pt x="303" y="69"/>
                  </a:lnTo>
                  <a:lnTo>
                    <a:pt x="303" y="74"/>
                  </a:lnTo>
                  <a:lnTo>
                    <a:pt x="303" y="76"/>
                  </a:lnTo>
                  <a:lnTo>
                    <a:pt x="303" y="78"/>
                  </a:lnTo>
                  <a:lnTo>
                    <a:pt x="303" y="79"/>
                  </a:lnTo>
                  <a:lnTo>
                    <a:pt x="303" y="81"/>
                  </a:lnTo>
                  <a:lnTo>
                    <a:pt x="303" y="83"/>
                  </a:lnTo>
                  <a:lnTo>
                    <a:pt x="303" y="88"/>
                  </a:lnTo>
                  <a:lnTo>
                    <a:pt x="303" y="92"/>
                  </a:lnTo>
                  <a:lnTo>
                    <a:pt x="303" y="92"/>
                  </a:lnTo>
                  <a:lnTo>
                    <a:pt x="303" y="93"/>
                  </a:lnTo>
                  <a:lnTo>
                    <a:pt x="303" y="95"/>
                  </a:lnTo>
                  <a:lnTo>
                    <a:pt x="303" y="97"/>
                  </a:lnTo>
                  <a:lnTo>
                    <a:pt x="303" y="102"/>
                  </a:lnTo>
                  <a:lnTo>
                    <a:pt x="303" y="104"/>
                  </a:lnTo>
                  <a:lnTo>
                    <a:pt x="303" y="109"/>
                  </a:lnTo>
                  <a:lnTo>
                    <a:pt x="303" y="112"/>
                  </a:lnTo>
                  <a:lnTo>
                    <a:pt x="303" y="117"/>
                  </a:lnTo>
                  <a:lnTo>
                    <a:pt x="303" y="121"/>
                  </a:lnTo>
                  <a:lnTo>
                    <a:pt x="303" y="124"/>
                  </a:lnTo>
                  <a:lnTo>
                    <a:pt x="303" y="140"/>
                  </a:lnTo>
                  <a:lnTo>
                    <a:pt x="303" y="141"/>
                  </a:lnTo>
                  <a:lnTo>
                    <a:pt x="303" y="147"/>
                  </a:lnTo>
                  <a:lnTo>
                    <a:pt x="303" y="150"/>
                  </a:lnTo>
                  <a:lnTo>
                    <a:pt x="303" y="152"/>
                  </a:lnTo>
                  <a:lnTo>
                    <a:pt x="303" y="162"/>
                  </a:lnTo>
                  <a:lnTo>
                    <a:pt x="303" y="167"/>
                  </a:lnTo>
                  <a:lnTo>
                    <a:pt x="303" y="178"/>
                  </a:lnTo>
                  <a:lnTo>
                    <a:pt x="303" y="179"/>
                  </a:lnTo>
                  <a:lnTo>
                    <a:pt x="303" y="190"/>
                  </a:lnTo>
                  <a:lnTo>
                    <a:pt x="303" y="191"/>
                  </a:lnTo>
                  <a:lnTo>
                    <a:pt x="303" y="193"/>
                  </a:lnTo>
                  <a:lnTo>
                    <a:pt x="305" y="198"/>
                  </a:lnTo>
                  <a:lnTo>
                    <a:pt x="305" y="200"/>
                  </a:lnTo>
                  <a:lnTo>
                    <a:pt x="305" y="209"/>
                  </a:lnTo>
                  <a:lnTo>
                    <a:pt x="305" y="212"/>
                  </a:lnTo>
                  <a:lnTo>
                    <a:pt x="305" y="214"/>
                  </a:lnTo>
                  <a:lnTo>
                    <a:pt x="305" y="221"/>
                  </a:lnTo>
                  <a:lnTo>
                    <a:pt x="305" y="227"/>
                  </a:lnTo>
                  <a:lnTo>
                    <a:pt x="305" y="231"/>
                  </a:lnTo>
                  <a:lnTo>
                    <a:pt x="305" y="236"/>
                  </a:lnTo>
                  <a:lnTo>
                    <a:pt x="305" y="243"/>
                  </a:lnTo>
                  <a:lnTo>
                    <a:pt x="305" y="246"/>
                  </a:lnTo>
                  <a:lnTo>
                    <a:pt x="305" y="253"/>
                  </a:lnTo>
                  <a:lnTo>
                    <a:pt x="305" y="255"/>
                  </a:lnTo>
                  <a:lnTo>
                    <a:pt x="305" y="257"/>
                  </a:lnTo>
                  <a:lnTo>
                    <a:pt x="305" y="258"/>
                  </a:lnTo>
                  <a:lnTo>
                    <a:pt x="305" y="258"/>
                  </a:lnTo>
                  <a:lnTo>
                    <a:pt x="305" y="270"/>
                  </a:lnTo>
                  <a:lnTo>
                    <a:pt x="305" y="279"/>
                  </a:lnTo>
                  <a:lnTo>
                    <a:pt x="301" y="279"/>
                  </a:lnTo>
                  <a:lnTo>
                    <a:pt x="294" y="279"/>
                  </a:lnTo>
                  <a:lnTo>
                    <a:pt x="289" y="279"/>
                  </a:lnTo>
                  <a:lnTo>
                    <a:pt x="286" y="279"/>
                  </a:lnTo>
                  <a:lnTo>
                    <a:pt x="282" y="279"/>
                  </a:lnTo>
                  <a:lnTo>
                    <a:pt x="281" y="279"/>
                  </a:lnTo>
                  <a:lnTo>
                    <a:pt x="270" y="279"/>
                  </a:lnTo>
                  <a:lnTo>
                    <a:pt x="263" y="279"/>
                  </a:lnTo>
                  <a:lnTo>
                    <a:pt x="262" y="279"/>
                  </a:lnTo>
                  <a:lnTo>
                    <a:pt x="260" y="279"/>
                  </a:lnTo>
                  <a:lnTo>
                    <a:pt x="255" y="279"/>
                  </a:lnTo>
                  <a:lnTo>
                    <a:pt x="250" y="279"/>
                  </a:lnTo>
                  <a:lnTo>
                    <a:pt x="246" y="279"/>
                  </a:lnTo>
                  <a:lnTo>
                    <a:pt x="238" y="279"/>
                  </a:lnTo>
                  <a:lnTo>
                    <a:pt x="226" y="279"/>
                  </a:lnTo>
                  <a:lnTo>
                    <a:pt x="226" y="279"/>
                  </a:lnTo>
                  <a:lnTo>
                    <a:pt x="224" y="279"/>
                  </a:lnTo>
                  <a:lnTo>
                    <a:pt x="222" y="279"/>
                  </a:lnTo>
                  <a:lnTo>
                    <a:pt x="217" y="279"/>
                  </a:lnTo>
                  <a:lnTo>
                    <a:pt x="212" y="279"/>
                  </a:lnTo>
                  <a:lnTo>
                    <a:pt x="210" y="279"/>
                  </a:lnTo>
                  <a:lnTo>
                    <a:pt x="205" y="279"/>
                  </a:lnTo>
                  <a:lnTo>
                    <a:pt x="196" y="279"/>
                  </a:lnTo>
                  <a:lnTo>
                    <a:pt x="193" y="279"/>
                  </a:lnTo>
                  <a:lnTo>
                    <a:pt x="184" y="279"/>
                  </a:lnTo>
                  <a:lnTo>
                    <a:pt x="183" y="279"/>
                  </a:lnTo>
                  <a:lnTo>
                    <a:pt x="181" y="279"/>
                  </a:lnTo>
                  <a:lnTo>
                    <a:pt x="181" y="279"/>
                  </a:lnTo>
                  <a:lnTo>
                    <a:pt x="176" y="279"/>
                  </a:lnTo>
                  <a:lnTo>
                    <a:pt x="169" y="279"/>
                  </a:lnTo>
                  <a:lnTo>
                    <a:pt x="165" y="279"/>
                  </a:lnTo>
                  <a:lnTo>
                    <a:pt x="165" y="279"/>
                  </a:lnTo>
                  <a:lnTo>
                    <a:pt x="162" y="279"/>
                  </a:lnTo>
                  <a:lnTo>
                    <a:pt x="160" y="279"/>
                  </a:lnTo>
                  <a:lnTo>
                    <a:pt x="158" y="279"/>
                  </a:lnTo>
                  <a:lnTo>
                    <a:pt x="157" y="279"/>
                  </a:lnTo>
                  <a:lnTo>
                    <a:pt x="150" y="279"/>
                  </a:lnTo>
                  <a:lnTo>
                    <a:pt x="143" y="279"/>
                  </a:lnTo>
                  <a:lnTo>
                    <a:pt x="134" y="281"/>
                  </a:lnTo>
                  <a:lnTo>
                    <a:pt x="134" y="288"/>
                  </a:lnTo>
                  <a:lnTo>
                    <a:pt x="134" y="288"/>
                  </a:lnTo>
                  <a:lnTo>
                    <a:pt x="134" y="291"/>
                  </a:lnTo>
                  <a:lnTo>
                    <a:pt x="134" y="303"/>
                  </a:lnTo>
                  <a:lnTo>
                    <a:pt x="134" y="303"/>
                  </a:lnTo>
                  <a:lnTo>
                    <a:pt x="134" y="305"/>
                  </a:lnTo>
                  <a:lnTo>
                    <a:pt x="134" y="312"/>
                  </a:lnTo>
                  <a:lnTo>
                    <a:pt x="134" y="317"/>
                  </a:lnTo>
                  <a:lnTo>
                    <a:pt x="134" y="319"/>
                  </a:lnTo>
                  <a:lnTo>
                    <a:pt x="134" y="322"/>
                  </a:lnTo>
                  <a:lnTo>
                    <a:pt x="134" y="329"/>
                  </a:lnTo>
                  <a:lnTo>
                    <a:pt x="134" y="331"/>
                  </a:lnTo>
                  <a:lnTo>
                    <a:pt x="134" y="334"/>
                  </a:lnTo>
                  <a:lnTo>
                    <a:pt x="134" y="334"/>
                  </a:lnTo>
                  <a:lnTo>
                    <a:pt x="134" y="336"/>
                  </a:lnTo>
                  <a:lnTo>
                    <a:pt x="134" y="348"/>
                  </a:lnTo>
                  <a:lnTo>
                    <a:pt x="134" y="348"/>
                  </a:lnTo>
                  <a:lnTo>
                    <a:pt x="134" y="355"/>
                  </a:lnTo>
                  <a:lnTo>
                    <a:pt x="134" y="367"/>
                  </a:lnTo>
                  <a:lnTo>
                    <a:pt x="134" y="369"/>
                  </a:lnTo>
                  <a:lnTo>
                    <a:pt x="134" y="370"/>
                  </a:lnTo>
                  <a:lnTo>
                    <a:pt x="134" y="384"/>
                  </a:lnTo>
                  <a:lnTo>
                    <a:pt x="134" y="387"/>
                  </a:lnTo>
                  <a:lnTo>
                    <a:pt x="134" y="391"/>
                  </a:lnTo>
                  <a:lnTo>
                    <a:pt x="134" y="394"/>
                  </a:lnTo>
                  <a:lnTo>
                    <a:pt x="134" y="403"/>
                  </a:lnTo>
                  <a:lnTo>
                    <a:pt x="134" y="408"/>
                  </a:lnTo>
                  <a:lnTo>
                    <a:pt x="134" y="415"/>
                  </a:lnTo>
                  <a:lnTo>
                    <a:pt x="134" y="422"/>
                  </a:lnTo>
                  <a:lnTo>
                    <a:pt x="134" y="425"/>
                  </a:lnTo>
                  <a:lnTo>
                    <a:pt x="134" y="427"/>
                  </a:lnTo>
                  <a:lnTo>
                    <a:pt x="131" y="427"/>
                  </a:lnTo>
                  <a:lnTo>
                    <a:pt x="126" y="427"/>
                  </a:lnTo>
                  <a:lnTo>
                    <a:pt x="121" y="427"/>
                  </a:lnTo>
                  <a:lnTo>
                    <a:pt x="115" y="427"/>
                  </a:lnTo>
                  <a:lnTo>
                    <a:pt x="107" y="429"/>
                  </a:lnTo>
                  <a:lnTo>
                    <a:pt x="103" y="429"/>
                  </a:lnTo>
                  <a:lnTo>
                    <a:pt x="100" y="427"/>
                  </a:lnTo>
                  <a:lnTo>
                    <a:pt x="98" y="427"/>
                  </a:lnTo>
                  <a:lnTo>
                    <a:pt x="95" y="427"/>
                  </a:lnTo>
                  <a:lnTo>
                    <a:pt x="91" y="427"/>
                  </a:lnTo>
                  <a:lnTo>
                    <a:pt x="90" y="427"/>
                  </a:lnTo>
                  <a:lnTo>
                    <a:pt x="86" y="427"/>
                  </a:lnTo>
                  <a:lnTo>
                    <a:pt x="85" y="427"/>
                  </a:lnTo>
                  <a:lnTo>
                    <a:pt x="78" y="427"/>
                  </a:lnTo>
                  <a:lnTo>
                    <a:pt x="76" y="427"/>
                  </a:lnTo>
                  <a:lnTo>
                    <a:pt x="74" y="427"/>
                  </a:lnTo>
                  <a:lnTo>
                    <a:pt x="71" y="427"/>
                  </a:lnTo>
                  <a:lnTo>
                    <a:pt x="60" y="427"/>
                  </a:lnTo>
                  <a:lnTo>
                    <a:pt x="59" y="427"/>
                  </a:lnTo>
                  <a:lnTo>
                    <a:pt x="57" y="427"/>
                  </a:lnTo>
                  <a:lnTo>
                    <a:pt x="55" y="427"/>
                  </a:lnTo>
                  <a:lnTo>
                    <a:pt x="47" y="427"/>
                  </a:lnTo>
                  <a:lnTo>
                    <a:pt x="45" y="427"/>
                  </a:lnTo>
                  <a:lnTo>
                    <a:pt x="42" y="427"/>
                  </a:lnTo>
                  <a:lnTo>
                    <a:pt x="40" y="427"/>
                  </a:lnTo>
                  <a:lnTo>
                    <a:pt x="33" y="427"/>
                  </a:lnTo>
                  <a:lnTo>
                    <a:pt x="31" y="427"/>
                  </a:lnTo>
                  <a:lnTo>
                    <a:pt x="28" y="427"/>
                  </a:lnTo>
                  <a:lnTo>
                    <a:pt x="24" y="425"/>
                  </a:lnTo>
                  <a:lnTo>
                    <a:pt x="21" y="425"/>
                  </a:lnTo>
                  <a:lnTo>
                    <a:pt x="19" y="427"/>
                  </a:lnTo>
                  <a:lnTo>
                    <a:pt x="14" y="427"/>
                  </a:lnTo>
                  <a:lnTo>
                    <a:pt x="12" y="427"/>
                  </a:lnTo>
                  <a:lnTo>
                    <a:pt x="0" y="425"/>
                  </a:lnTo>
                  <a:lnTo>
                    <a:pt x="0" y="424"/>
                  </a:lnTo>
                  <a:lnTo>
                    <a:pt x="0" y="424"/>
                  </a:lnTo>
                  <a:lnTo>
                    <a:pt x="0" y="422"/>
                  </a:lnTo>
                  <a:lnTo>
                    <a:pt x="0" y="418"/>
                  </a:lnTo>
                  <a:lnTo>
                    <a:pt x="0" y="415"/>
                  </a:lnTo>
                  <a:lnTo>
                    <a:pt x="0" y="412"/>
                  </a:lnTo>
                  <a:lnTo>
                    <a:pt x="0" y="408"/>
                  </a:lnTo>
                  <a:lnTo>
                    <a:pt x="0" y="408"/>
                  </a:lnTo>
                  <a:lnTo>
                    <a:pt x="0" y="405"/>
                  </a:lnTo>
                  <a:lnTo>
                    <a:pt x="0" y="394"/>
                  </a:lnTo>
                  <a:lnTo>
                    <a:pt x="0" y="391"/>
                  </a:lnTo>
                  <a:lnTo>
                    <a:pt x="0" y="389"/>
                  </a:lnTo>
                  <a:lnTo>
                    <a:pt x="0" y="387"/>
                  </a:lnTo>
                  <a:lnTo>
                    <a:pt x="0" y="384"/>
                  </a:lnTo>
                  <a:lnTo>
                    <a:pt x="0" y="381"/>
                  </a:lnTo>
                  <a:lnTo>
                    <a:pt x="0" y="369"/>
                  </a:lnTo>
                  <a:lnTo>
                    <a:pt x="0" y="367"/>
                  </a:lnTo>
                  <a:lnTo>
                    <a:pt x="0" y="365"/>
                  </a:lnTo>
                  <a:lnTo>
                    <a:pt x="0" y="363"/>
                  </a:lnTo>
                  <a:lnTo>
                    <a:pt x="0" y="358"/>
                  </a:lnTo>
                  <a:lnTo>
                    <a:pt x="0" y="356"/>
                  </a:lnTo>
                  <a:lnTo>
                    <a:pt x="0" y="353"/>
                  </a:lnTo>
                  <a:lnTo>
                    <a:pt x="0" y="348"/>
                  </a:lnTo>
                  <a:lnTo>
                    <a:pt x="0" y="346"/>
                  </a:lnTo>
                  <a:lnTo>
                    <a:pt x="2" y="338"/>
                  </a:lnTo>
                  <a:lnTo>
                    <a:pt x="2" y="334"/>
                  </a:lnTo>
                  <a:lnTo>
                    <a:pt x="2" y="331"/>
                  </a:lnTo>
                  <a:lnTo>
                    <a:pt x="2" y="327"/>
                  </a:lnTo>
                  <a:lnTo>
                    <a:pt x="2" y="324"/>
                  </a:lnTo>
                  <a:lnTo>
                    <a:pt x="2" y="322"/>
                  </a:lnTo>
                  <a:lnTo>
                    <a:pt x="2" y="313"/>
                  </a:lnTo>
                  <a:lnTo>
                    <a:pt x="2" y="303"/>
                  </a:lnTo>
                  <a:lnTo>
                    <a:pt x="2" y="300"/>
                  </a:lnTo>
                  <a:lnTo>
                    <a:pt x="2" y="298"/>
                  </a:lnTo>
                  <a:lnTo>
                    <a:pt x="2" y="296"/>
                  </a:lnTo>
                  <a:lnTo>
                    <a:pt x="2" y="289"/>
                  </a:lnTo>
                  <a:lnTo>
                    <a:pt x="2" y="281"/>
                  </a:lnTo>
                  <a:lnTo>
                    <a:pt x="2" y="279"/>
                  </a:lnTo>
                  <a:lnTo>
                    <a:pt x="2" y="265"/>
                  </a:lnTo>
                  <a:lnTo>
                    <a:pt x="2" y="258"/>
                  </a:lnTo>
                  <a:lnTo>
                    <a:pt x="2" y="253"/>
                  </a:lnTo>
                  <a:lnTo>
                    <a:pt x="2" y="252"/>
                  </a:lnTo>
                  <a:lnTo>
                    <a:pt x="2" y="248"/>
                  </a:lnTo>
                  <a:lnTo>
                    <a:pt x="2" y="246"/>
                  </a:lnTo>
                  <a:lnTo>
                    <a:pt x="2" y="239"/>
                  </a:lnTo>
                  <a:lnTo>
                    <a:pt x="2" y="234"/>
                  </a:lnTo>
                  <a:lnTo>
                    <a:pt x="2" y="227"/>
                  </a:lnTo>
                  <a:lnTo>
                    <a:pt x="2" y="224"/>
                  </a:lnTo>
                  <a:lnTo>
                    <a:pt x="2" y="222"/>
                  </a:lnTo>
                  <a:lnTo>
                    <a:pt x="2" y="219"/>
                  </a:lnTo>
                  <a:lnTo>
                    <a:pt x="2" y="217"/>
                  </a:lnTo>
                  <a:lnTo>
                    <a:pt x="2" y="212"/>
                  </a:lnTo>
                  <a:lnTo>
                    <a:pt x="2" y="202"/>
                  </a:lnTo>
                  <a:lnTo>
                    <a:pt x="2" y="200"/>
                  </a:lnTo>
                  <a:lnTo>
                    <a:pt x="2" y="196"/>
                  </a:lnTo>
                  <a:lnTo>
                    <a:pt x="2" y="193"/>
                  </a:lnTo>
                  <a:lnTo>
                    <a:pt x="2" y="190"/>
                  </a:lnTo>
                  <a:lnTo>
                    <a:pt x="2" y="178"/>
                  </a:lnTo>
                  <a:lnTo>
                    <a:pt x="2" y="176"/>
                  </a:lnTo>
                  <a:lnTo>
                    <a:pt x="2" y="171"/>
                  </a:lnTo>
                  <a:lnTo>
                    <a:pt x="2" y="167"/>
                  </a:lnTo>
                  <a:lnTo>
                    <a:pt x="2" y="167"/>
                  </a:lnTo>
                  <a:lnTo>
                    <a:pt x="2" y="162"/>
                  </a:lnTo>
                  <a:lnTo>
                    <a:pt x="2" y="160"/>
                  </a:lnTo>
                  <a:lnTo>
                    <a:pt x="2" y="155"/>
                  </a:lnTo>
                  <a:lnTo>
                    <a:pt x="2" y="152"/>
                  </a:lnTo>
                  <a:lnTo>
                    <a:pt x="2" y="150"/>
                  </a:lnTo>
                  <a:lnTo>
                    <a:pt x="2" y="147"/>
                  </a:lnTo>
                  <a:lnTo>
                    <a:pt x="2" y="140"/>
                  </a:lnTo>
                  <a:lnTo>
                    <a:pt x="2" y="138"/>
                  </a:lnTo>
                  <a:lnTo>
                    <a:pt x="2" y="136"/>
                  </a:lnTo>
                  <a:lnTo>
                    <a:pt x="2" y="135"/>
                  </a:lnTo>
                  <a:lnTo>
                    <a:pt x="2" y="129"/>
                  </a:lnTo>
                  <a:lnTo>
                    <a:pt x="2" y="124"/>
                  </a:lnTo>
                  <a:lnTo>
                    <a:pt x="2" y="123"/>
                  </a:lnTo>
                  <a:lnTo>
                    <a:pt x="2" y="119"/>
                  </a:lnTo>
                  <a:lnTo>
                    <a:pt x="2" y="112"/>
                  </a:lnTo>
                  <a:lnTo>
                    <a:pt x="14" y="114"/>
                  </a:lnTo>
                  <a:lnTo>
                    <a:pt x="14" y="114"/>
                  </a:lnTo>
                  <a:lnTo>
                    <a:pt x="14" y="112"/>
                  </a:lnTo>
                  <a:lnTo>
                    <a:pt x="17" y="114"/>
                  </a:lnTo>
                  <a:lnTo>
                    <a:pt x="24" y="114"/>
                  </a:lnTo>
                  <a:lnTo>
                    <a:pt x="31" y="114"/>
                  </a:lnTo>
                  <a:lnTo>
                    <a:pt x="36" y="114"/>
                  </a:lnTo>
                  <a:lnTo>
                    <a:pt x="36" y="112"/>
                  </a:lnTo>
                  <a:lnTo>
                    <a:pt x="36" y="110"/>
                  </a:lnTo>
                  <a:lnTo>
                    <a:pt x="38" y="109"/>
                  </a:lnTo>
                  <a:lnTo>
                    <a:pt x="38" y="107"/>
                  </a:lnTo>
                  <a:lnTo>
                    <a:pt x="38" y="107"/>
                  </a:lnTo>
                  <a:lnTo>
                    <a:pt x="38" y="105"/>
                  </a:lnTo>
                  <a:lnTo>
                    <a:pt x="38" y="104"/>
                  </a:lnTo>
                  <a:lnTo>
                    <a:pt x="38" y="102"/>
                  </a:lnTo>
                  <a:lnTo>
                    <a:pt x="38" y="100"/>
                  </a:lnTo>
                  <a:lnTo>
                    <a:pt x="40" y="100"/>
                  </a:lnTo>
                  <a:lnTo>
                    <a:pt x="40" y="98"/>
                  </a:lnTo>
                  <a:lnTo>
                    <a:pt x="40" y="97"/>
                  </a:lnTo>
                  <a:lnTo>
                    <a:pt x="40" y="95"/>
                  </a:lnTo>
                  <a:lnTo>
                    <a:pt x="40" y="93"/>
                  </a:lnTo>
                  <a:lnTo>
                    <a:pt x="42" y="93"/>
                  </a:lnTo>
                  <a:lnTo>
                    <a:pt x="42" y="92"/>
                  </a:lnTo>
                  <a:lnTo>
                    <a:pt x="43" y="92"/>
                  </a:lnTo>
                  <a:lnTo>
                    <a:pt x="43" y="90"/>
                  </a:lnTo>
                  <a:lnTo>
                    <a:pt x="45" y="90"/>
                  </a:lnTo>
                  <a:lnTo>
                    <a:pt x="45" y="90"/>
                  </a:lnTo>
                  <a:lnTo>
                    <a:pt x="47" y="88"/>
                  </a:lnTo>
                  <a:lnTo>
                    <a:pt x="48" y="88"/>
                  </a:lnTo>
                  <a:lnTo>
                    <a:pt x="50" y="88"/>
                  </a:lnTo>
                  <a:lnTo>
                    <a:pt x="50" y="90"/>
                  </a:lnTo>
                  <a:lnTo>
                    <a:pt x="52" y="90"/>
                  </a:lnTo>
                  <a:lnTo>
                    <a:pt x="52" y="92"/>
                  </a:lnTo>
                  <a:lnTo>
                    <a:pt x="52" y="92"/>
                  </a:lnTo>
                  <a:lnTo>
                    <a:pt x="54" y="92"/>
                  </a:lnTo>
                  <a:lnTo>
                    <a:pt x="54" y="93"/>
                  </a:lnTo>
                  <a:lnTo>
                    <a:pt x="54" y="95"/>
                  </a:lnTo>
                  <a:lnTo>
                    <a:pt x="54" y="97"/>
                  </a:lnTo>
                  <a:lnTo>
                    <a:pt x="55" y="97"/>
                  </a:lnTo>
                  <a:lnTo>
                    <a:pt x="55" y="95"/>
                  </a:lnTo>
                  <a:lnTo>
                    <a:pt x="57" y="95"/>
                  </a:lnTo>
                  <a:lnTo>
                    <a:pt x="59" y="95"/>
                  </a:lnTo>
                  <a:lnTo>
                    <a:pt x="60" y="93"/>
                  </a:lnTo>
                  <a:lnTo>
                    <a:pt x="60" y="93"/>
                  </a:lnTo>
                  <a:lnTo>
                    <a:pt x="60" y="92"/>
                  </a:lnTo>
                  <a:lnTo>
                    <a:pt x="62" y="92"/>
                  </a:lnTo>
                  <a:lnTo>
                    <a:pt x="64" y="92"/>
                  </a:lnTo>
                  <a:lnTo>
                    <a:pt x="64" y="90"/>
                  </a:lnTo>
                  <a:lnTo>
                    <a:pt x="66" y="90"/>
                  </a:lnTo>
                  <a:lnTo>
                    <a:pt x="66" y="88"/>
                  </a:lnTo>
                  <a:lnTo>
                    <a:pt x="67" y="88"/>
                  </a:lnTo>
                  <a:lnTo>
                    <a:pt x="69" y="86"/>
                  </a:lnTo>
                  <a:lnTo>
                    <a:pt x="71" y="86"/>
                  </a:lnTo>
                  <a:lnTo>
                    <a:pt x="72" y="86"/>
                  </a:lnTo>
                  <a:lnTo>
                    <a:pt x="72" y="85"/>
                  </a:lnTo>
                  <a:lnTo>
                    <a:pt x="74" y="85"/>
                  </a:lnTo>
                  <a:lnTo>
                    <a:pt x="74" y="85"/>
                  </a:lnTo>
                  <a:lnTo>
                    <a:pt x="76" y="85"/>
                  </a:lnTo>
                  <a:lnTo>
                    <a:pt x="76" y="83"/>
                  </a:lnTo>
                  <a:lnTo>
                    <a:pt x="78" y="83"/>
                  </a:lnTo>
                  <a:lnTo>
                    <a:pt x="78" y="81"/>
                  </a:lnTo>
                  <a:lnTo>
                    <a:pt x="79" y="81"/>
                  </a:lnTo>
                  <a:lnTo>
                    <a:pt x="90" y="81"/>
                  </a:lnTo>
                  <a:lnTo>
                    <a:pt x="95" y="79"/>
                  </a:lnTo>
                  <a:lnTo>
                    <a:pt x="98" y="79"/>
                  </a:lnTo>
                  <a:lnTo>
                    <a:pt x="110" y="79"/>
                  </a:lnTo>
                  <a:lnTo>
                    <a:pt x="112" y="79"/>
                  </a:lnTo>
                  <a:lnTo>
                    <a:pt x="117" y="79"/>
                  </a:lnTo>
                  <a:lnTo>
                    <a:pt x="119" y="79"/>
                  </a:lnTo>
                  <a:lnTo>
                    <a:pt x="121" y="79"/>
                  </a:lnTo>
                  <a:lnTo>
                    <a:pt x="121" y="79"/>
                  </a:lnTo>
                  <a:lnTo>
                    <a:pt x="122" y="79"/>
                  </a:lnTo>
                  <a:lnTo>
                    <a:pt x="129" y="79"/>
                  </a:lnTo>
                  <a:lnTo>
                    <a:pt x="131" y="79"/>
                  </a:lnTo>
                  <a:lnTo>
                    <a:pt x="133" y="79"/>
                  </a:lnTo>
                  <a:lnTo>
                    <a:pt x="134" y="79"/>
                  </a:lnTo>
                  <a:lnTo>
                    <a:pt x="136" y="79"/>
                  </a:lnTo>
                  <a:lnTo>
                    <a:pt x="138" y="79"/>
                  </a:lnTo>
                  <a:lnTo>
                    <a:pt x="140" y="79"/>
                  </a:lnTo>
                  <a:lnTo>
                    <a:pt x="146" y="78"/>
                  </a:lnTo>
                  <a:lnTo>
                    <a:pt x="148" y="78"/>
                  </a:lnTo>
                  <a:lnTo>
                    <a:pt x="150" y="78"/>
                  </a:lnTo>
                  <a:lnTo>
                    <a:pt x="152" y="78"/>
                  </a:lnTo>
                  <a:lnTo>
                    <a:pt x="153" y="78"/>
                  </a:lnTo>
                  <a:lnTo>
                    <a:pt x="155" y="78"/>
                  </a:lnTo>
                  <a:lnTo>
                    <a:pt x="157" y="78"/>
                  </a:lnTo>
                  <a:lnTo>
                    <a:pt x="158" y="78"/>
                  </a:lnTo>
                  <a:lnTo>
                    <a:pt x="160" y="78"/>
                  </a:lnTo>
                  <a:lnTo>
                    <a:pt x="162" y="78"/>
                  </a:lnTo>
                  <a:lnTo>
                    <a:pt x="164" y="78"/>
                  </a:lnTo>
                  <a:lnTo>
                    <a:pt x="165" y="78"/>
                  </a:lnTo>
                  <a:lnTo>
                    <a:pt x="165" y="78"/>
                  </a:lnTo>
                  <a:lnTo>
                    <a:pt x="169" y="78"/>
                  </a:lnTo>
                  <a:lnTo>
                    <a:pt x="172" y="78"/>
                  </a:lnTo>
                  <a:lnTo>
                    <a:pt x="174" y="78"/>
                  </a:lnTo>
                  <a:lnTo>
                    <a:pt x="181" y="78"/>
                  </a:lnTo>
                  <a:lnTo>
                    <a:pt x="183" y="78"/>
                  </a:lnTo>
                  <a:lnTo>
                    <a:pt x="189" y="78"/>
                  </a:lnTo>
                  <a:lnTo>
                    <a:pt x="201" y="78"/>
                  </a:lnTo>
                  <a:lnTo>
                    <a:pt x="203" y="78"/>
                  </a:lnTo>
                  <a:lnTo>
                    <a:pt x="205" y="78"/>
                  </a:lnTo>
                  <a:lnTo>
                    <a:pt x="210" y="78"/>
                  </a:lnTo>
                  <a:lnTo>
                    <a:pt x="214" y="78"/>
                  </a:lnTo>
                  <a:lnTo>
                    <a:pt x="217" y="78"/>
                  </a:lnTo>
                  <a:lnTo>
                    <a:pt x="219" y="78"/>
                  </a:lnTo>
                  <a:lnTo>
                    <a:pt x="224" y="78"/>
                  </a:lnTo>
                  <a:lnTo>
                    <a:pt x="226" y="78"/>
                  </a:lnTo>
                  <a:lnTo>
                    <a:pt x="227" y="78"/>
                  </a:lnTo>
                  <a:lnTo>
                    <a:pt x="232" y="78"/>
                  </a:lnTo>
                  <a:lnTo>
                    <a:pt x="239" y="78"/>
                  </a:lnTo>
                  <a:lnTo>
                    <a:pt x="239" y="76"/>
                  </a:lnTo>
                  <a:lnTo>
                    <a:pt x="239" y="69"/>
                  </a:lnTo>
                  <a:lnTo>
                    <a:pt x="239" y="66"/>
                  </a:lnTo>
                  <a:lnTo>
                    <a:pt x="239" y="62"/>
                  </a:lnTo>
                  <a:lnTo>
                    <a:pt x="239" y="61"/>
                  </a:lnTo>
                  <a:lnTo>
                    <a:pt x="239" y="57"/>
                  </a:lnTo>
                  <a:lnTo>
                    <a:pt x="239" y="55"/>
                  </a:lnTo>
                  <a:lnTo>
                    <a:pt x="239" y="45"/>
                  </a:lnTo>
                  <a:lnTo>
                    <a:pt x="239" y="40"/>
                  </a:lnTo>
                  <a:lnTo>
                    <a:pt x="239" y="36"/>
                  </a:lnTo>
                  <a:lnTo>
                    <a:pt x="239" y="35"/>
                  </a:lnTo>
                  <a:lnTo>
                    <a:pt x="239" y="33"/>
                  </a:lnTo>
                  <a:lnTo>
                    <a:pt x="239" y="23"/>
                  </a:lnTo>
                  <a:lnTo>
                    <a:pt x="239" y="18"/>
                  </a:lnTo>
                  <a:lnTo>
                    <a:pt x="239" y="14"/>
                  </a:lnTo>
                  <a:lnTo>
                    <a:pt x="239" y="9"/>
                  </a:lnTo>
                  <a:lnTo>
                    <a:pt x="239" y="6"/>
                  </a:lnTo>
                  <a:lnTo>
                    <a:pt x="239" y="2"/>
                  </a:lnTo>
                  <a:lnTo>
                    <a:pt x="239"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3" name="Freeform 206"/>
            <p:cNvSpPr>
              <a:spLocks/>
            </p:cNvSpPr>
            <p:nvPr/>
          </p:nvSpPr>
          <p:spPr bwMode="auto">
            <a:xfrm>
              <a:off x="7406571" y="3949494"/>
              <a:ext cx="527050" cy="530225"/>
            </a:xfrm>
            <a:custGeom>
              <a:avLst/>
              <a:gdLst/>
              <a:ahLst/>
              <a:cxnLst>
                <a:cxn ang="0">
                  <a:pos x="155" y="38"/>
                </a:cxn>
                <a:cxn ang="0">
                  <a:pos x="169" y="48"/>
                </a:cxn>
                <a:cxn ang="0">
                  <a:pos x="190" y="63"/>
                </a:cxn>
                <a:cxn ang="0">
                  <a:pos x="186" y="76"/>
                </a:cxn>
                <a:cxn ang="0">
                  <a:pos x="165" y="98"/>
                </a:cxn>
                <a:cxn ang="0">
                  <a:pos x="150" y="113"/>
                </a:cxn>
                <a:cxn ang="0">
                  <a:pos x="133" y="131"/>
                </a:cxn>
                <a:cxn ang="0">
                  <a:pos x="119" y="144"/>
                </a:cxn>
                <a:cxn ang="0">
                  <a:pos x="124" y="160"/>
                </a:cxn>
                <a:cxn ang="0">
                  <a:pos x="148" y="182"/>
                </a:cxn>
                <a:cxn ang="0">
                  <a:pos x="157" y="192"/>
                </a:cxn>
                <a:cxn ang="0">
                  <a:pos x="167" y="199"/>
                </a:cxn>
                <a:cxn ang="0">
                  <a:pos x="195" y="227"/>
                </a:cxn>
                <a:cxn ang="0">
                  <a:pos x="214" y="246"/>
                </a:cxn>
                <a:cxn ang="0">
                  <a:pos x="227" y="258"/>
                </a:cxn>
                <a:cxn ang="0">
                  <a:pos x="253" y="284"/>
                </a:cxn>
                <a:cxn ang="0">
                  <a:pos x="284" y="301"/>
                </a:cxn>
                <a:cxn ang="0">
                  <a:pos x="305" y="282"/>
                </a:cxn>
                <a:cxn ang="0">
                  <a:pos x="329" y="306"/>
                </a:cxn>
                <a:cxn ang="0">
                  <a:pos x="274" y="328"/>
                </a:cxn>
                <a:cxn ang="0">
                  <a:pos x="246" y="328"/>
                </a:cxn>
                <a:cxn ang="0">
                  <a:pos x="224" y="328"/>
                </a:cxn>
                <a:cxn ang="0">
                  <a:pos x="198" y="330"/>
                </a:cxn>
                <a:cxn ang="0">
                  <a:pos x="183" y="330"/>
                </a:cxn>
                <a:cxn ang="0">
                  <a:pos x="159" y="330"/>
                </a:cxn>
                <a:cxn ang="0">
                  <a:pos x="143" y="330"/>
                </a:cxn>
                <a:cxn ang="0">
                  <a:pos x="102" y="332"/>
                </a:cxn>
                <a:cxn ang="0">
                  <a:pos x="74" y="332"/>
                </a:cxn>
                <a:cxn ang="0">
                  <a:pos x="38" y="332"/>
                </a:cxn>
                <a:cxn ang="0">
                  <a:pos x="11" y="334"/>
                </a:cxn>
                <a:cxn ang="0">
                  <a:pos x="2" y="322"/>
                </a:cxn>
                <a:cxn ang="0">
                  <a:pos x="2" y="309"/>
                </a:cxn>
                <a:cxn ang="0">
                  <a:pos x="2" y="272"/>
                </a:cxn>
                <a:cxn ang="0">
                  <a:pos x="2" y="241"/>
                </a:cxn>
                <a:cxn ang="0">
                  <a:pos x="2" y="220"/>
                </a:cxn>
                <a:cxn ang="0">
                  <a:pos x="2" y="196"/>
                </a:cxn>
                <a:cxn ang="0">
                  <a:pos x="2" y="174"/>
                </a:cxn>
                <a:cxn ang="0">
                  <a:pos x="2" y="155"/>
                </a:cxn>
                <a:cxn ang="0">
                  <a:pos x="2" y="127"/>
                </a:cxn>
                <a:cxn ang="0">
                  <a:pos x="2" y="98"/>
                </a:cxn>
                <a:cxn ang="0">
                  <a:pos x="2" y="81"/>
                </a:cxn>
                <a:cxn ang="0">
                  <a:pos x="2" y="60"/>
                </a:cxn>
                <a:cxn ang="0">
                  <a:pos x="0" y="45"/>
                </a:cxn>
                <a:cxn ang="0">
                  <a:pos x="0" y="20"/>
                </a:cxn>
                <a:cxn ang="0">
                  <a:pos x="2" y="0"/>
                </a:cxn>
                <a:cxn ang="0">
                  <a:pos x="11" y="2"/>
                </a:cxn>
                <a:cxn ang="0">
                  <a:pos x="18" y="3"/>
                </a:cxn>
                <a:cxn ang="0">
                  <a:pos x="14" y="14"/>
                </a:cxn>
                <a:cxn ang="0">
                  <a:pos x="12" y="24"/>
                </a:cxn>
                <a:cxn ang="0">
                  <a:pos x="14" y="34"/>
                </a:cxn>
                <a:cxn ang="0">
                  <a:pos x="18" y="45"/>
                </a:cxn>
                <a:cxn ang="0">
                  <a:pos x="11" y="48"/>
                </a:cxn>
                <a:cxn ang="0">
                  <a:pos x="16" y="53"/>
                </a:cxn>
                <a:cxn ang="0">
                  <a:pos x="45" y="53"/>
                </a:cxn>
                <a:cxn ang="0">
                  <a:pos x="78" y="43"/>
                </a:cxn>
                <a:cxn ang="0">
                  <a:pos x="109" y="31"/>
                </a:cxn>
                <a:cxn ang="0">
                  <a:pos x="136" y="22"/>
                </a:cxn>
              </a:cxnLst>
              <a:rect l="0" t="0" r="r" b="b"/>
              <a:pathLst>
                <a:path w="332" h="334">
                  <a:moveTo>
                    <a:pt x="138" y="24"/>
                  </a:moveTo>
                  <a:lnTo>
                    <a:pt x="138" y="26"/>
                  </a:lnTo>
                  <a:lnTo>
                    <a:pt x="143" y="29"/>
                  </a:lnTo>
                  <a:lnTo>
                    <a:pt x="147" y="31"/>
                  </a:lnTo>
                  <a:lnTo>
                    <a:pt x="153" y="36"/>
                  </a:lnTo>
                  <a:lnTo>
                    <a:pt x="153" y="36"/>
                  </a:lnTo>
                  <a:lnTo>
                    <a:pt x="155" y="38"/>
                  </a:lnTo>
                  <a:lnTo>
                    <a:pt x="157" y="39"/>
                  </a:lnTo>
                  <a:lnTo>
                    <a:pt x="160" y="41"/>
                  </a:lnTo>
                  <a:lnTo>
                    <a:pt x="162" y="43"/>
                  </a:lnTo>
                  <a:lnTo>
                    <a:pt x="164" y="45"/>
                  </a:lnTo>
                  <a:lnTo>
                    <a:pt x="165" y="45"/>
                  </a:lnTo>
                  <a:lnTo>
                    <a:pt x="167" y="46"/>
                  </a:lnTo>
                  <a:lnTo>
                    <a:pt x="169" y="48"/>
                  </a:lnTo>
                  <a:lnTo>
                    <a:pt x="176" y="53"/>
                  </a:lnTo>
                  <a:lnTo>
                    <a:pt x="177" y="55"/>
                  </a:lnTo>
                  <a:lnTo>
                    <a:pt x="184" y="60"/>
                  </a:lnTo>
                  <a:lnTo>
                    <a:pt x="184" y="60"/>
                  </a:lnTo>
                  <a:lnTo>
                    <a:pt x="186" y="62"/>
                  </a:lnTo>
                  <a:lnTo>
                    <a:pt x="188" y="63"/>
                  </a:lnTo>
                  <a:lnTo>
                    <a:pt x="190" y="63"/>
                  </a:lnTo>
                  <a:lnTo>
                    <a:pt x="191" y="65"/>
                  </a:lnTo>
                  <a:lnTo>
                    <a:pt x="195" y="69"/>
                  </a:lnTo>
                  <a:lnTo>
                    <a:pt x="191" y="72"/>
                  </a:lnTo>
                  <a:lnTo>
                    <a:pt x="190" y="72"/>
                  </a:lnTo>
                  <a:lnTo>
                    <a:pt x="190" y="74"/>
                  </a:lnTo>
                  <a:lnTo>
                    <a:pt x="188" y="76"/>
                  </a:lnTo>
                  <a:lnTo>
                    <a:pt x="186" y="76"/>
                  </a:lnTo>
                  <a:lnTo>
                    <a:pt x="186" y="76"/>
                  </a:lnTo>
                  <a:lnTo>
                    <a:pt x="184" y="77"/>
                  </a:lnTo>
                  <a:lnTo>
                    <a:pt x="184" y="79"/>
                  </a:lnTo>
                  <a:lnTo>
                    <a:pt x="171" y="91"/>
                  </a:lnTo>
                  <a:lnTo>
                    <a:pt x="169" y="91"/>
                  </a:lnTo>
                  <a:lnTo>
                    <a:pt x="169" y="94"/>
                  </a:lnTo>
                  <a:lnTo>
                    <a:pt x="165" y="98"/>
                  </a:lnTo>
                  <a:lnTo>
                    <a:pt x="164" y="100"/>
                  </a:lnTo>
                  <a:lnTo>
                    <a:pt x="162" y="101"/>
                  </a:lnTo>
                  <a:lnTo>
                    <a:pt x="160" y="103"/>
                  </a:lnTo>
                  <a:lnTo>
                    <a:pt x="159" y="105"/>
                  </a:lnTo>
                  <a:lnTo>
                    <a:pt x="157" y="105"/>
                  </a:lnTo>
                  <a:lnTo>
                    <a:pt x="155" y="106"/>
                  </a:lnTo>
                  <a:lnTo>
                    <a:pt x="150" y="113"/>
                  </a:lnTo>
                  <a:lnTo>
                    <a:pt x="147" y="117"/>
                  </a:lnTo>
                  <a:lnTo>
                    <a:pt x="145" y="119"/>
                  </a:lnTo>
                  <a:lnTo>
                    <a:pt x="143" y="120"/>
                  </a:lnTo>
                  <a:lnTo>
                    <a:pt x="140" y="122"/>
                  </a:lnTo>
                  <a:lnTo>
                    <a:pt x="138" y="125"/>
                  </a:lnTo>
                  <a:lnTo>
                    <a:pt x="134" y="129"/>
                  </a:lnTo>
                  <a:lnTo>
                    <a:pt x="133" y="131"/>
                  </a:lnTo>
                  <a:lnTo>
                    <a:pt x="131" y="132"/>
                  </a:lnTo>
                  <a:lnTo>
                    <a:pt x="129" y="134"/>
                  </a:lnTo>
                  <a:lnTo>
                    <a:pt x="126" y="136"/>
                  </a:lnTo>
                  <a:lnTo>
                    <a:pt x="124" y="139"/>
                  </a:lnTo>
                  <a:lnTo>
                    <a:pt x="122" y="141"/>
                  </a:lnTo>
                  <a:lnTo>
                    <a:pt x="121" y="143"/>
                  </a:lnTo>
                  <a:lnTo>
                    <a:pt x="119" y="144"/>
                  </a:lnTo>
                  <a:lnTo>
                    <a:pt x="116" y="148"/>
                  </a:lnTo>
                  <a:lnTo>
                    <a:pt x="116" y="149"/>
                  </a:lnTo>
                  <a:lnTo>
                    <a:pt x="114" y="149"/>
                  </a:lnTo>
                  <a:lnTo>
                    <a:pt x="116" y="151"/>
                  </a:lnTo>
                  <a:lnTo>
                    <a:pt x="116" y="151"/>
                  </a:lnTo>
                  <a:lnTo>
                    <a:pt x="117" y="151"/>
                  </a:lnTo>
                  <a:lnTo>
                    <a:pt x="124" y="160"/>
                  </a:lnTo>
                  <a:lnTo>
                    <a:pt x="133" y="167"/>
                  </a:lnTo>
                  <a:lnTo>
                    <a:pt x="136" y="168"/>
                  </a:lnTo>
                  <a:lnTo>
                    <a:pt x="138" y="172"/>
                  </a:lnTo>
                  <a:lnTo>
                    <a:pt x="141" y="177"/>
                  </a:lnTo>
                  <a:lnTo>
                    <a:pt x="143" y="179"/>
                  </a:lnTo>
                  <a:lnTo>
                    <a:pt x="145" y="180"/>
                  </a:lnTo>
                  <a:lnTo>
                    <a:pt x="148" y="182"/>
                  </a:lnTo>
                  <a:lnTo>
                    <a:pt x="150" y="184"/>
                  </a:lnTo>
                  <a:lnTo>
                    <a:pt x="153" y="186"/>
                  </a:lnTo>
                  <a:lnTo>
                    <a:pt x="153" y="187"/>
                  </a:lnTo>
                  <a:lnTo>
                    <a:pt x="153" y="187"/>
                  </a:lnTo>
                  <a:lnTo>
                    <a:pt x="155" y="189"/>
                  </a:lnTo>
                  <a:lnTo>
                    <a:pt x="155" y="191"/>
                  </a:lnTo>
                  <a:lnTo>
                    <a:pt x="157" y="192"/>
                  </a:lnTo>
                  <a:lnTo>
                    <a:pt x="157" y="194"/>
                  </a:lnTo>
                  <a:lnTo>
                    <a:pt x="159" y="194"/>
                  </a:lnTo>
                  <a:lnTo>
                    <a:pt x="160" y="196"/>
                  </a:lnTo>
                  <a:lnTo>
                    <a:pt x="162" y="198"/>
                  </a:lnTo>
                  <a:lnTo>
                    <a:pt x="164" y="198"/>
                  </a:lnTo>
                  <a:lnTo>
                    <a:pt x="165" y="199"/>
                  </a:lnTo>
                  <a:lnTo>
                    <a:pt x="167" y="199"/>
                  </a:lnTo>
                  <a:lnTo>
                    <a:pt x="169" y="201"/>
                  </a:lnTo>
                  <a:lnTo>
                    <a:pt x="174" y="208"/>
                  </a:lnTo>
                  <a:lnTo>
                    <a:pt x="176" y="210"/>
                  </a:lnTo>
                  <a:lnTo>
                    <a:pt x="181" y="213"/>
                  </a:lnTo>
                  <a:lnTo>
                    <a:pt x="184" y="218"/>
                  </a:lnTo>
                  <a:lnTo>
                    <a:pt x="190" y="223"/>
                  </a:lnTo>
                  <a:lnTo>
                    <a:pt x="195" y="227"/>
                  </a:lnTo>
                  <a:lnTo>
                    <a:pt x="198" y="232"/>
                  </a:lnTo>
                  <a:lnTo>
                    <a:pt x="202" y="234"/>
                  </a:lnTo>
                  <a:lnTo>
                    <a:pt x="202" y="235"/>
                  </a:lnTo>
                  <a:lnTo>
                    <a:pt x="203" y="235"/>
                  </a:lnTo>
                  <a:lnTo>
                    <a:pt x="205" y="237"/>
                  </a:lnTo>
                  <a:lnTo>
                    <a:pt x="208" y="241"/>
                  </a:lnTo>
                  <a:lnTo>
                    <a:pt x="214" y="246"/>
                  </a:lnTo>
                  <a:lnTo>
                    <a:pt x="215" y="246"/>
                  </a:lnTo>
                  <a:lnTo>
                    <a:pt x="217" y="249"/>
                  </a:lnTo>
                  <a:lnTo>
                    <a:pt x="220" y="251"/>
                  </a:lnTo>
                  <a:lnTo>
                    <a:pt x="220" y="253"/>
                  </a:lnTo>
                  <a:lnTo>
                    <a:pt x="222" y="253"/>
                  </a:lnTo>
                  <a:lnTo>
                    <a:pt x="227" y="256"/>
                  </a:lnTo>
                  <a:lnTo>
                    <a:pt x="227" y="258"/>
                  </a:lnTo>
                  <a:lnTo>
                    <a:pt x="229" y="258"/>
                  </a:lnTo>
                  <a:lnTo>
                    <a:pt x="229" y="261"/>
                  </a:lnTo>
                  <a:lnTo>
                    <a:pt x="233" y="265"/>
                  </a:lnTo>
                  <a:lnTo>
                    <a:pt x="234" y="266"/>
                  </a:lnTo>
                  <a:lnTo>
                    <a:pt x="241" y="272"/>
                  </a:lnTo>
                  <a:lnTo>
                    <a:pt x="245" y="275"/>
                  </a:lnTo>
                  <a:lnTo>
                    <a:pt x="253" y="284"/>
                  </a:lnTo>
                  <a:lnTo>
                    <a:pt x="253" y="285"/>
                  </a:lnTo>
                  <a:lnTo>
                    <a:pt x="267" y="297"/>
                  </a:lnTo>
                  <a:lnTo>
                    <a:pt x="270" y="299"/>
                  </a:lnTo>
                  <a:lnTo>
                    <a:pt x="270" y="301"/>
                  </a:lnTo>
                  <a:lnTo>
                    <a:pt x="276" y="306"/>
                  </a:lnTo>
                  <a:lnTo>
                    <a:pt x="279" y="303"/>
                  </a:lnTo>
                  <a:lnTo>
                    <a:pt x="284" y="301"/>
                  </a:lnTo>
                  <a:lnTo>
                    <a:pt x="286" y="299"/>
                  </a:lnTo>
                  <a:lnTo>
                    <a:pt x="289" y="294"/>
                  </a:lnTo>
                  <a:lnTo>
                    <a:pt x="289" y="294"/>
                  </a:lnTo>
                  <a:lnTo>
                    <a:pt x="293" y="291"/>
                  </a:lnTo>
                  <a:lnTo>
                    <a:pt x="294" y="289"/>
                  </a:lnTo>
                  <a:lnTo>
                    <a:pt x="296" y="289"/>
                  </a:lnTo>
                  <a:lnTo>
                    <a:pt x="305" y="282"/>
                  </a:lnTo>
                  <a:lnTo>
                    <a:pt x="305" y="284"/>
                  </a:lnTo>
                  <a:lnTo>
                    <a:pt x="312" y="287"/>
                  </a:lnTo>
                  <a:lnTo>
                    <a:pt x="315" y="289"/>
                  </a:lnTo>
                  <a:lnTo>
                    <a:pt x="322" y="296"/>
                  </a:lnTo>
                  <a:lnTo>
                    <a:pt x="331" y="301"/>
                  </a:lnTo>
                  <a:lnTo>
                    <a:pt x="332" y="303"/>
                  </a:lnTo>
                  <a:lnTo>
                    <a:pt x="329" y="306"/>
                  </a:lnTo>
                  <a:lnTo>
                    <a:pt x="322" y="313"/>
                  </a:lnTo>
                  <a:lnTo>
                    <a:pt x="315" y="320"/>
                  </a:lnTo>
                  <a:lnTo>
                    <a:pt x="310" y="327"/>
                  </a:lnTo>
                  <a:lnTo>
                    <a:pt x="298" y="327"/>
                  </a:lnTo>
                  <a:lnTo>
                    <a:pt x="281" y="328"/>
                  </a:lnTo>
                  <a:lnTo>
                    <a:pt x="277" y="328"/>
                  </a:lnTo>
                  <a:lnTo>
                    <a:pt x="274" y="328"/>
                  </a:lnTo>
                  <a:lnTo>
                    <a:pt x="272" y="328"/>
                  </a:lnTo>
                  <a:lnTo>
                    <a:pt x="265" y="328"/>
                  </a:lnTo>
                  <a:lnTo>
                    <a:pt x="263" y="328"/>
                  </a:lnTo>
                  <a:lnTo>
                    <a:pt x="258" y="328"/>
                  </a:lnTo>
                  <a:lnTo>
                    <a:pt x="255" y="328"/>
                  </a:lnTo>
                  <a:lnTo>
                    <a:pt x="253" y="328"/>
                  </a:lnTo>
                  <a:lnTo>
                    <a:pt x="246" y="328"/>
                  </a:lnTo>
                  <a:lnTo>
                    <a:pt x="245" y="328"/>
                  </a:lnTo>
                  <a:lnTo>
                    <a:pt x="234" y="328"/>
                  </a:lnTo>
                  <a:lnTo>
                    <a:pt x="231" y="328"/>
                  </a:lnTo>
                  <a:lnTo>
                    <a:pt x="229" y="328"/>
                  </a:lnTo>
                  <a:lnTo>
                    <a:pt x="227" y="328"/>
                  </a:lnTo>
                  <a:lnTo>
                    <a:pt x="226" y="328"/>
                  </a:lnTo>
                  <a:lnTo>
                    <a:pt x="224" y="328"/>
                  </a:lnTo>
                  <a:lnTo>
                    <a:pt x="217" y="330"/>
                  </a:lnTo>
                  <a:lnTo>
                    <a:pt x="215" y="330"/>
                  </a:lnTo>
                  <a:lnTo>
                    <a:pt x="212" y="330"/>
                  </a:lnTo>
                  <a:lnTo>
                    <a:pt x="210" y="330"/>
                  </a:lnTo>
                  <a:lnTo>
                    <a:pt x="203" y="330"/>
                  </a:lnTo>
                  <a:lnTo>
                    <a:pt x="202" y="330"/>
                  </a:lnTo>
                  <a:lnTo>
                    <a:pt x="198" y="330"/>
                  </a:lnTo>
                  <a:lnTo>
                    <a:pt x="196" y="330"/>
                  </a:lnTo>
                  <a:lnTo>
                    <a:pt x="195" y="330"/>
                  </a:lnTo>
                  <a:lnTo>
                    <a:pt x="191" y="330"/>
                  </a:lnTo>
                  <a:lnTo>
                    <a:pt x="186" y="330"/>
                  </a:lnTo>
                  <a:lnTo>
                    <a:pt x="184" y="330"/>
                  </a:lnTo>
                  <a:lnTo>
                    <a:pt x="184" y="330"/>
                  </a:lnTo>
                  <a:lnTo>
                    <a:pt x="183" y="330"/>
                  </a:lnTo>
                  <a:lnTo>
                    <a:pt x="179" y="330"/>
                  </a:lnTo>
                  <a:lnTo>
                    <a:pt x="169" y="330"/>
                  </a:lnTo>
                  <a:lnTo>
                    <a:pt x="169" y="330"/>
                  </a:lnTo>
                  <a:lnTo>
                    <a:pt x="165" y="330"/>
                  </a:lnTo>
                  <a:lnTo>
                    <a:pt x="164" y="330"/>
                  </a:lnTo>
                  <a:lnTo>
                    <a:pt x="160" y="330"/>
                  </a:lnTo>
                  <a:lnTo>
                    <a:pt x="159" y="330"/>
                  </a:lnTo>
                  <a:lnTo>
                    <a:pt x="157" y="330"/>
                  </a:lnTo>
                  <a:lnTo>
                    <a:pt x="155" y="330"/>
                  </a:lnTo>
                  <a:lnTo>
                    <a:pt x="153" y="330"/>
                  </a:lnTo>
                  <a:lnTo>
                    <a:pt x="150" y="330"/>
                  </a:lnTo>
                  <a:lnTo>
                    <a:pt x="148" y="330"/>
                  </a:lnTo>
                  <a:lnTo>
                    <a:pt x="147" y="330"/>
                  </a:lnTo>
                  <a:lnTo>
                    <a:pt x="143" y="330"/>
                  </a:lnTo>
                  <a:lnTo>
                    <a:pt x="141" y="330"/>
                  </a:lnTo>
                  <a:lnTo>
                    <a:pt x="133" y="332"/>
                  </a:lnTo>
                  <a:lnTo>
                    <a:pt x="131" y="332"/>
                  </a:lnTo>
                  <a:lnTo>
                    <a:pt x="129" y="332"/>
                  </a:lnTo>
                  <a:lnTo>
                    <a:pt x="122" y="332"/>
                  </a:lnTo>
                  <a:lnTo>
                    <a:pt x="116" y="332"/>
                  </a:lnTo>
                  <a:lnTo>
                    <a:pt x="102" y="332"/>
                  </a:lnTo>
                  <a:lnTo>
                    <a:pt x="100" y="332"/>
                  </a:lnTo>
                  <a:lnTo>
                    <a:pt x="93" y="332"/>
                  </a:lnTo>
                  <a:lnTo>
                    <a:pt x="93" y="332"/>
                  </a:lnTo>
                  <a:lnTo>
                    <a:pt x="85" y="332"/>
                  </a:lnTo>
                  <a:lnTo>
                    <a:pt x="83" y="332"/>
                  </a:lnTo>
                  <a:lnTo>
                    <a:pt x="76" y="332"/>
                  </a:lnTo>
                  <a:lnTo>
                    <a:pt x="74" y="332"/>
                  </a:lnTo>
                  <a:lnTo>
                    <a:pt x="73" y="332"/>
                  </a:lnTo>
                  <a:lnTo>
                    <a:pt x="66" y="332"/>
                  </a:lnTo>
                  <a:lnTo>
                    <a:pt x="64" y="332"/>
                  </a:lnTo>
                  <a:lnTo>
                    <a:pt x="62" y="332"/>
                  </a:lnTo>
                  <a:lnTo>
                    <a:pt x="55" y="332"/>
                  </a:lnTo>
                  <a:lnTo>
                    <a:pt x="45" y="332"/>
                  </a:lnTo>
                  <a:lnTo>
                    <a:pt x="38" y="332"/>
                  </a:lnTo>
                  <a:lnTo>
                    <a:pt x="35" y="332"/>
                  </a:lnTo>
                  <a:lnTo>
                    <a:pt x="33" y="332"/>
                  </a:lnTo>
                  <a:lnTo>
                    <a:pt x="30" y="332"/>
                  </a:lnTo>
                  <a:lnTo>
                    <a:pt x="28" y="332"/>
                  </a:lnTo>
                  <a:lnTo>
                    <a:pt x="23" y="334"/>
                  </a:lnTo>
                  <a:lnTo>
                    <a:pt x="18" y="334"/>
                  </a:lnTo>
                  <a:lnTo>
                    <a:pt x="11" y="334"/>
                  </a:lnTo>
                  <a:lnTo>
                    <a:pt x="5" y="334"/>
                  </a:lnTo>
                  <a:lnTo>
                    <a:pt x="4" y="334"/>
                  </a:lnTo>
                  <a:lnTo>
                    <a:pt x="2" y="334"/>
                  </a:lnTo>
                  <a:lnTo>
                    <a:pt x="2" y="332"/>
                  </a:lnTo>
                  <a:lnTo>
                    <a:pt x="2" y="330"/>
                  </a:lnTo>
                  <a:lnTo>
                    <a:pt x="2" y="327"/>
                  </a:lnTo>
                  <a:lnTo>
                    <a:pt x="2" y="322"/>
                  </a:lnTo>
                  <a:lnTo>
                    <a:pt x="2" y="320"/>
                  </a:lnTo>
                  <a:lnTo>
                    <a:pt x="2" y="318"/>
                  </a:lnTo>
                  <a:lnTo>
                    <a:pt x="2" y="316"/>
                  </a:lnTo>
                  <a:lnTo>
                    <a:pt x="2" y="316"/>
                  </a:lnTo>
                  <a:lnTo>
                    <a:pt x="2" y="315"/>
                  </a:lnTo>
                  <a:lnTo>
                    <a:pt x="2" y="313"/>
                  </a:lnTo>
                  <a:lnTo>
                    <a:pt x="2" y="309"/>
                  </a:lnTo>
                  <a:lnTo>
                    <a:pt x="2" y="308"/>
                  </a:lnTo>
                  <a:lnTo>
                    <a:pt x="2" y="297"/>
                  </a:lnTo>
                  <a:lnTo>
                    <a:pt x="2" y="294"/>
                  </a:lnTo>
                  <a:lnTo>
                    <a:pt x="2" y="287"/>
                  </a:lnTo>
                  <a:lnTo>
                    <a:pt x="2" y="285"/>
                  </a:lnTo>
                  <a:lnTo>
                    <a:pt x="2" y="284"/>
                  </a:lnTo>
                  <a:lnTo>
                    <a:pt x="2" y="272"/>
                  </a:lnTo>
                  <a:lnTo>
                    <a:pt x="2" y="268"/>
                  </a:lnTo>
                  <a:lnTo>
                    <a:pt x="2" y="266"/>
                  </a:lnTo>
                  <a:lnTo>
                    <a:pt x="2" y="263"/>
                  </a:lnTo>
                  <a:lnTo>
                    <a:pt x="2" y="254"/>
                  </a:lnTo>
                  <a:lnTo>
                    <a:pt x="2" y="251"/>
                  </a:lnTo>
                  <a:lnTo>
                    <a:pt x="2" y="244"/>
                  </a:lnTo>
                  <a:lnTo>
                    <a:pt x="2" y="241"/>
                  </a:lnTo>
                  <a:lnTo>
                    <a:pt x="2" y="241"/>
                  </a:lnTo>
                  <a:lnTo>
                    <a:pt x="2" y="237"/>
                  </a:lnTo>
                  <a:lnTo>
                    <a:pt x="2" y="234"/>
                  </a:lnTo>
                  <a:lnTo>
                    <a:pt x="2" y="230"/>
                  </a:lnTo>
                  <a:lnTo>
                    <a:pt x="2" y="225"/>
                  </a:lnTo>
                  <a:lnTo>
                    <a:pt x="2" y="223"/>
                  </a:lnTo>
                  <a:lnTo>
                    <a:pt x="2" y="220"/>
                  </a:lnTo>
                  <a:lnTo>
                    <a:pt x="2" y="218"/>
                  </a:lnTo>
                  <a:lnTo>
                    <a:pt x="2" y="217"/>
                  </a:lnTo>
                  <a:lnTo>
                    <a:pt x="2" y="211"/>
                  </a:lnTo>
                  <a:lnTo>
                    <a:pt x="2" y="208"/>
                  </a:lnTo>
                  <a:lnTo>
                    <a:pt x="2" y="206"/>
                  </a:lnTo>
                  <a:lnTo>
                    <a:pt x="2" y="198"/>
                  </a:lnTo>
                  <a:lnTo>
                    <a:pt x="2" y="196"/>
                  </a:lnTo>
                  <a:lnTo>
                    <a:pt x="2" y="194"/>
                  </a:lnTo>
                  <a:lnTo>
                    <a:pt x="2" y="192"/>
                  </a:lnTo>
                  <a:lnTo>
                    <a:pt x="2" y="180"/>
                  </a:lnTo>
                  <a:lnTo>
                    <a:pt x="2" y="179"/>
                  </a:lnTo>
                  <a:lnTo>
                    <a:pt x="2" y="177"/>
                  </a:lnTo>
                  <a:lnTo>
                    <a:pt x="2" y="175"/>
                  </a:lnTo>
                  <a:lnTo>
                    <a:pt x="2" y="174"/>
                  </a:lnTo>
                  <a:lnTo>
                    <a:pt x="2" y="172"/>
                  </a:lnTo>
                  <a:lnTo>
                    <a:pt x="2" y="167"/>
                  </a:lnTo>
                  <a:lnTo>
                    <a:pt x="2" y="163"/>
                  </a:lnTo>
                  <a:lnTo>
                    <a:pt x="2" y="160"/>
                  </a:lnTo>
                  <a:lnTo>
                    <a:pt x="2" y="158"/>
                  </a:lnTo>
                  <a:lnTo>
                    <a:pt x="2" y="156"/>
                  </a:lnTo>
                  <a:lnTo>
                    <a:pt x="2" y="155"/>
                  </a:lnTo>
                  <a:lnTo>
                    <a:pt x="2" y="148"/>
                  </a:lnTo>
                  <a:lnTo>
                    <a:pt x="2" y="146"/>
                  </a:lnTo>
                  <a:lnTo>
                    <a:pt x="2" y="137"/>
                  </a:lnTo>
                  <a:lnTo>
                    <a:pt x="2" y="136"/>
                  </a:lnTo>
                  <a:lnTo>
                    <a:pt x="2" y="134"/>
                  </a:lnTo>
                  <a:lnTo>
                    <a:pt x="2" y="132"/>
                  </a:lnTo>
                  <a:lnTo>
                    <a:pt x="2" y="127"/>
                  </a:lnTo>
                  <a:lnTo>
                    <a:pt x="2" y="122"/>
                  </a:lnTo>
                  <a:lnTo>
                    <a:pt x="2" y="108"/>
                  </a:lnTo>
                  <a:lnTo>
                    <a:pt x="2" y="105"/>
                  </a:lnTo>
                  <a:lnTo>
                    <a:pt x="2" y="103"/>
                  </a:lnTo>
                  <a:lnTo>
                    <a:pt x="2" y="101"/>
                  </a:lnTo>
                  <a:lnTo>
                    <a:pt x="2" y="100"/>
                  </a:lnTo>
                  <a:lnTo>
                    <a:pt x="2" y="98"/>
                  </a:lnTo>
                  <a:lnTo>
                    <a:pt x="2" y="96"/>
                  </a:lnTo>
                  <a:lnTo>
                    <a:pt x="2" y="93"/>
                  </a:lnTo>
                  <a:lnTo>
                    <a:pt x="2" y="89"/>
                  </a:lnTo>
                  <a:lnTo>
                    <a:pt x="2" y="88"/>
                  </a:lnTo>
                  <a:lnTo>
                    <a:pt x="2" y="86"/>
                  </a:lnTo>
                  <a:lnTo>
                    <a:pt x="2" y="82"/>
                  </a:lnTo>
                  <a:lnTo>
                    <a:pt x="2" y="81"/>
                  </a:lnTo>
                  <a:lnTo>
                    <a:pt x="2" y="79"/>
                  </a:lnTo>
                  <a:lnTo>
                    <a:pt x="2" y="76"/>
                  </a:lnTo>
                  <a:lnTo>
                    <a:pt x="2" y="74"/>
                  </a:lnTo>
                  <a:lnTo>
                    <a:pt x="2" y="70"/>
                  </a:lnTo>
                  <a:lnTo>
                    <a:pt x="2" y="67"/>
                  </a:lnTo>
                  <a:lnTo>
                    <a:pt x="2" y="65"/>
                  </a:lnTo>
                  <a:lnTo>
                    <a:pt x="2" y="60"/>
                  </a:lnTo>
                  <a:lnTo>
                    <a:pt x="2" y="60"/>
                  </a:lnTo>
                  <a:lnTo>
                    <a:pt x="2" y="55"/>
                  </a:lnTo>
                  <a:lnTo>
                    <a:pt x="2" y="53"/>
                  </a:lnTo>
                  <a:lnTo>
                    <a:pt x="0" y="50"/>
                  </a:lnTo>
                  <a:lnTo>
                    <a:pt x="0" y="48"/>
                  </a:lnTo>
                  <a:lnTo>
                    <a:pt x="0" y="45"/>
                  </a:lnTo>
                  <a:lnTo>
                    <a:pt x="0" y="45"/>
                  </a:lnTo>
                  <a:lnTo>
                    <a:pt x="0" y="43"/>
                  </a:lnTo>
                  <a:lnTo>
                    <a:pt x="0" y="38"/>
                  </a:lnTo>
                  <a:lnTo>
                    <a:pt x="0" y="36"/>
                  </a:lnTo>
                  <a:lnTo>
                    <a:pt x="0" y="34"/>
                  </a:lnTo>
                  <a:lnTo>
                    <a:pt x="0" y="32"/>
                  </a:lnTo>
                  <a:lnTo>
                    <a:pt x="0" y="31"/>
                  </a:lnTo>
                  <a:lnTo>
                    <a:pt x="0" y="20"/>
                  </a:lnTo>
                  <a:lnTo>
                    <a:pt x="0" y="19"/>
                  </a:lnTo>
                  <a:lnTo>
                    <a:pt x="0" y="15"/>
                  </a:lnTo>
                  <a:lnTo>
                    <a:pt x="0" y="12"/>
                  </a:lnTo>
                  <a:lnTo>
                    <a:pt x="0" y="10"/>
                  </a:lnTo>
                  <a:lnTo>
                    <a:pt x="0" y="8"/>
                  </a:lnTo>
                  <a:lnTo>
                    <a:pt x="0" y="0"/>
                  </a:lnTo>
                  <a:lnTo>
                    <a:pt x="2" y="0"/>
                  </a:lnTo>
                  <a:lnTo>
                    <a:pt x="2" y="2"/>
                  </a:lnTo>
                  <a:lnTo>
                    <a:pt x="4" y="2"/>
                  </a:lnTo>
                  <a:lnTo>
                    <a:pt x="5" y="2"/>
                  </a:lnTo>
                  <a:lnTo>
                    <a:pt x="7" y="0"/>
                  </a:lnTo>
                  <a:lnTo>
                    <a:pt x="9" y="0"/>
                  </a:lnTo>
                  <a:lnTo>
                    <a:pt x="11" y="0"/>
                  </a:lnTo>
                  <a:lnTo>
                    <a:pt x="11" y="2"/>
                  </a:lnTo>
                  <a:lnTo>
                    <a:pt x="12" y="2"/>
                  </a:lnTo>
                  <a:lnTo>
                    <a:pt x="12" y="3"/>
                  </a:lnTo>
                  <a:lnTo>
                    <a:pt x="12" y="2"/>
                  </a:lnTo>
                  <a:lnTo>
                    <a:pt x="14" y="2"/>
                  </a:lnTo>
                  <a:lnTo>
                    <a:pt x="16" y="2"/>
                  </a:lnTo>
                  <a:lnTo>
                    <a:pt x="16" y="3"/>
                  </a:lnTo>
                  <a:lnTo>
                    <a:pt x="18" y="3"/>
                  </a:lnTo>
                  <a:lnTo>
                    <a:pt x="18" y="5"/>
                  </a:lnTo>
                  <a:lnTo>
                    <a:pt x="18" y="8"/>
                  </a:lnTo>
                  <a:lnTo>
                    <a:pt x="18" y="10"/>
                  </a:lnTo>
                  <a:lnTo>
                    <a:pt x="18" y="12"/>
                  </a:lnTo>
                  <a:lnTo>
                    <a:pt x="16" y="12"/>
                  </a:lnTo>
                  <a:lnTo>
                    <a:pt x="16" y="14"/>
                  </a:lnTo>
                  <a:lnTo>
                    <a:pt x="14" y="14"/>
                  </a:lnTo>
                  <a:lnTo>
                    <a:pt x="14" y="15"/>
                  </a:lnTo>
                  <a:lnTo>
                    <a:pt x="12" y="15"/>
                  </a:lnTo>
                  <a:lnTo>
                    <a:pt x="12" y="17"/>
                  </a:lnTo>
                  <a:lnTo>
                    <a:pt x="12" y="19"/>
                  </a:lnTo>
                  <a:lnTo>
                    <a:pt x="12" y="20"/>
                  </a:lnTo>
                  <a:lnTo>
                    <a:pt x="12" y="22"/>
                  </a:lnTo>
                  <a:lnTo>
                    <a:pt x="12" y="24"/>
                  </a:lnTo>
                  <a:lnTo>
                    <a:pt x="12" y="26"/>
                  </a:lnTo>
                  <a:lnTo>
                    <a:pt x="12" y="27"/>
                  </a:lnTo>
                  <a:lnTo>
                    <a:pt x="12" y="29"/>
                  </a:lnTo>
                  <a:lnTo>
                    <a:pt x="12" y="31"/>
                  </a:lnTo>
                  <a:lnTo>
                    <a:pt x="14" y="31"/>
                  </a:lnTo>
                  <a:lnTo>
                    <a:pt x="14" y="32"/>
                  </a:lnTo>
                  <a:lnTo>
                    <a:pt x="14" y="34"/>
                  </a:lnTo>
                  <a:lnTo>
                    <a:pt x="16" y="36"/>
                  </a:lnTo>
                  <a:lnTo>
                    <a:pt x="16" y="38"/>
                  </a:lnTo>
                  <a:lnTo>
                    <a:pt x="16" y="39"/>
                  </a:lnTo>
                  <a:lnTo>
                    <a:pt x="16" y="41"/>
                  </a:lnTo>
                  <a:lnTo>
                    <a:pt x="16" y="43"/>
                  </a:lnTo>
                  <a:lnTo>
                    <a:pt x="16" y="45"/>
                  </a:lnTo>
                  <a:lnTo>
                    <a:pt x="18" y="45"/>
                  </a:lnTo>
                  <a:lnTo>
                    <a:pt x="18" y="45"/>
                  </a:lnTo>
                  <a:lnTo>
                    <a:pt x="18" y="46"/>
                  </a:lnTo>
                  <a:lnTo>
                    <a:pt x="18" y="46"/>
                  </a:lnTo>
                  <a:lnTo>
                    <a:pt x="18" y="48"/>
                  </a:lnTo>
                  <a:lnTo>
                    <a:pt x="16" y="48"/>
                  </a:lnTo>
                  <a:lnTo>
                    <a:pt x="12" y="48"/>
                  </a:lnTo>
                  <a:lnTo>
                    <a:pt x="11" y="48"/>
                  </a:lnTo>
                  <a:lnTo>
                    <a:pt x="11" y="50"/>
                  </a:lnTo>
                  <a:lnTo>
                    <a:pt x="9" y="50"/>
                  </a:lnTo>
                  <a:lnTo>
                    <a:pt x="7" y="51"/>
                  </a:lnTo>
                  <a:lnTo>
                    <a:pt x="9" y="53"/>
                  </a:lnTo>
                  <a:lnTo>
                    <a:pt x="11" y="53"/>
                  </a:lnTo>
                  <a:lnTo>
                    <a:pt x="12" y="53"/>
                  </a:lnTo>
                  <a:lnTo>
                    <a:pt x="16" y="53"/>
                  </a:lnTo>
                  <a:lnTo>
                    <a:pt x="24" y="55"/>
                  </a:lnTo>
                  <a:lnTo>
                    <a:pt x="31" y="55"/>
                  </a:lnTo>
                  <a:lnTo>
                    <a:pt x="33" y="55"/>
                  </a:lnTo>
                  <a:lnTo>
                    <a:pt x="35" y="57"/>
                  </a:lnTo>
                  <a:lnTo>
                    <a:pt x="36" y="55"/>
                  </a:lnTo>
                  <a:lnTo>
                    <a:pt x="42" y="53"/>
                  </a:lnTo>
                  <a:lnTo>
                    <a:pt x="45" y="53"/>
                  </a:lnTo>
                  <a:lnTo>
                    <a:pt x="48" y="51"/>
                  </a:lnTo>
                  <a:lnTo>
                    <a:pt x="62" y="46"/>
                  </a:lnTo>
                  <a:lnTo>
                    <a:pt x="62" y="46"/>
                  </a:lnTo>
                  <a:lnTo>
                    <a:pt x="69" y="45"/>
                  </a:lnTo>
                  <a:lnTo>
                    <a:pt x="74" y="45"/>
                  </a:lnTo>
                  <a:lnTo>
                    <a:pt x="76" y="43"/>
                  </a:lnTo>
                  <a:lnTo>
                    <a:pt x="78" y="43"/>
                  </a:lnTo>
                  <a:lnTo>
                    <a:pt x="85" y="39"/>
                  </a:lnTo>
                  <a:lnTo>
                    <a:pt x="86" y="39"/>
                  </a:lnTo>
                  <a:lnTo>
                    <a:pt x="91" y="38"/>
                  </a:lnTo>
                  <a:lnTo>
                    <a:pt x="93" y="36"/>
                  </a:lnTo>
                  <a:lnTo>
                    <a:pt x="98" y="34"/>
                  </a:lnTo>
                  <a:lnTo>
                    <a:pt x="104" y="32"/>
                  </a:lnTo>
                  <a:lnTo>
                    <a:pt x="109" y="31"/>
                  </a:lnTo>
                  <a:lnTo>
                    <a:pt x="114" y="31"/>
                  </a:lnTo>
                  <a:lnTo>
                    <a:pt x="116" y="31"/>
                  </a:lnTo>
                  <a:lnTo>
                    <a:pt x="126" y="26"/>
                  </a:lnTo>
                  <a:lnTo>
                    <a:pt x="131" y="24"/>
                  </a:lnTo>
                  <a:lnTo>
                    <a:pt x="133" y="24"/>
                  </a:lnTo>
                  <a:lnTo>
                    <a:pt x="134" y="24"/>
                  </a:lnTo>
                  <a:lnTo>
                    <a:pt x="136" y="22"/>
                  </a:lnTo>
                  <a:lnTo>
                    <a:pt x="138" y="24"/>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4" name="Freeform 216"/>
            <p:cNvSpPr>
              <a:spLocks/>
            </p:cNvSpPr>
            <p:nvPr/>
          </p:nvSpPr>
          <p:spPr bwMode="auto">
            <a:xfrm>
              <a:off x="6920796" y="4363831"/>
              <a:ext cx="603250" cy="571500"/>
            </a:xfrm>
            <a:custGeom>
              <a:avLst/>
              <a:gdLst/>
              <a:ahLst/>
              <a:cxnLst>
                <a:cxn ang="0">
                  <a:pos x="40" y="5"/>
                </a:cxn>
                <a:cxn ang="0">
                  <a:pos x="57" y="4"/>
                </a:cxn>
                <a:cxn ang="0">
                  <a:pos x="79" y="4"/>
                </a:cxn>
                <a:cxn ang="0">
                  <a:pos x="103" y="2"/>
                </a:cxn>
                <a:cxn ang="0">
                  <a:pos x="126" y="4"/>
                </a:cxn>
                <a:cxn ang="0">
                  <a:pos x="153" y="5"/>
                </a:cxn>
                <a:cxn ang="0">
                  <a:pos x="170" y="5"/>
                </a:cxn>
                <a:cxn ang="0">
                  <a:pos x="203" y="4"/>
                </a:cxn>
                <a:cxn ang="0">
                  <a:pos x="219" y="4"/>
                </a:cxn>
                <a:cxn ang="0">
                  <a:pos x="238" y="0"/>
                </a:cxn>
                <a:cxn ang="0">
                  <a:pos x="250" y="2"/>
                </a:cxn>
                <a:cxn ang="0">
                  <a:pos x="289" y="2"/>
                </a:cxn>
                <a:cxn ang="0">
                  <a:pos x="308" y="11"/>
                </a:cxn>
                <a:cxn ang="0">
                  <a:pos x="308" y="47"/>
                </a:cxn>
                <a:cxn ang="0">
                  <a:pos x="308" y="57"/>
                </a:cxn>
                <a:cxn ang="0">
                  <a:pos x="308" y="73"/>
                </a:cxn>
                <a:cxn ang="0">
                  <a:pos x="334" y="71"/>
                </a:cxn>
                <a:cxn ang="0">
                  <a:pos x="361" y="71"/>
                </a:cxn>
                <a:cxn ang="0">
                  <a:pos x="379" y="81"/>
                </a:cxn>
                <a:cxn ang="0">
                  <a:pos x="379" y="102"/>
                </a:cxn>
                <a:cxn ang="0">
                  <a:pos x="372" y="128"/>
                </a:cxn>
                <a:cxn ang="0">
                  <a:pos x="373" y="145"/>
                </a:cxn>
                <a:cxn ang="0">
                  <a:pos x="373" y="172"/>
                </a:cxn>
                <a:cxn ang="0">
                  <a:pos x="375" y="248"/>
                </a:cxn>
                <a:cxn ang="0">
                  <a:pos x="375" y="276"/>
                </a:cxn>
                <a:cxn ang="0">
                  <a:pos x="375" y="298"/>
                </a:cxn>
                <a:cxn ang="0">
                  <a:pos x="375" y="327"/>
                </a:cxn>
                <a:cxn ang="0">
                  <a:pos x="370" y="356"/>
                </a:cxn>
                <a:cxn ang="0">
                  <a:pos x="330" y="356"/>
                </a:cxn>
                <a:cxn ang="0">
                  <a:pos x="310" y="356"/>
                </a:cxn>
                <a:cxn ang="0">
                  <a:pos x="284" y="358"/>
                </a:cxn>
                <a:cxn ang="0">
                  <a:pos x="251" y="360"/>
                </a:cxn>
                <a:cxn ang="0">
                  <a:pos x="251" y="327"/>
                </a:cxn>
                <a:cxn ang="0">
                  <a:pos x="251" y="294"/>
                </a:cxn>
                <a:cxn ang="0">
                  <a:pos x="238" y="281"/>
                </a:cxn>
                <a:cxn ang="0">
                  <a:pos x="238" y="250"/>
                </a:cxn>
                <a:cxn ang="0">
                  <a:pos x="238" y="212"/>
                </a:cxn>
                <a:cxn ang="0">
                  <a:pos x="236" y="179"/>
                </a:cxn>
                <a:cxn ang="0">
                  <a:pos x="236" y="121"/>
                </a:cxn>
                <a:cxn ang="0">
                  <a:pos x="222" y="105"/>
                </a:cxn>
                <a:cxn ang="0">
                  <a:pos x="174" y="107"/>
                </a:cxn>
                <a:cxn ang="0">
                  <a:pos x="141" y="107"/>
                </a:cxn>
                <a:cxn ang="0">
                  <a:pos x="115" y="107"/>
                </a:cxn>
                <a:cxn ang="0">
                  <a:pos x="98" y="109"/>
                </a:cxn>
                <a:cxn ang="0">
                  <a:pos x="67" y="116"/>
                </a:cxn>
                <a:cxn ang="0">
                  <a:pos x="36" y="121"/>
                </a:cxn>
                <a:cxn ang="0">
                  <a:pos x="19" y="121"/>
                </a:cxn>
                <a:cxn ang="0">
                  <a:pos x="2" y="121"/>
                </a:cxn>
                <a:cxn ang="0">
                  <a:pos x="0" y="107"/>
                </a:cxn>
                <a:cxn ang="0">
                  <a:pos x="0" y="86"/>
                </a:cxn>
                <a:cxn ang="0">
                  <a:pos x="0" y="69"/>
                </a:cxn>
                <a:cxn ang="0">
                  <a:pos x="0" y="40"/>
                </a:cxn>
                <a:cxn ang="0">
                  <a:pos x="4" y="28"/>
                </a:cxn>
                <a:cxn ang="0">
                  <a:pos x="5" y="4"/>
                </a:cxn>
                <a:cxn ang="0">
                  <a:pos x="28" y="4"/>
                </a:cxn>
              </a:cxnLst>
              <a:rect l="0" t="0" r="r" b="b"/>
              <a:pathLst>
                <a:path w="380" h="360">
                  <a:moveTo>
                    <a:pt x="31" y="4"/>
                  </a:moveTo>
                  <a:lnTo>
                    <a:pt x="33" y="4"/>
                  </a:lnTo>
                  <a:lnTo>
                    <a:pt x="35" y="4"/>
                  </a:lnTo>
                  <a:lnTo>
                    <a:pt x="38" y="5"/>
                  </a:lnTo>
                  <a:lnTo>
                    <a:pt x="40" y="4"/>
                  </a:lnTo>
                  <a:lnTo>
                    <a:pt x="40" y="5"/>
                  </a:lnTo>
                  <a:lnTo>
                    <a:pt x="41" y="4"/>
                  </a:lnTo>
                  <a:lnTo>
                    <a:pt x="47" y="4"/>
                  </a:lnTo>
                  <a:lnTo>
                    <a:pt x="50" y="4"/>
                  </a:lnTo>
                  <a:lnTo>
                    <a:pt x="52" y="4"/>
                  </a:lnTo>
                  <a:lnTo>
                    <a:pt x="55" y="4"/>
                  </a:lnTo>
                  <a:lnTo>
                    <a:pt x="57" y="4"/>
                  </a:lnTo>
                  <a:lnTo>
                    <a:pt x="59" y="4"/>
                  </a:lnTo>
                  <a:lnTo>
                    <a:pt x="67" y="4"/>
                  </a:lnTo>
                  <a:lnTo>
                    <a:pt x="71" y="4"/>
                  </a:lnTo>
                  <a:lnTo>
                    <a:pt x="74" y="4"/>
                  </a:lnTo>
                  <a:lnTo>
                    <a:pt x="78" y="4"/>
                  </a:lnTo>
                  <a:lnTo>
                    <a:pt x="79" y="4"/>
                  </a:lnTo>
                  <a:lnTo>
                    <a:pt x="83" y="4"/>
                  </a:lnTo>
                  <a:lnTo>
                    <a:pt x="83" y="4"/>
                  </a:lnTo>
                  <a:lnTo>
                    <a:pt x="84" y="4"/>
                  </a:lnTo>
                  <a:lnTo>
                    <a:pt x="93" y="4"/>
                  </a:lnTo>
                  <a:lnTo>
                    <a:pt x="95" y="4"/>
                  </a:lnTo>
                  <a:lnTo>
                    <a:pt x="103" y="2"/>
                  </a:lnTo>
                  <a:lnTo>
                    <a:pt x="103" y="4"/>
                  </a:lnTo>
                  <a:lnTo>
                    <a:pt x="109" y="4"/>
                  </a:lnTo>
                  <a:lnTo>
                    <a:pt x="114" y="4"/>
                  </a:lnTo>
                  <a:lnTo>
                    <a:pt x="115" y="4"/>
                  </a:lnTo>
                  <a:lnTo>
                    <a:pt x="121" y="4"/>
                  </a:lnTo>
                  <a:lnTo>
                    <a:pt x="126" y="4"/>
                  </a:lnTo>
                  <a:lnTo>
                    <a:pt x="127" y="4"/>
                  </a:lnTo>
                  <a:lnTo>
                    <a:pt x="133" y="4"/>
                  </a:lnTo>
                  <a:lnTo>
                    <a:pt x="146" y="5"/>
                  </a:lnTo>
                  <a:lnTo>
                    <a:pt x="148" y="5"/>
                  </a:lnTo>
                  <a:lnTo>
                    <a:pt x="150" y="5"/>
                  </a:lnTo>
                  <a:lnTo>
                    <a:pt x="153" y="5"/>
                  </a:lnTo>
                  <a:lnTo>
                    <a:pt x="158" y="5"/>
                  </a:lnTo>
                  <a:lnTo>
                    <a:pt x="160" y="5"/>
                  </a:lnTo>
                  <a:lnTo>
                    <a:pt x="167" y="5"/>
                  </a:lnTo>
                  <a:lnTo>
                    <a:pt x="169" y="4"/>
                  </a:lnTo>
                  <a:lnTo>
                    <a:pt x="170" y="4"/>
                  </a:lnTo>
                  <a:lnTo>
                    <a:pt x="170" y="5"/>
                  </a:lnTo>
                  <a:lnTo>
                    <a:pt x="182" y="5"/>
                  </a:lnTo>
                  <a:lnTo>
                    <a:pt x="184" y="5"/>
                  </a:lnTo>
                  <a:lnTo>
                    <a:pt x="189" y="5"/>
                  </a:lnTo>
                  <a:lnTo>
                    <a:pt x="191" y="5"/>
                  </a:lnTo>
                  <a:lnTo>
                    <a:pt x="200" y="4"/>
                  </a:lnTo>
                  <a:lnTo>
                    <a:pt x="203" y="4"/>
                  </a:lnTo>
                  <a:lnTo>
                    <a:pt x="203" y="4"/>
                  </a:lnTo>
                  <a:lnTo>
                    <a:pt x="207" y="4"/>
                  </a:lnTo>
                  <a:lnTo>
                    <a:pt x="210" y="4"/>
                  </a:lnTo>
                  <a:lnTo>
                    <a:pt x="215" y="4"/>
                  </a:lnTo>
                  <a:lnTo>
                    <a:pt x="217" y="4"/>
                  </a:lnTo>
                  <a:lnTo>
                    <a:pt x="219" y="4"/>
                  </a:lnTo>
                  <a:lnTo>
                    <a:pt x="220" y="4"/>
                  </a:lnTo>
                  <a:lnTo>
                    <a:pt x="224" y="2"/>
                  </a:lnTo>
                  <a:lnTo>
                    <a:pt x="225" y="2"/>
                  </a:lnTo>
                  <a:lnTo>
                    <a:pt x="227" y="2"/>
                  </a:lnTo>
                  <a:lnTo>
                    <a:pt x="231" y="2"/>
                  </a:lnTo>
                  <a:lnTo>
                    <a:pt x="238" y="0"/>
                  </a:lnTo>
                  <a:lnTo>
                    <a:pt x="238" y="2"/>
                  </a:lnTo>
                  <a:lnTo>
                    <a:pt x="239" y="2"/>
                  </a:lnTo>
                  <a:lnTo>
                    <a:pt x="244" y="2"/>
                  </a:lnTo>
                  <a:lnTo>
                    <a:pt x="246" y="2"/>
                  </a:lnTo>
                  <a:lnTo>
                    <a:pt x="248" y="2"/>
                  </a:lnTo>
                  <a:lnTo>
                    <a:pt x="250" y="2"/>
                  </a:lnTo>
                  <a:lnTo>
                    <a:pt x="260" y="2"/>
                  </a:lnTo>
                  <a:lnTo>
                    <a:pt x="267" y="2"/>
                  </a:lnTo>
                  <a:lnTo>
                    <a:pt x="275" y="2"/>
                  </a:lnTo>
                  <a:lnTo>
                    <a:pt x="277" y="2"/>
                  </a:lnTo>
                  <a:lnTo>
                    <a:pt x="286" y="2"/>
                  </a:lnTo>
                  <a:lnTo>
                    <a:pt x="289" y="2"/>
                  </a:lnTo>
                  <a:lnTo>
                    <a:pt x="299" y="2"/>
                  </a:lnTo>
                  <a:lnTo>
                    <a:pt x="301" y="2"/>
                  </a:lnTo>
                  <a:lnTo>
                    <a:pt x="308" y="2"/>
                  </a:lnTo>
                  <a:lnTo>
                    <a:pt x="308" y="5"/>
                  </a:lnTo>
                  <a:lnTo>
                    <a:pt x="308" y="7"/>
                  </a:lnTo>
                  <a:lnTo>
                    <a:pt x="308" y="11"/>
                  </a:lnTo>
                  <a:lnTo>
                    <a:pt x="308" y="23"/>
                  </a:lnTo>
                  <a:lnTo>
                    <a:pt x="308" y="24"/>
                  </a:lnTo>
                  <a:lnTo>
                    <a:pt x="308" y="26"/>
                  </a:lnTo>
                  <a:lnTo>
                    <a:pt x="308" y="33"/>
                  </a:lnTo>
                  <a:lnTo>
                    <a:pt x="308" y="36"/>
                  </a:lnTo>
                  <a:lnTo>
                    <a:pt x="308" y="47"/>
                  </a:lnTo>
                  <a:lnTo>
                    <a:pt x="308" y="48"/>
                  </a:lnTo>
                  <a:lnTo>
                    <a:pt x="308" y="52"/>
                  </a:lnTo>
                  <a:lnTo>
                    <a:pt x="308" y="54"/>
                  </a:lnTo>
                  <a:lnTo>
                    <a:pt x="308" y="55"/>
                  </a:lnTo>
                  <a:lnTo>
                    <a:pt x="308" y="55"/>
                  </a:lnTo>
                  <a:lnTo>
                    <a:pt x="308" y="57"/>
                  </a:lnTo>
                  <a:lnTo>
                    <a:pt x="308" y="59"/>
                  </a:lnTo>
                  <a:lnTo>
                    <a:pt x="308" y="61"/>
                  </a:lnTo>
                  <a:lnTo>
                    <a:pt x="308" y="66"/>
                  </a:lnTo>
                  <a:lnTo>
                    <a:pt x="308" y="69"/>
                  </a:lnTo>
                  <a:lnTo>
                    <a:pt x="308" y="71"/>
                  </a:lnTo>
                  <a:lnTo>
                    <a:pt x="308" y="73"/>
                  </a:lnTo>
                  <a:lnTo>
                    <a:pt x="310" y="73"/>
                  </a:lnTo>
                  <a:lnTo>
                    <a:pt x="311" y="73"/>
                  </a:lnTo>
                  <a:lnTo>
                    <a:pt x="317" y="73"/>
                  </a:lnTo>
                  <a:lnTo>
                    <a:pt x="324" y="73"/>
                  </a:lnTo>
                  <a:lnTo>
                    <a:pt x="329" y="73"/>
                  </a:lnTo>
                  <a:lnTo>
                    <a:pt x="334" y="71"/>
                  </a:lnTo>
                  <a:lnTo>
                    <a:pt x="336" y="71"/>
                  </a:lnTo>
                  <a:lnTo>
                    <a:pt x="339" y="71"/>
                  </a:lnTo>
                  <a:lnTo>
                    <a:pt x="341" y="71"/>
                  </a:lnTo>
                  <a:lnTo>
                    <a:pt x="344" y="71"/>
                  </a:lnTo>
                  <a:lnTo>
                    <a:pt x="351" y="71"/>
                  </a:lnTo>
                  <a:lnTo>
                    <a:pt x="361" y="71"/>
                  </a:lnTo>
                  <a:lnTo>
                    <a:pt x="368" y="71"/>
                  </a:lnTo>
                  <a:lnTo>
                    <a:pt x="370" y="71"/>
                  </a:lnTo>
                  <a:lnTo>
                    <a:pt x="372" y="71"/>
                  </a:lnTo>
                  <a:lnTo>
                    <a:pt x="379" y="71"/>
                  </a:lnTo>
                  <a:lnTo>
                    <a:pt x="379" y="79"/>
                  </a:lnTo>
                  <a:lnTo>
                    <a:pt x="379" y="81"/>
                  </a:lnTo>
                  <a:lnTo>
                    <a:pt x="379" y="83"/>
                  </a:lnTo>
                  <a:lnTo>
                    <a:pt x="379" y="85"/>
                  </a:lnTo>
                  <a:lnTo>
                    <a:pt x="379" y="86"/>
                  </a:lnTo>
                  <a:lnTo>
                    <a:pt x="379" y="88"/>
                  </a:lnTo>
                  <a:lnTo>
                    <a:pt x="379" y="98"/>
                  </a:lnTo>
                  <a:lnTo>
                    <a:pt x="379" y="102"/>
                  </a:lnTo>
                  <a:lnTo>
                    <a:pt x="380" y="104"/>
                  </a:lnTo>
                  <a:lnTo>
                    <a:pt x="380" y="105"/>
                  </a:lnTo>
                  <a:lnTo>
                    <a:pt x="379" y="105"/>
                  </a:lnTo>
                  <a:lnTo>
                    <a:pt x="372" y="105"/>
                  </a:lnTo>
                  <a:lnTo>
                    <a:pt x="372" y="107"/>
                  </a:lnTo>
                  <a:lnTo>
                    <a:pt x="372" y="128"/>
                  </a:lnTo>
                  <a:lnTo>
                    <a:pt x="372" y="129"/>
                  </a:lnTo>
                  <a:lnTo>
                    <a:pt x="372" y="136"/>
                  </a:lnTo>
                  <a:lnTo>
                    <a:pt x="373" y="138"/>
                  </a:lnTo>
                  <a:lnTo>
                    <a:pt x="373" y="140"/>
                  </a:lnTo>
                  <a:lnTo>
                    <a:pt x="373" y="143"/>
                  </a:lnTo>
                  <a:lnTo>
                    <a:pt x="373" y="145"/>
                  </a:lnTo>
                  <a:lnTo>
                    <a:pt x="373" y="148"/>
                  </a:lnTo>
                  <a:lnTo>
                    <a:pt x="373" y="150"/>
                  </a:lnTo>
                  <a:lnTo>
                    <a:pt x="373" y="153"/>
                  </a:lnTo>
                  <a:lnTo>
                    <a:pt x="373" y="160"/>
                  </a:lnTo>
                  <a:lnTo>
                    <a:pt x="373" y="162"/>
                  </a:lnTo>
                  <a:lnTo>
                    <a:pt x="373" y="172"/>
                  </a:lnTo>
                  <a:lnTo>
                    <a:pt x="373" y="174"/>
                  </a:lnTo>
                  <a:lnTo>
                    <a:pt x="373" y="181"/>
                  </a:lnTo>
                  <a:lnTo>
                    <a:pt x="375" y="215"/>
                  </a:lnTo>
                  <a:lnTo>
                    <a:pt x="375" y="222"/>
                  </a:lnTo>
                  <a:lnTo>
                    <a:pt x="375" y="236"/>
                  </a:lnTo>
                  <a:lnTo>
                    <a:pt x="375" y="248"/>
                  </a:lnTo>
                  <a:lnTo>
                    <a:pt x="375" y="251"/>
                  </a:lnTo>
                  <a:lnTo>
                    <a:pt x="375" y="253"/>
                  </a:lnTo>
                  <a:lnTo>
                    <a:pt x="375" y="260"/>
                  </a:lnTo>
                  <a:lnTo>
                    <a:pt x="375" y="270"/>
                  </a:lnTo>
                  <a:lnTo>
                    <a:pt x="375" y="272"/>
                  </a:lnTo>
                  <a:lnTo>
                    <a:pt x="375" y="276"/>
                  </a:lnTo>
                  <a:lnTo>
                    <a:pt x="375" y="277"/>
                  </a:lnTo>
                  <a:lnTo>
                    <a:pt x="375" y="288"/>
                  </a:lnTo>
                  <a:lnTo>
                    <a:pt x="375" y="293"/>
                  </a:lnTo>
                  <a:lnTo>
                    <a:pt x="375" y="294"/>
                  </a:lnTo>
                  <a:lnTo>
                    <a:pt x="375" y="296"/>
                  </a:lnTo>
                  <a:lnTo>
                    <a:pt x="375" y="298"/>
                  </a:lnTo>
                  <a:lnTo>
                    <a:pt x="375" y="300"/>
                  </a:lnTo>
                  <a:lnTo>
                    <a:pt x="375" y="308"/>
                  </a:lnTo>
                  <a:lnTo>
                    <a:pt x="375" y="312"/>
                  </a:lnTo>
                  <a:lnTo>
                    <a:pt x="375" y="322"/>
                  </a:lnTo>
                  <a:lnTo>
                    <a:pt x="375" y="325"/>
                  </a:lnTo>
                  <a:lnTo>
                    <a:pt x="375" y="327"/>
                  </a:lnTo>
                  <a:lnTo>
                    <a:pt x="375" y="327"/>
                  </a:lnTo>
                  <a:lnTo>
                    <a:pt x="377" y="339"/>
                  </a:lnTo>
                  <a:lnTo>
                    <a:pt x="377" y="343"/>
                  </a:lnTo>
                  <a:lnTo>
                    <a:pt x="377" y="344"/>
                  </a:lnTo>
                  <a:lnTo>
                    <a:pt x="377" y="356"/>
                  </a:lnTo>
                  <a:lnTo>
                    <a:pt x="370" y="356"/>
                  </a:lnTo>
                  <a:lnTo>
                    <a:pt x="365" y="356"/>
                  </a:lnTo>
                  <a:lnTo>
                    <a:pt x="354" y="356"/>
                  </a:lnTo>
                  <a:lnTo>
                    <a:pt x="348" y="356"/>
                  </a:lnTo>
                  <a:lnTo>
                    <a:pt x="342" y="356"/>
                  </a:lnTo>
                  <a:lnTo>
                    <a:pt x="334" y="356"/>
                  </a:lnTo>
                  <a:lnTo>
                    <a:pt x="330" y="356"/>
                  </a:lnTo>
                  <a:lnTo>
                    <a:pt x="327" y="356"/>
                  </a:lnTo>
                  <a:lnTo>
                    <a:pt x="325" y="356"/>
                  </a:lnTo>
                  <a:lnTo>
                    <a:pt x="324" y="356"/>
                  </a:lnTo>
                  <a:lnTo>
                    <a:pt x="320" y="356"/>
                  </a:lnTo>
                  <a:lnTo>
                    <a:pt x="317" y="356"/>
                  </a:lnTo>
                  <a:lnTo>
                    <a:pt x="310" y="356"/>
                  </a:lnTo>
                  <a:lnTo>
                    <a:pt x="308" y="356"/>
                  </a:lnTo>
                  <a:lnTo>
                    <a:pt x="308" y="356"/>
                  </a:lnTo>
                  <a:lnTo>
                    <a:pt x="305" y="356"/>
                  </a:lnTo>
                  <a:lnTo>
                    <a:pt x="298" y="356"/>
                  </a:lnTo>
                  <a:lnTo>
                    <a:pt x="293" y="356"/>
                  </a:lnTo>
                  <a:lnTo>
                    <a:pt x="284" y="358"/>
                  </a:lnTo>
                  <a:lnTo>
                    <a:pt x="281" y="358"/>
                  </a:lnTo>
                  <a:lnTo>
                    <a:pt x="275" y="358"/>
                  </a:lnTo>
                  <a:lnTo>
                    <a:pt x="274" y="358"/>
                  </a:lnTo>
                  <a:lnTo>
                    <a:pt x="263" y="360"/>
                  </a:lnTo>
                  <a:lnTo>
                    <a:pt x="253" y="360"/>
                  </a:lnTo>
                  <a:lnTo>
                    <a:pt x="251" y="360"/>
                  </a:lnTo>
                  <a:lnTo>
                    <a:pt x="251" y="358"/>
                  </a:lnTo>
                  <a:lnTo>
                    <a:pt x="251" y="355"/>
                  </a:lnTo>
                  <a:lnTo>
                    <a:pt x="251" y="350"/>
                  </a:lnTo>
                  <a:lnTo>
                    <a:pt x="251" y="344"/>
                  </a:lnTo>
                  <a:lnTo>
                    <a:pt x="251" y="332"/>
                  </a:lnTo>
                  <a:lnTo>
                    <a:pt x="251" y="327"/>
                  </a:lnTo>
                  <a:lnTo>
                    <a:pt x="251" y="313"/>
                  </a:lnTo>
                  <a:lnTo>
                    <a:pt x="251" y="301"/>
                  </a:lnTo>
                  <a:lnTo>
                    <a:pt x="251" y="300"/>
                  </a:lnTo>
                  <a:lnTo>
                    <a:pt x="251" y="298"/>
                  </a:lnTo>
                  <a:lnTo>
                    <a:pt x="251" y="296"/>
                  </a:lnTo>
                  <a:lnTo>
                    <a:pt x="251" y="294"/>
                  </a:lnTo>
                  <a:lnTo>
                    <a:pt x="251" y="289"/>
                  </a:lnTo>
                  <a:lnTo>
                    <a:pt x="251" y="281"/>
                  </a:lnTo>
                  <a:lnTo>
                    <a:pt x="246" y="281"/>
                  </a:lnTo>
                  <a:lnTo>
                    <a:pt x="241" y="281"/>
                  </a:lnTo>
                  <a:lnTo>
                    <a:pt x="238" y="281"/>
                  </a:lnTo>
                  <a:lnTo>
                    <a:pt x="238" y="281"/>
                  </a:lnTo>
                  <a:lnTo>
                    <a:pt x="238" y="272"/>
                  </a:lnTo>
                  <a:lnTo>
                    <a:pt x="238" y="267"/>
                  </a:lnTo>
                  <a:lnTo>
                    <a:pt x="238" y="260"/>
                  </a:lnTo>
                  <a:lnTo>
                    <a:pt x="238" y="257"/>
                  </a:lnTo>
                  <a:lnTo>
                    <a:pt x="238" y="251"/>
                  </a:lnTo>
                  <a:lnTo>
                    <a:pt x="238" y="250"/>
                  </a:lnTo>
                  <a:lnTo>
                    <a:pt x="238" y="239"/>
                  </a:lnTo>
                  <a:lnTo>
                    <a:pt x="238" y="238"/>
                  </a:lnTo>
                  <a:lnTo>
                    <a:pt x="238" y="236"/>
                  </a:lnTo>
                  <a:lnTo>
                    <a:pt x="238" y="227"/>
                  </a:lnTo>
                  <a:lnTo>
                    <a:pt x="238" y="214"/>
                  </a:lnTo>
                  <a:lnTo>
                    <a:pt x="238" y="212"/>
                  </a:lnTo>
                  <a:lnTo>
                    <a:pt x="238" y="207"/>
                  </a:lnTo>
                  <a:lnTo>
                    <a:pt x="238" y="203"/>
                  </a:lnTo>
                  <a:lnTo>
                    <a:pt x="236" y="186"/>
                  </a:lnTo>
                  <a:lnTo>
                    <a:pt x="236" y="184"/>
                  </a:lnTo>
                  <a:lnTo>
                    <a:pt x="236" y="181"/>
                  </a:lnTo>
                  <a:lnTo>
                    <a:pt x="236" y="179"/>
                  </a:lnTo>
                  <a:lnTo>
                    <a:pt x="236" y="176"/>
                  </a:lnTo>
                  <a:lnTo>
                    <a:pt x="236" y="174"/>
                  </a:lnTo>
                  <a:lnTo>
                    <a:pt x="236" y="169"/>
                  </a:lnTo>
                  <a:lnTo>
                    <a:pt x="236" y="147"/>
                  </a:lnTo>
                  <a:lnTo>
                    <a:pt x="236" y="147"/>
                  </a:lnTo>
                  <a:lnTo>
                    <a:pt x="236" y="121"/>
                  </a:lnTo>
                  <a:lnTo>
                    <a:pt x="236" y="119"/>
                  </a:lnTo>
                  <a:lnTo>
                    <a:pt x="236" y="116"/>
                  </a:lnTo>
                  <a:lnTo>
                    <a:pt x="236" y="105"/>
                  </a:lnTo>
                  <a:lnTo>
                    <a:pt x="227" y="105"/>
                  </a:lnTo>
                  <a:lnTo>
                    <a:pt x="224" y="105"/>
                  </a:lnTo>
                  <a:lnTo>
                    <a:pt x="222" y="105"/>
                  </a:lnTo>
                  <a:lnTo>
                    <a:pt x="217" y="105"/>
                  </a:lnTo>
                  <a:lnTo>
                    <a:pt x="215" y="105"/>
                  </a:lnTo>
                  <a:lnTo>
                    <a:pt x="210" y="105"/>
                  </a:lnTo>
                  <a:lnTo>
                    <a:pt x="196" y="105"/>
                  </a:lnTo>
                  <a:lnTo>
                    <a:pt x="195" y="105"/>
                  </a:lnTo>
                  <a:lnTo>
                    <a:pt x="174" y="107"/>
                  </a:lnTo>
                  <a:lnTo>
                    <a:pt x="172" y="107"/>
                  </a:lnTo>
                  <a:lnTo>
                    <a:pt x="169" y="107"/>
                  </a:lnTo>
                  <a:lnTo>
                    <a:pt x="164" y="107"/>
                  </a:lnTo>
                  <a:lnTo>
                    <a:pt x="143" y="107"/>
                  </a:lnTo>
                  <a:lnTo>
                    <a:pt x="143" y="107"/>
                  </a:lnTo>
                  <a:lnTo>
                    <a:pt x="141" y="107"/>
                  </a:lnTo>
                  <a:lnTo>
                    <a:pt x="134" y="107"/>
                  </a:lnTo>
                  <a:lnTo>
                    <a:pt x="131" y="107"/>
                  </a:lnTo>
                  <a:lnTo>
                    <a:pt x="126" y="107"/>
                  </a:lnTo>
                  <a:lnTo>
                    <a:pt x="124" y="107"/>
                  </a:lnTo>
                  <a:lnTo>
                    <a:pt x="121" y="107"/>
                  </a:lnTo>
                  <a:lnTo>
                    <a:pt x="115" y="107"/>
                  </a:lnTo>
                  <a:lnTo>
                    <a:pt x="114" y="107"/>
                  </a:lnTo>
                  <a:lnTo>
                    <a:pt x="112" y="107"/>
                  </a:lnTo>
                  <a:lnTo>
                    <a:pt x="103" y="107"/>
                  </a:lnTo>
                  <a:lnTo>
                    <a:pt x="102" y="107"/>
                  </a:lnTo>
                  <a:lnTo>
                    <a:pt x="100" y="109"/>
                  </a:lnTo>
                  <a:lnTo>
                    <a:pt x="98" y="109"/>
                  </a:lnTo>
                  <a:lnTo>
                    <a:pt x="98" y="109"/>
                  </a:lnTo>
                  <a:lnTo>
                    <a:pt x="95" y="109"/>
                  </a:lnTo>
                  <a:lnTo>
                    <a:pt x="79" y="114"/>
                  </a:lnTo>
                  <a:lnTo>
                    <a:pt x="74" y="114"/>
                  </a:lnTo>
                  <a:lnTo>
                    <a:pt x="67" y="116"/>
                  </a:lnTo>
                  <a:lnTo>
                    <a:pt x="67" y="116"/>
                  </a:lnTo>
                  <a:lnTo>
                    <a:pt x="55" y="117"/>
                  </a:lnTo>
                  <a:lnTo>
                    <a:pt x="53" y="117"/>
                  </a:lnTo>
                  <a:lnTo>
                    <a:pt x="48" y="119"/>
                  </a:lnTo>
                  <a:lnTo>
                    <a:pt x="47" y="119"/>
                  </a:lnTo>
                  <a:lnTo>
                    <a:pt x="45" y="119"/>
                  </a:lnTo>
                  <a:lnTo>
                    <a:pt x="36" y="121"/>
                  </a:lnTo>
                  <a:lnTo>
                    <a:pt x="35" y="121"/>
                  </a:lnTo>
                  <a:lnTo>
                    <a:pt x="33" y="121"/>
                  </a:lnTo>
                  <a:lnTo>
                    <a:pt x="31" y="121"/>
                  </a:lnTo>
                  <a:lnTo>
                    <a:pt x="23" y="121"/>
                  </a:lnTo>
                  <a:lnTo>
                    <a:pt x="23" y="121"/>
                  </a:lnTo>
                  <a:lnTo>
                    <a:pt x="19" y="121"/>
                  </a:lnTo>
                  <a:lnTo>
                    <a:pt x="16" y="121"/>
                  </a:lnTo>
                  <a:lnTo>
                    <a:pt x="14" y="121"/>
                  </a:lnTo>
                  <a:lnTo>
                    <a:pt x="10" y="121"/>
                  </a:lnTo>
                  <a:lnTo>
                    <a:pt x="7" y="121"/>
                  </a:lnTo>
                  <a:lnTo>
                    <a:pt x="4" y="121"/>
                  </a:lnTo>
                  <a:lnTo>
                    <a:pt x="2" y="121"/>
                  </a:lnTo>
                  <a:lnTo>
                    <a:pt x="0" y="121"/>
                  </a:lnTo>
                  <a:lnTo>
                    <a:pt x="0" y="119"/>
                  </a:lnTo>
                  <a:lnTo>
                    <a:pt x="0" y="117"/>
                  </a:lnTo>
                  <a:lnTo>
                    <a:pt x="0" y="116"/>
                  </a:lnTo>
                  <a:lnTo>
                    <a:pt x="0" y="109"/>
                  </a:lnTo>
                  <a:lnTo>
                    <a:pt x="0" y="107"/>
                  </a:lnTo>
                  <a:lnTo>
                    <a:pt x="0" y="105"/>
                  </a:lnTo>
                  <a:lnTo>
                    <a:pt x="0" y="102"/>
                  </a:lnTo>
                  <a:lnTo>
                    <a:pt x="0" y="100"/>
                  </a:lnTo>
                  <a:lnTo>
                    <a:pt x="0" y="93"/>
                  </a:lnTo>
                  <a:lnTo>
                    <a:pt x="0" y="90"/>
                  </a:lnTo>
                  <a:lnTo>
                    <a:pt x="0" y="86"/>
                  </a:lnTo>
                  <a:lnTo>
                    <a:pt x="0" y="86"/>
                  </a:lnTo>
                  <a:lnTo>
                    <a:pt x="0" y="81"/>
                  </a:lnTo>
                  <a:lnTo>
                    <a:pt x="0" y="78"/>
                  </a:lnTo>
                  <a:lnTo>
                    <a:pt x="0" y="76"/>
                  </a:lnTo>
                  <a:lnTo>
                    <a:pt x="0" y="74"/>
                  </a:lnTo>
                  <a:lnTo>
                    <a:pt x="0" y="69"/>
                  </a:lnTo>
                  <a:lnTo>
                    <a:pt x="0" y="61"/>
                  </a:lnTo>
                  <a:lnTo>
                    <a:pt x="0" y="55"/>
                  </a:lnTo>
                  <a:lnTo>
                    <a:pt x="0" y="47"/>
                  </a:lnTo>
                  <a:lnTo>
                    <a:pt x="0" y="43"/>
                  </a:lnTo>
                  <a:lnTo>
                    <a:pt x="0" y="42"/>
                  </a:lnTo>
                  <a:lnTo>
                    <a:pt x="0" y="40"/>
                  </a:lnTo>
                  <a:lnTo>
                    <a:pt x="0" y="38"/>
                  </a:lnTo>
                  <a:lnTo>
                    <a:pt x="2" y="38"/>
                  </a:lnTo>
                  <a:lnTo>
                    <a:pt x="4" y="38"/>
                  </a:lnTo>
                  <a:lnTo>
                    <a:pt x="4" y="36"/>
                  </a:lnTo>
                  <a:lnTo>
                    <a:pt x="4" y="31"/>
                  </a:lnTo>
                  <a:lnTo>
                    <a:pt x="4" y="28"/>
                  </a:lnTo>
                  <a:lnTo>
                    <a:pt x="4" y="26"/>
                  </a:lnTo>
                  <a:lnTo>
                    <a:pt x="4" y="19"/>
                  </a:lnTo>
                  <a:lnTo>
                    <a:pt x="4" y="12"/>
                  </a:lnTo>
                  <a:lnTo>
                    <a:pt x="4" y="5"/>
                  </a:lnTo>
                  <a:lnTo>
                    <a:pt x="4" y="4"/>
                  </a:lnTo>
                  <a:lnTo>
                    <a:pt x="5" y="4"/>
                  </a:lnTo>
                  <a:lnTo>
                    <a:pt x="17" y="4"/>
                  </a:lnTo>
                  <a:lnTo>
                    <a:pt x="21" y="4"/>
                  </a:lnTo>
                  <a:lnTo>
                    <a:pt x="23" y="4"/>
                  </a:lnTo>
                  <a:lnTo>
                    <a:pt x="23" y="4"/>
                  </a:lnTo>
                  <a:lnTo>
                    <a:pt x="26" y="4"/>
                  </a:lnTo>
                  <a:lnTo>
                    <a:pt x="28" y="4"/>
                  </a:lnTo>
                  <a:lnTo>
                    <a:pt x="31" y="4"/>
                  </a:lnTo>
                </a:path>
              </a:pathLst>
            </a:custGeom>
            <a:solidFill>
              <a:srgbClr val="FFFF99"/>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5" name="Freeform 161"/>
            <p:cNvSpPr>
              <a:spLocks/>
            </p:cNvSpPr>
            <p:nvPr/>
          </p:nvSpPr>
          <p:spPr bwMode="auto">
            <a:xfrm>
              <a:off x="4860221" y="1988931"/>
              <a:ext cx="565150" cy="595313"/>
            </a:xfrm>
            <a:custGeom>
              <a:avLst/>
              <a:gdLst/>
              <a:ahLst/>
              <a:cxnLst>
                <a:cxn ang="0">
                  <a:pos x="37" y="3"/>
                </a:cxn>
                <a:cxn ang="0">
                  <a:pos x="87" y="1"/>
                </a:cxn>
                <a:cxn ang="0">
                  <a:pos x="130" y="1"/>
                </a:cxn>
                <a:cxn ang="0">
                  <a:pos x="165" y="3"/>
                </a:cxn>
                <a:cxn ang="0">
                  <a:pos x="197" y="5"/>
                </a:cxn>
                <a:cxn ang="0">
                  <a:pos x="235" y="5"/>
                </a:cxn>
                <a:cxn ang="0">
                  <a:pos x="268" y="6"/>
                </a:cxn>
                <a:cxn ang="0">
                  <a:pos x="314" y="6"/>
                </a:cxn>
                <a:cxn ang="0">
                  <a:pos x="356" y="12"/>
                </a:cxn>
                <a:cxn ang="0">
                  <a:pos x="356" y="44"/>
                </a:cxn>
                <a:cxn ang="0">
                  <a:pos x="354" y="72"/>
                </a:cxn>
                <a:cxn ang="0">
                  <a:pos x="350" y="113"/>
                </a:cxn>
                <a:cxn ang="0">
                  <a:pos x="350" y="149"/>
                </a:cxn>
                <a:cxn ang="0">
                  <a:pos x="349" y="180"/>
                </a:cxn>
                <a:cxn ang="0">
                  <a:pos x="347" y="235"/>
                </a:cxn>
                <a:cxn ang="0">
                  <a:pos x="345" y="282"/>
                </a:cxn>
                <a:cxn ang="0">
                  <a:pos x="307" y="283"/>
                </a:cxn>
                <a:cxn ang="0">
                  <a:pos x="273" y="342"/>
                </a:cxn>
                <a:cxn ang="0">
                  <a:pos x="263" y="368"/>
                </a:cxn>
                <a:cxn ang="0">
                  <a:pos x="252" y="361"/>
                </a:cxn>
                <a:cxn ang="0">
                  <a:pos x="232" y="375"/>
                </a:cxn>
                <a:cxn ang="0">
                  <a:pos x="211" y="368"/>
                </a:cxn>
                <a:cxn ang="0">
                  <a:pos x="215" y="356"/>
                </a:cxn>
                <a:cxn ang="0">
                  <a:pos x="218" y="342"/>
                </a:cxn>
                <a:cxn ang="0">
                  <a:pos x="196" y="328"/>
                </a:cxn>
                <a:cxn ang="0">
                  <a:pos x="194" y="302"/>
                </a:cxn>
                <a:cxn ang="0">
                  <a:pos x="159" y="302"/>
                </a:cxn>
                <a:cxn ang="0">
                  <a:pos x="130" y="292"/>
                </a:cxn>
                <a:cxn ang="0">
                  <a:pos x="125" y="268"/>
                </a:cxn>
                <a:cxn ang="0">
                  <a:pos x="115" y="251"/>
                </a:cxn>
                <a:cxn ang="0">
                  <a:pos x="99" y="235"/>
                </a:cxn>
                <a:cxn ang="0">
                  <a:pos x="98" y="222"/>
                </a:cxn>
                <a:cxn ang="0">
                  <a:pos x="77" y="215"/>
                </a:cxn>
                <a:cxn ang="0">
                  <a:pos x="58" y="209"/>
                </a:cxn>
                <a:cxn ang="0">
                  <a:pos x="51" y="211"/>
                </a:cxn>
                <a:cxn ang="0">
                  <a:pos x="44" y="204"/>
                </a:cxn>
                <a:cxn ang="0">
                  <a:pos x="41" y="213"/>
                </a:cxn>
                <a:cxn ang="0">
                  <a:pos x="36" y="199"/>
                </a:cxn>
                <a:cxn ang="0">
                  <a:pos x="39" y="184"/>
                </a:cxn>
                <a:cxn ang="0">
                  <a:pos x="29" y="185"/>
                </a:cxn>
                <a:cxn ang="0">
                  <a:pos x="24" y="197"/>
                </a:cxn>
                <a:cxn ang="0">
                  <a:pos x="22" y="196"/>
                </a:cxn>
                <a:cxn ang="0">
                  <a:pos x="12" y="192"/>
                </a:cxn>
                <a:cxn ang="0">
                  <a:pos x="10" y="191"/>
                </a:cxn>
                <a:cxn ang="0">
                  <a:pos x="8" y="173"/>
                </a:cxn>
                <a:cxn ang="0">
                  <a:pos x="8" y="161"/>
                </a:cxn>
                <a:cxn ang="0">
                  <a:pos x="8" y="151"/>
                </a:cxn>
                <a:cxn ang="0">
                  <a:pos x="6" y="141"/>
                </a:cxn>
                <a:cxn ang="0">
                  <a:pos x="6" y="129"/>
                </a:cxn>
                <a:cxn ang="0">
                  <a:pos x="15" y="127"/>
                </a:cxn>
                <a:cxn ang="0">
                  <a:pos x="12" y="120"/>
                </a:cxn>
                <a:cxn ang="0">
                  <a:pos x="10" y="113"/>
                </a:cxn>
                <a:cxn ang="0">
                  <a:pos x="8" y="99"/>
                </a:cxn>
                <a:cxn ang="0">
                  <a:pos x="10" y="84"/>
                </a:cxn>
                <a:cxn ang="0">
                  <a:pos x="5" y="67"/>
                </a:cxn>
                <a:cxn ang="0">
                  <a:pos x="15" y="62"/>
                </a:cxn>
                <a:cxn ang="0">
                  <a:pos x="8" y="51"/>
                </a:cxn>
                <a:cxn ang="0">
                  <a:pos x="3" y="39"/>
                </a:cxn>
                <a:cxn ang="0">
                  <a:pos x="5" y="37"/>
                </a:cxn>
                <a:cxn ang="0">
                  <a:pos x="1" y="25"/>
                </a:cxn>
                <a:cxn ang="0">
                  <a:pos x="1" y="19"/>
                </a:cxn>
                <a:cxn ang="0">
                  <a:pos x="8" y="13"/>
                </a:cxn>
                <a:cxn ang="0">
                  <a:pos x="13" y="6"/>
                </a:cxn>
              </a:cxnLst>
              <a:rect l="0" t="0" r="r" b="b"/>
              <a:pathLst>
                <a:path w="356" h="375">
                  <a:moveTo>
                    <a:pt x="12" y="3"/>
                  </a:moveTo>
                  <a:lnTo>
                    <a:pt x="15" y="3"/>
                  </a:lnTo>
                  <a:lnTo>
                    <a:pt x="17" y="3"/>
                  </a:lnTo>
                  <a:lnTo>
                    <a:pt x="18" y="3"/>
                  </a:lnTo>
                  <a:lnTo>
                    <a:pt x="20" y="3"/>
                  </a:lnTo>
                  <a:lnTo>
                    <a:pt x="22" y="3"/>
                  </a:lnTo>
                  <a:lnTo>
                    <a:pt x="24" y="3"/>
                  </a:lnTo>
                  <a:lnTo>
                    <a:pt x="27" y="3"/>
                  </a:lnTo>
                  <a:lnTo>
                    <a:pt x="30" y="3"/>
                  </a:lnTo>
                  <a:lnTo>
                    <a:pt x="32" y="3"/>
                  </a:lnTo>
                  <a:lnTo>
                    <a:pt x="34" y="3"/>
                  </a:lnTo>
                  <a:lnTo>
                    <a:pt x="37" y="3"/>
                  </a:lnTo>
                  <a:lnTo>
                    <a:pt x="43" y="1"/>
                  </a:lnTo>
                  <a:lnTo>
                    <a:pt x="48" y="1"/>
                  </a:lnTo>
                  <a:lnTo>
                    <a:pt x="49" y="1"/>
                  </a:lnTo>
                  <a:lnTo>
                    <a:pt x="55" y="1"/>
                  </a:lnTo>
                  <a:lnTo>
                    <a:pt x="56" y="1"/>
                  </a:lnTo>
                  <a:lnTo>
                    <a:pt x="58" y="1"/>
                  </a:lnTo>
                  <a:lnTo>
                    <a:pt x="63" y="1"/>
                  </a:lnTo>
                  <a:lnTo>
                    <a:pt x="65" y="1"/>
                  </a:lnTo>
                  <a:lnTo>
                    <a:pt x="70" y="1"/>
                  </a:lnTo>
                  <a:lnTo>
                    <a:pt x="77" y="1"/>
                  </a:lnTo>
                  <a:lnTo>
                    <a:pt x="82" y="1"/>
                  </a:lnTo>
                  <a:lnTo>
                    <a:pt x="87" y="1"/>
                  </a:lnTo>
                  <a:lnTo>
                    <a:pt x="91" y="1"/>
                  </a:lnTo>
                  <a:lnTo>
                    <a:pt x="94" y="1"/>
                  </a:lnTo>
                  <a:lnTo>
                    <a:pt x="98" y="1"/>
                  </a:lnTo>
                  <a:lnTo>
                    <a:pt x="99" y="1"/>
                  </a:lnTo>
                  <a:lnTo>
                    <a:pt x="103" y="1"/>
                  </a:lnTo>
                  <a:lnTo>
                    <a:pt x="111" y="1"/>
                  </a:lnTo>
                  <a:lnTo>
                    <a:pt x="118" y="0"/>
                  </a:lnTo>
                  <a:lnTo>
                    <a:pt x="120" y="0"/>
                  </a:lnTo>
                  <a:lnTo>
                    <a:pt x="122" y="0"/>
                  </a:lnTo>
                  <a:lnTo>
                    <a:pt x="123" y="0"/>
                  </a:lnTo>
                  <a:lnTo>
                    <a:pt x="125" y="0"/>
                  </a:lnTo>
                  <a:lnTo>
                    <a:pt x="130" y="1"/>
                  </a:lnTo>
                  <a:lnTo>
                    <a:pt x="137" y="1"/>
                  </a:lnTo>
                  <a:lnTo>
                    <a:pt x="144" y="1"/>
                  </a:lnTo>
                  <a:lnTo>
                    <a:pt x="144" y="1"/>
                  </a:lnTo>
                  <a:lnTo>
                    <a:pt x="146" y="1"/>
                  </a:lnTo>
                  <a:lnTo>
                    <a:pt x="147" y="1"/>
                  </a:lnTo>
                  <a:lnTo>
                    <a:pt x="151" y="1"/>
                  </a:lnTo>
                  <a:lnTo>
                    <a:pt x="154" y="1"/>
                  </a:lnTo>
                  <a:lnTo>
                    <a:pt x="156" y="1"/>
                  </a:lnTo>
                  <a:lnTo>
                    <a:pt x="159" y="3"/>
                  </a:lnTo>
                  <a:lnTo>
                    <a:pt x="161" y="3"/>
                  </a:lnTo>
                  <a:lnTo>
                    <a:pt x="163" y="3"/>
                  </a:lnTo>
                  <a:lnTo>
                    <a:pt x="165" y="3"/>
                  </a:lnTo>
                  <a:lnTo>
                    <a:pt x="166" y="3"/>
                  </a:lnTo>
                  <a:lnTo>
                    <a:pt x="168" y="3"/>
                  </a:lnTo>
                  <a:lnTo>
                    <a:pt x="170" y="3"/>
                  </a:lnTo>
                  <a:lnTo>
                    <a:pt x="172" y="3"/>
                  </a:lnTo>
                  <a:lnTo>
                    <a:pt x="175" y="3"/>
                  </a:lnTo>
                  <a:lnTo>
                    <a:pt x="177" y="3"/>
                  </a:lnTo>
                  <a:lnTo>
                    <a:pt x="185" y="5"/>
                  </a:lnTo>
                  <a:lnTo>
                    <a:pt x="189" y="5"/>
                  </a:lnTo>
                  <a:lnTo>
                    <a:pt x="189" y="5"/>
                  </a:lnTo>
                  <a:lnTo>
                    <a:pt x="194" y="5"/>
                  </a:lnTo>
                  <a:lnTo>
                    <a:pt x="196" y="5"/>
                  </a:lnTo>
                  <a:lnTo>
                    <a:pt x="197" y="5"/>
                  </a:lnTo>
                  <a:lnTo>
                    <a:pt x="199" y="5"/>
                  </a:lnTo>
                  <a:lnTo>
                    <a:pt x="202" y="5"/>
                  </a:lnTo>
                  <a:lnTo>
                    <a:pt x="204" y="5"/>
                  </a:lnTo>
                  <a:lnTo>
                    <a:pt x="208" y="5"/>
                  </a:lnTo>
                  <a:lnTo>
                    <a:pt x="209" y="5"/>
                  </a:lnTo>
                  <a:lnTo>
                    <a:pt x="211" y="5"/>
                  </a:lnTo>
                  <a:lnTo>
                    <a:pt x="216" y="5"/>
                  </a:lnTo>
                  <a:lnTo>
                    <a:pt x="218" y="5"/>
                  </a:lnTo>
                  <a:lnTo>
                    <a:pt x="220" y="5"/>
                  </a:lnTo>
                  <a:lnTo>
                    <a:pt x="221" y="5"/>
                  </a:lnTo>
                  <a:lnTo>
                    <a:pt x="227" y="5"/>
                  </a:lnTo>
                  <a:lnTo>
                    <a:pt x="235" y="5"/>
                  </a:lnTo>
                  <a:lnTo>
                    <a:pt x="235" y="5"/>
                  </a:lnTo>
                  <a:lnTo>
                    <a:pt x="239" y="5"/>
                  </a:lnTo>
                  <a:lnTo>
                    <a:pt x="240" y="5"/>
                  </a:lnTo>
                  <a:lnTo>
                    <a:pt x="242" y="5"/>
                  </a:lnTo>
                  <a:lnTo>
                    <a:pt x="245" y="5"/>
                  </a:lnTo>
                  <a:lnTo>
                    <a:pt x="247" y="6"/>
                  </a:lnTo>
                  <a:lnTo>
                    <a:pt x="252" y="6"/>
                  </a:lnTo>
                  <a:lnTo>
                    <a:pt x="254" y="6"/>
                  </a:lnTo>
                  <a:lnTo>
                    <a:pt x="259" y="6"/>
                  </a:lnTo>
                  <a:lnTo>
                    <a:pt x="264" y="6"/>
                  </a:lnTo>
                  <a:lnTo>
                    <a:pt x="266" y="6"/>
                  </a:lnTo>
                  <a:lnTo>
                    <a:pt x="268" y="6"/>
                  </a:lnTo>
                  <a:lnTo>
                    <a:pt x="276" y="6"/>
                  </a:lnTo>
                  <a:lnTo>
                    <a:pt x="278" y="6"/>
                  </a:lnTo>
                  <a:lnTo>
                    <a:pt x="282" y="6"/>
                  </a:lnTo>
                  <a:lnTo>
                    <a:pt x="285" y="6"/>
                  </a:lnTo>
                  <a:lnTo>
                    <a:pt x="288" y="6"/>
                  </a:lnTo>
                  <a:lnTo>
                    <a:pt x="295" y="6"/>
                  </a:lnTo>
                  <a:lnTo>
                    <a:pt x="295" y="6"/>
                  </a:lnTo>
                  <a:lnTo>
                    <a:pt x="297" y="6"/>
                  </a:lnTo>
                  <a:lnTo>
                    <a:pt x="299" y="6"/>
                  </a:lnTo>
                  <a:lnTo>
                    <a:pt x="307" y="6"/>
                  </a:lnTo>
                  <a:lnTo>
                    <a:pt x="311" y="6"/>
                  </a:lnTo>
                  <a:lnTo>
                    <a:pt x="314" y="6"/>
                  </a:lnTo>
                  <a:lnTo>
                    <a:pt x="319" y="6"/>
                  </a:lnTo>
                  <a:lnTo>
                    <a:pt x="323" y="6"/>
                  </a:lnTo>
                  <a:lnTo>
                    <a:pt x="325" y="6"/>
                  </a:lnTo>
                  <a:lnTo>
                    <a:pt x="330" y="6"/>
                  </a:lnTo>
                  <a:lnTo>
                    <a:pt x="331" y="6"/>
                  </a:lnTo>
                  <a:lnTo>
                    <a:pt x="340" y="6"/>
                  </a:lnTo>
                  <a:lnTo>
                    <a:pt x="344" y="6"/>
                  </a:lnTo>
                  <a:lnTo>
                    <a:pt x="350" y="6"/>
                  </a:lnTo>
                  <a:lnTo>
                    <a:pt x="356" y="6"/>
                  </a:lnTo>
                  <a:lnTo>
                    <a:pt x="356" y="8"/>
                  </a:lnTo>
                  <a:lnTo>
                    <a:pt x="356" y="10"/>
                  </a:lnTo>
                  <a:lnTo>
                    <a:pt x="356" y="12"/>
                  </a:lnTo>
                  <a:lnTo>
                    <a:pt x="356" y="15"/>
                  </a:lnTo>
                  <a:lnTo>
                    <a:pt x="356" y="19"/>
                  </a:lnTo>
                  <a:lnTo>
                    <a:pt x="356" y="22"/>
                  </a:lnTo>
                  <a:lnTo>
                    <a:pt x="356" y="27"/>
                  </a:lnTo>
                  <a:lnTo>
                    <a:pt x="356" y="29"/>
                  </a:lnTo>
                  <a:lnTo>
                    <a:pt x="356" y="31"/>
                  </a:lnTo>
                  <a:lnTo>
                    <a:pt x="356" y="32"/>
                  </a:lnTo>
                  <a:lnTo>
                    <a:pt x="356" y="36"/>
                  </a:lnTo>
                  <a:lnTo>
                    <a:pt x="356" y="37"/>
                  </a:lnTo>
                  <a:lnTo>
                    <a:pt x="356" y="41"/>
                  </a:lnTo>
                  <a:lnTo>
                    <a:pt x="356" y="43"/>
                  </a:lnTo>
                  <a:lnTo>
                    <a:pt x="356" y="44"/>
                  </a:lnTo>
                  <a:lnTo>
                    <a:pt x="356" y="44"/>
                  </a:lnTo>
                  <a:lnTo>
                    <a:pt x="356" y="46"/>
                  </a:lnTo>
                  <a:lnTo>
                    <a:pt x="356" y="48"/>
                  </a:lnTo>
                  <a:lnTo>
                    <a:pt x="356" y="50"/>
                  </a:lnTo>
                  <a:lnTo>
                    <a:pt x="356" y="51"/>
                  </a:lnTo>
                  <a:lnTo>
                    <a:pt x="356" y="53"/>
                  </a:lnTo>
                  <a:lnTo>
                    <a:pt x="356" y="56"/>
                  </a:lnTo>
                  <a:lnTo>
                    <a:pt x="356" y="58"/>
                  </a:lnTo>
                  <a:lnTo>
                    <a:pt x="354" y="60"/>
                  </a:lnTo>
                  <a:lnTo>
                    <a:pt x="354" y="63"/>
                  </a:lnTo>
                  <a:lnTo>
                    <a:pt x="354" y="67"/>
                  </a:lnTo>
                  <a:lnTo>
                    <a:pt x="354" y="72"/>
                  </a:lnTo>
                  <a:lnTo>
                    <a:pt x="354" y="75"/>
                  </a:lnTo>
                  <a:lnTo>
                    <a:pt x="352" y="75"/>
                  </a:lnTo>
                  <a:lnTo>
                    <a:pt x="350" y="75"/>
                  </a:lnTo>
                  <a:lnTo>
                    <a:pt x="350" y="84"/>
                  </a:lnTo>
                  <a:lnTo>
                    <a:pt x="350" y="89"/>
                  </a:lnTo>
                  <a:lnTo>
                    <a:pt x="350" y="94"/>
                  </a:lnTo>
                  <a:lnTo>
                    <a:pt x="350" y="101"/>
                  </a:lnTo>
                  <a:lnTo>
                    <a:pt x="350" y="105"/>
                  </a:lnTo>
                  <a:lnTo>
                    <a:pt x="350" y="106"/>
                  </a:lnTo>
                  <a:lnTo>
                    <a:pt x="350" y="110"/>
                  </a:lnTo>
                  <a:lnTo>
                    <a:pt x="350" y="111"/>
                  </a:lnTo>
                  <a:lnTo>
                    <a:pt x="350" y="113"/>
                  </a:lnTo>
                  <a:lnTo>
                    <a:pt x="350" y="115"/>
                  </a:lnTo>
                  <a:lnTo>
                    <a:pt x="350" y="120"/>
                  </a:lnTo>
                  <a:lnTo>
                    <a:pt x="350" y="120"/>
                  </a:lnTo>
                  <a:lnTo>
                    <a:pt x="350" y="123"/>
                  </a:lnTo>
                  <a:lnTo>
                    <a:pt x="350" y="125"/>
                  </a:lnTo>
                  <a:lnTo>
                    <a:pt x="349" y="127"/>
                  </a:lnTo>
                  <a:lnTo>
                    <a:pt x="349" y="129"/>
                  </a:lnTo>
                  <a:lnTo>
                    <a:pt x="349" y="134"/>
                  </a:lnTo>
                  <a:lnTo>
                    <a:pt x="349" y="141"/>
                  </a:lnTo>
                  <a:lnTo>
                    <a:pt x="349" y="146"/>
                  </a:lnTo>
                  <a:lnTo>
                    <a:pt x="349" y="148"/>
                  </a:lnTo>
                  <a:lnTo>
                    <a:pt x="350" y="149"/>
                  </a:lnTo>
                  <a:lnTo>
                    <a:pt x="349" y="149"/>
                  </a:lnTo>
                  <a:lnTo>
                    <a:pt x="349" y="151"/>
                  </a:lnTo>
                  <a:lnTo>
                    <a:pt x="349" y="153"/>
                  </a:lnTo>
                  <a:lnTo>
                    <a:pt x="349" y="158"/>
                  </a:lnTo>
                  <a:lnTo>
                    <a:pt x="349" y="160"/>
                  </a:lnTo>
                  <a:lnTo>
                    <a:pt x="349" y="166"/>
                  </a:lnTo>
                  <a:lnTo>
                    <a:pt x="349" y="168"/>
                  </a:lnTo>
                  <a:lnTo>
                    <a:pt x="349" y="170"/>
                  </a:lnTo>
                  <a:lnTo>
                    <a:pt x="349" y="172"/>
                  </a:lnTo>
                  <a:lnTo>
                    <a:pt x="349" y="173"/>
                  </a:lnTo>
                  <a:lnTo>
                    <a:pt x="349" y="175"/>
                  </a:lnTo>
                  <a:lnTo>
                    <a:pt x="349" y="180"/>
                  </a:lnTo>
                  <a:lnTo>
                    <a:pt x="349" y="182"/>
                  </a:lnTo>
                  <a:lnTo>
                    <a:pt x="349" y="187"/>
                  </a:lnTo>
                  <a:lnTo>
                    <a:pt x="349" y="192"/>
                  </a:lnTo>
                  <a:lnTo>
                    <a:pt x="347" y="201"/>
                  </a:lnTo>
                  <a:lnTo>
                    <a:pt x="347" y="208"/>
                  </a:lnTo>
                  <a:lnTo>
                    <a:pt x="347" y="213"/>
                  </a:lnTo>
                  <a:lnTo>
                    <a:pt x="347" y="222"/>
                  </a:lnTo>
                  <a:lnTo>
                    <a:pt x="347" y="223"/>
                  </a:lnTo>
                  <a:lnTo>
                    <a:pt x="347" y="225"/>
                  </a:lnTo>
                  <a:lnTo>
                    <a:pt x="347" y="227"/>
                  </a:lnTo>
                  <a:lnTo>
                    <a:pt x="347" y="230"/>
                  </a:lnTo>
                  <a:lnTo>
                    <a:pt x="347" y="235"/>
                  </a:lnTo>
                  <a:lnTo>
                    <a:pt x="347" y="240"/>
                  </a:lnTo>
                  <a:lnTo>
                    <a:pt x="347" y="244"/>
                  </a:lnTo>
                  <a:lnTo>
                    <a:pt x="347" y="256"/>
                  </a:lnTo>
                  <a:lnTo>
                    <a:pt x="347" y="258"/>
                  </a:lnTo>
                  <a:lnTo>
                    <a:pt x="347" y="261"/>
                  </a:lnTo>
                  <a:lnTo>
                    <a:pt x="347" y="263"/>
                  </a:lnTo>
                  <a:lnTo>
                    <a:pt x="347" y="265"/>
                  </a:lnTo>
                  <a:lnTo>
                    <a:pt x="345" y="270"/>
                  </a:lnTo>
                  <a:lnTo>
                    <a:pt x="345" y="273"/>
                  </a:lnTo>
                  <a:lnTo>
                    <a:pt x="345" y="278"/>
                  </a:lnTo>
                  <a:lnTo>
                    <a:pt x="345" y="280"/>
                  </a:lnTo>
                  <a:lnTo>
                    <a:pt x="345" y="282"/>
                  </a:lnTo>
                  <a:lnTo>
                    <a:pt x="345" y="283"/>
                  </a:lnTo>
                  <a:lnTo>
                    <a:pt x="345" y="289"/>
                  </a:lnTo>
                  <a:lnTo>
                    <a:pt x="345" y="297"/>
                  </a:lnTo>
                  <a:lnTo>
                    <a:pt x="340" y="296"/>
                  </a:lnTo>
                  <a:lnTo>
                    <a:pt x="331" y="292"/>
                  </a:lnTo>
                  <a:lnTo>
                    <a:pt x="325" y="290"/>
                  </a:lnTo>
                  <a:lnTo>
                    <a:pt x="319" y="287"/>
                  </a:lnTo>
                  <a:lnTo>
                    <a:pt x="318" y="287"/>
                  </a:lnTo>
                  <a:lnTo>
                    <a:pt x="311" y="285"/>
                  </a:lnTo>
                  <a:lnTo>
                    <a:pt x="311" y="285"/>
                  </a:lnTo>
                  <a:lnTo>
                    <a:pt x="307" y="285"/>
                  </a:lnTo>
                  <a:lnTo>
                    <a:pt x="307" y="283"/>
                  </a:lnTo>
                  <a:lnTo>
                    <a:pt x="301" y="282"/>
                  </a:lnTo>
                  <a:lnTo>
                    <a:pt x="297" y="280"/>
                  </a:lnTo>
                  <a:lnTo>
                    <a:pt x="295" y="280"/>
                  </a:lnTo>
                  <a:lnTo>
                    <a:pt x="295" y="283"/>
                  </a:lnTo>
                  <a:lnTo>
                    <a:pt x="294" y="287"/>
                  </a:lnTo>
                  <a:lnTo>
                    <a:pt x="287" y="301"/>
                  </a:lnTo>
                  <a:lnTo>
                    <a:pt x="283" y="313"/>
                  </a:lnTo>
                  <a:lnTo>
                    <a:pt x="280" y="318"/>
                  </a:lnTo>
                  <a:lnTo>
                    <a:pt x="280" y="321"/>
                  </a:lnTo>
                  <a:lnTo>
                    <a:pt x="278" y="330"/>
                  </a:lnTo>
                  <a:lnTo>
                    <a:pt x="273" y="339"/>
                  </a:lnTo>
                  <a:lnTo>
                    <a:pt x="273" y="342"/>
                  </a:lnTo>
                  <a:lnTo>
                    <a:pt x="271" y="344"/>
                  </a:lnTo>
                  <a:lnTo>
                    <a:pt x="271" y="345"/>
                  </a:lnTo>
                  <a:lnTo>
                    <a:pt x="268" y="351"/>
                  </a:lnTo>
                  <a:lnTo>
                    <a:pt x="268" y="352"/>
                  </a:lnTo>
                  <a:lnTo>
                    <a:pt x="264" y="359"/>
                  </a:lnTo>
                  <a:lnTo>
                    <a:pt x="264" y="361"/>
                  </a:lnTo>
                  <a:lnTo>
                    <a:pt x="264" y="361"/>
                  </a:lnTo>
                  <a:lnTo>
                    <a:pt x="264" y="363"/>
                  </a:lnTo>
                  <a:lnTo>
                    <a:pt x="264" y="364"/>
                  </a:lnTo>
                  <a:lnTo>
                    <a:pt x="263" y="364"/>
                  </a:lnTo>
                  <a:lnTo>
                    <a:pt x="263" y="366"/>
                  </a:lnTo>
                  <a:lnTo>
                    <a:pt x="263" y="368"/>
                  </a:lnTo>
                  <a:lnTo>
                    <a:pt x="261" y="369"/>
                  </a:lnTo>
                  <a:lnTo>
                    <a:pt x="261" y="371"/>
                  </a:lnTo>
                  <a:lnTo>
                    <a:pt x="261" y="369"/>
                  </a:lnTo>
                  <a:lnTo>
                    <a:pt x="261" y="368"/>
                  </a:lnTo>
                  <a:lnTo>
                    <a:pt x="261" y="366"/>
                  </a:lnTo>
                  <a:lnTo>
                    <a:pt x="261" y="364"/>
                  </a:lnTo>
                  <a:lnTo>
                    <a:pt x="259" y="364"/>
                  </a:lnTo>
                  <a:lnTo>
                    <a:pt x="259" y="363"/>
                  </a:lnTo>
                  <a:lnTo>
                    <a:pt x="258" y="363"/>
                  </a:lnTo>
                  <a:lnTo>
                    <a:pt x="256" y="363"/>
                  </a:lnTo>
                  <a:lnTo>
                    <a:pt x="254" y="361"/>
                  </a:lnTo>
                  <a:lnTo>
                    <a:pt x="252" y="361"/>
                  </a:lnTo>
                  <a:lnTo>
                    <a:pt x="251" y="363"/>
                  </a:lnTo>
                  <a:lnTo>
                    <a:pt x="249" y="363"/>
                  </a:lnTo>
                  <a:lnTo>
                    <a:pt x="249" y="363"/>
                  </a:lnTo>
                  <a:lnTo>
                    <a:pt x="247" y="364"/>
                  </a:lnTo>
                  <a:lnTo>
                    <a:pt x="245" y="366"/>
                  </a:lnTo>
                  <a:lnTo>
                    <a:pt x="244" y="368"/>
                  </a:lnTo>
                  <a:lnTo>
                    <a:pt x="240" y="371"/>
                  </a:lnTo>
                  <a:lnTo>
                    <a:pt x="239" y="371"/>
                  </a:lnTo>
                  <a:lnTo>
                    <a:pt x="237" y="373"/>
                  </a:lnTo>
                  <a:lnTo>
                    <a:pt x="235" y="373"/>
                  </a:lnTo>
                  <a:lnTo>
                    <a:pt x="233" y="375"/>
                  </a:lnTo>
                  <a:lnTo>
                    <a:pt x="232" y="375"/>
                  </a:lnTo>
                  <a:lnTo>
                    <a:pt x="230" y="375"/>
                  </a:lnTo>
                  <a:lnTo>
                    <a:pt x="228" y="373"/>
                  </a:lnTo>
                  <a:lnTo>
                    <a:pt x="227" y="373"/>
                  </a:lnTo>
                  <a:lnTo>
                    <a:pt x="225" y="373"/>
                  </a:lnTo>
                  <a:lnTo>
                    <a:pt x="221" y="373"/>
                  </a:lnTo>
                  <a:lnTo>
                    <a:pt x="220" y="373"/>
                  </a:lnTo>
                  <a:lnTo>
                    <a:pt x="220" y="371"/>
                  </a:lnTo>
                  <a:lnTo>
                    <a:pt x="218" y="371"/>
                  </a:lnTo>
                  <a:lnTo>
                    <a:pt x="216" y="371"/>
                  </a:lnTo>
                  <a:lnTo>
                    <a:pt x="215" y="369"/>
                  </a:lnTo>
                  <a:lnTo>
                    <a:pt x="213" y="369"/>
                  </a:lnTo>
                  <a:lnTo>
                    <a:pt x="211" y="368"/>
                  </a:lnTo>
                  <a:lnTo>
                    <a:pt x="209" y="368"/>
                  </a:lnTo>
                  <a:lnTo>
                    <a:pt x="209" y="366"/>
                  </a:lnTo>
                  <a:lnTo>
                    <a:pt x="208" y="364"/>
                  </a:lnTo>
                  <a:lnTo>
                    <a:pt x="208" y="363"/>
                  </a:lnTo>
                  <a:lnTo>
                    <a:pt x="208" y="361"/>
                  </a:lnTo>
                  <a:lnTo>
                    <a:pt x="208" y="361"/>
                  </a:lnTo>
                  <a:lnTo>
                    <a:pt x="208" y="359"/>
                  </a:lnTo>
                  <a:lnTo>
                    <a:pt x="209" y="359"/>
                  </a:lnTo>
                  <a:lnTo>
                    <a:pt x="209" y="357"/>
                  </a:lnTo>
                  <a:lnTo>
                    <a:pt x="211" y="357"/>
                  </a:lnTo>
                  <a:lnTo>
                    <a:pt x="213" y="356"/>
                  </a:lnTo>
                  <a:lnTo>
                    <a:pt x="215" y="356"/>
                  </a:lnTo>
                  <a:lnTo>
                    <a:pt x="215" y="354"/>
                  </a:lnTo>
                  <a:lnTo>
                    <a:pt x="216" y="354"/>
                  </a:lnTo>
                  <a:lnTo>
                    <a:pt x="218" y="352"/>
                  </a:lnTo>
                  <a:lnTo>
                    <a:pt x="220" y="352"/>
                  </a:lnTo>
                  <a:lnTo>
                    <a:pt x="220" y="351"/>
                  </a:lnTo>
                  <a:lnTo>
                    <a:pt x="220" y="351"/>
                  </a:lnTo>
                  <a:lnTo>
                    <a:pt x="220" y="349"/>
                  </a:lnTo>
                  <a:lnTo>
                    <a:pt x="220" y="347"/>
                  </a:lnTo>
                  <a:lnTo>
                    <a:pt x="220" y="345"/>
                  </a:lnTo>
                  <a:lnTo>
                    <a:pt x="220" y="345"/>
                  </a:lnTo>
                  <a:lnTo>
                    <a:pt x="220" y="344"/>
                  </a:lnTo>
                  <a:lnTo>
                    <a:pt x="218" y="342"/>
                  </a:lnTo>
                  <a:lnTo>
                    <a:pt x="215" y="342"/>
                  </a:lnTo>
                  <a:lnTo>
                    <a:pt x="211" y="340"/>
                  </a:lnTo>
                  <a:lnTo>
                    <a:pt x="209" y="340"/>
                  </a:lnTo>
                  <a:lnTo>
                    <a:pt x="206" y="339"/>
                  </a:lnTo>
                  <a:lnTo>
                    <a:pt x="204" y="337"/>
                  </a:lnTo>
                  <a:lnTo>
                    <a:pt x="202" y="337"/>
                  </a:lnTo>
                  <a:lnTo>
                    <a:pt x="201" y="335"/>
                  </a:lnTo>
                  <a:lnTo>
                    <a:pt x="199" y="333"/>
                  </a:lnTo>
                  <a:lnTo>
                    <a:pt x="197" y="332"/>
                  </a:lnTo>
                  <a:lnTo>
                    <a:pt x="196" y="330"/>
                  </a:lnTo>
                  <a:lnTo>
                    <a:pt x="196" y="330"/>
                  </a:lnTo>
                  <a:lnTo>
                    <a:pt x="196" y="328"/>
                  </a:lnTo>
                  <a:lnTo>
                    <a:pt x="196" y="325"/>
                  </a:lnTo>
                  <a:lnTo>
                    <a:pt x="196" y="321"/>
                  </a:lnTo>
                  <a:lnTo>
                    <a:pt x="196" y="320"/>
                  </a:lnTo>
                  <a:lnTo>
                    <a:pt x="197" y="318"/>
                  </a:lnTo>
                  <a:lnTo>
                    <a:pt x="199" y="316"/>
                  </a:lnTo>
                  <a:lnTo>
                    <a:pt x="199" y="314"/>
                  </a:lnTo>
                  <a:lnTo>
                    <a:pt x="199" y="311"/>
                  </a:lnTo>
                  <a:lnTo>
                    <a:pt x="197" y="308"/>
                  </a:lnTo>
                  <a:lnTo>
                    <a:pt x="196" y="306"/>
                  </a:lnTo>
                  <a:lnTo>
                    <a:pt x="196" y="304"/>
                  </a:lnTo>
                  <a:lnTo>
                    <a:pt x="194" y="304"/>
                  </a:lnTo>
                  <a:lnTo>
                    <a:pt x="194" y="302"/>
                  </a:lnTo>
                  <a:lnTo>
                    <a:pt x="192" y="302"/>
                  </a:lnTo>
                  <a:lnTo>
                    <a:pt x="189" y="301"/>
                  </a:lnTo>
                  <a:lnTo>
                    <a:pt x="189" y="301"/>
                  </a:lnTo>
                  <a:lnTo>
                    <a:pt x="185" y="301"/>
                  </a:lnTo>
                  <a:lnTo>
                    <a:pt x="173" y="302"/>
                  </a:lnTo>
                  <a:lnTo>
                    <a:pt x="172" y="302"/>
                  </a:lnTo>
                  <a:lnTo>
                    <a:pt x="168" y="302"/>
                  </a:lnTo>
                  <a:lnTo>
                    <a:pt x="166" y="302"/>
                  </a:lnTo>
                  <a:lnTo>
                    <a:pt x="165" y="302"/>
                  </a:lnTo>
                  <a:lnTo>
                    <a:pt x="163" y="302"/>
                  </a:lnTo>
                  <a:lnTo>
                    <a:pt x="161" y="302"/>
                  </a:lnTo>
                  <a:lnTo>
                    <a:pt x="159" y="302"/>
                  </a:lnTo>
                  <a:lnTo>
                    <a:pt x="156" y="302"/>
                  </a:lnTo>
                  <a:lnTo>
                    <a:pt x="154" y="302"/>
                  </a:lnTo>
                  <a:lnTo>
                    <a:pt x="153" y="302"/>
                  </a:lnTo>
                  <a:lnTo>
                    <a:pt x="151" y="301"/>
                  </a:lnTo>
                  <a:lnTo>
                    <a:pt x="147" y="301"/>
                  </a:lnTo>
                  <a:lnTo>
                    <a:pt x="144" y="301"/>
                  </a:lnTo>
                  <a:lnTo>
                    <a:pt x="144" y="301"/>
                  </a:lnTo>
                  <a:lnTo>
                    <a:pt x="142" y="299"/>
                  </a:lnTo>
                  <a:lnTo>
                    <a:pt x="141" y="297"/>
                  </a:lnTo>
                  <a:lnTo>
                    <a:pt x="137" y="296"/>
                  </a:lnTo>
                  <a:lnTo>
                    <a:pt x="134" y="294"/>
                  </a:lnTo>
                  <a:lnTo>
                    <a:pt x="130" y="292"/>
                  </a:lnTo>
                  <a:lnTo>
                    <a:pt x="129" y="289"/>
                  </a:lnTo>
                  <a:lnTo>
                    <a:pt x="129" y="287"/>
                  </a:lnTo>
                  <a:lnTo>
                    <a:pt x="127" y="285"/>
                  </a:lnTo>
                  <a:lnTo>
                    <a:pt x="127" y="285"/>
                  </a:lnTo>
                  <a:lnTo>
                    <a:pt x="125" y="283"/>
                  </a:lnTo>
                  <a:lnTo>
                    <a:pt x="125" y="282"/>
                  </a:lnTo>
                  <a:lnTo>
                    <a:pt x="125" y="280"/>
                  </a:lnTo>
                  <a:lnTo>
                    <a:pt x="125" y="277"/>
                  </a:lnTo>
                  <a:lnTo>
                    <a:pt x="125" y="275"/>
                  </a:lnTo>
                  <a:lnTo>
                    <a:pt x="125" y="271"/>
                  </a:lnTo>
                  <a:lnTo>
                    <a:pt x="125" y="270"/>
                  </a:lnTo>
                  <a:lnTo>
                    <a:pt x="125" y="268"/>
                  </a:lnTo>
                  <a:lnTo>
                    <a:pt x="125" y="266"/>
                  </a:lnTo>
                  <a:lnTo>
                    <a:pt x="125" y="263"/>
                  </a:lnTo>
                  <a:lnTo>
                    <a:pt x="123" y="261"/>
                  </a:lnTo>
                  <a:lnTo>
                    <a:pt x="123" y="259"/>
                  </a:lnTo>
                  <a:lnTo>
                    <a:pt x="122" y="258"/>
                  </a:lnTo>
                  <a:lnTo>
                    <a:pt x="122" y="256"/>
                  </a:lnTo>
                  <a:lnTo>
                    <a:pt x="120" y="256"/>
                  </a:lnTo>
                  <a:lnTo>
                    <a:pt x="120" y="254"/>
                  </a:lnTo>
                  <a:lnTo>
                    <a:pt x="118" y="253"/>
                  </a:lnTo>
                  <a:lnTo>
                    <a:pt x="116" y="253"/>
                  </a:lnTo>
                  <a:lnTo>
                    <a:pt x="115" y="251"/>
                  </a:lnTo>
                  <a:lnTo>
                    <a:pt x="115" y="251"/>
                  </a:lnTo>
                  <a:lnTo>
                    <a:pt x="113" y="249"/>
                  </a:lnTo>
                  <a:lnTo>
                    <a:pt x="110" y="249"/>
                  </a:lnTo>
                  <a:lnTo>
                    <a:pt x="108" y="249"/>
                  </a:lnTo>
                  <a:lnTo>
                    <a:pt x="106" y="249"/>
                  </a:lnTo>
                  <a:lnTo>
                    <a:pt x="104" y="247"/>
                  </a:lnTo>
                  <a:lnTo>
                    <a:pt x="103" y="247"/>
                  </a:lnTo>
                  <a:lnTo>
                    <a:pt x="103" y="246"/>
                  </a:lnTo>
                  <a:lnTo>
                    <a:pt x="101" y="246"/>
                  </a:lnTo>
                  <a:lnTo>
                    <a:pt x="101" y="244"/>
                  </a:lnTo>
                  <a:lnTo>
                    <a:pt x="101" y="240"/>
                  </a:lnTo>
                  <a:lnTo>
                    <a:pt x="99" y="237"/>
                  </a:lnTo>
                  <a:lnTo>
                    <a:pt x="99" y="235"/>
                  </a:lnTo>
                  <a:lnTo>
                    <a:pt x="99" y="234"/>
                  </a:lnTo>
                  <a:lnTo>
                    <a:pt x="99" y="232"/>
                  </a:lnTo>
                  <a:lnTo>
                    <a:pt x="99" y="230"/>
                  </a:lnTo>
                  <a:lnTo>
                    <a:pt x="101" y="230"/>
                  </a:lnTo>
                  <a:lnTo>
                    <a:pt x="101" y="228"/>
                  </a:lnTo>
                  <a:lnTo>
                    <a:pt x="101" y="227"/>
                  </a:lnTo>
                  <a:lnTo>
                    <a:pt x="101" y="225"/>
                  </a:lnTo>
                  <a:lnTo>
                    <a:pt x="99" y="225"/>
                  </a:lnTo>
                  <a:lnTo>
                    <a:pt x="99" y="223"/>
                  </a:lnTo>
                  <a:lnTo>
                    <a:pt x="99" y="223"/>
                  </a:lnTo>
                  <a:lnTo>
                    <a:pt x="98" y="223"/>
                  </a:lnTo>
                  <a:lnTo>
                    <a:pt x="98" y="222"/>
                  </a:lnTo>
                  <a:lnTo>
                    <a:pt x="96" y="222"/>
                  </a:lnTo>
                  <a:lnTo>
                    <a:pt x="92" y="222"/>
                  </a:lnTo>
                  <a:lnTo>
                    <a:pt x="87" y="218"/>
                  </a:lnTo>
                  <a:lnTo>
                    <a:pt x="86" y="218"/>
                  </a:lnTo>
                  <a:lnTo>
                    <a:pt x="84" y="220"/>
                  </a:lnTo>
                  <a:lnTo>
                    <a:pt x="84" y="220"/>
                  </a:lnTo>
                  <a:lnTo>
                    <a:pt x="82" y="222"/>
                  </a:lnTo>
                  <a:lnTo>
                    <a:pt x="80" y="222"/>
                  </a:lnTo>
                  <a:lnTo>
                    <a:pt x="79" y="220"/>
                  </a:lnTo>
                  <a:lnTo>
                    <a:pt x="77" y="218"/>
                  </a:lnTo>
                  <a:lnTo>
                    <a:pt x="77" y="216"/>
                  </a:lnTo>
                  <a:lnTo>
                    <a:pt x="77" y="215"/>
                  </a:lnTo>
                  <a:lnTo>
                    <a:pt x="75" y="215"/>
                  </a:lnTo>
                  <a:lnTo>
                    <a:pt x="75" y="213"/>
                  </a:lnTo>
                  <a:lnTo>
                    <a:pt x="75" y="211"/>
                  </a:lnTo>
                  <a:lnTo>
                    <a:pt x="73" y="211"/>
                  </a:lnTo>
                  <a:lnTo>
                    <a:pt x="73" y="209"/>
                  </a:lnTo>
                  <a:lnTo>
                    <a:pt x="72" y="209"/>
                  </a:lnTo>
                  <a:lnTo>
                    <a:pt x="70" y="209"/>
                  </a:lnTo>
                  <a:lnTo>
                    <a:pt x="68" y="209"/>
                  </a:lnTo>
                  <a:lnTo>
                    <a:pt x="68" y="211"/>
                  </a:lnTo>
                  <a:lnTo>
                    <a:pt x="65" y="211"/>
                  </a:lnTo>
                  <a:lnTo>
                    <a:pt x="60" y="211"/>
                  </a:lnTo>
                  <a:lnTo>
                    <a:pt x="58" y="209"/>
                  </a:lnTo>
                  <a:lnTo>
                    <a:pt x="56" y="209"/>
                  </a:lnTo>
                  <a:lnTo>
                    <a:pt x="55" y="209"/>
                  </a:lnTo>
                  <a:lnTo>
                    <a:pt x="53" y="209"/>
                  </a:lnTo>
                  <a:lnTo>
                    <a:pt x="53" y="208"/>
                  </a:lnTo>
                  <a:lnTo>
                    <a:pt x="51" y="206"/>
                  </a:lnTo>
                  <a:lnTo>
                    <a:pt x="49" y="206"/>
                  </a:lnTo>
                  <a:lnTo>
                    <a:pt x="48" y="206"/>
                  </a:lnTo>
                  <a:lnTo>
                    <a:pt x="48" y="208"/>
                  </a:lnTo>
                  <a:lnTo>
                    <a:pt x="49" y="208"/>
                  </a:lnTo>
                  <a:lnTo>
                    <a:pt x="53" y="209"/>
                  </a:lnTo>
                  <a:lnTo>
                    <a:pt x="53" y="209"/>
                  </a:lnTo>
                  <a:lnTo>
                    <a:pt x="51" y="211"/>
                  </a:lnTo>
                  <a:lnTo>
                    <a:pt x="49" y="213"/>
                  </a:lnTo>
                  <a:lnTo>
                    <a:pt x="48" y="213"/>
                  </a:lnTo>
                  <a:lnTo>
                    <a:pt x="46" y="213"/>
                  </a:lnTo>
                  <a:lnTo>
                    <a:pt x="44" y="213"/>
                  </a:lnTo>
                  <a:lnTo>
                    <a:pt x="43" y="213"/>
                  </a:lnTo>
                  <a:lnTo>
                    <a:pt x="43" y="211"/>
                  </a:lnTo>
                  <a:lnTo>
                    <a:pt x="44" y="211"/>
                  </a:lnTo>
                  <a:lnTo>
                    <a:pt x="44" y="209"/>
                  </a:lnTo>
                  <a:lnTo>
                    <a:pt x="44" y="209"/>
                  </a:lnTo>
                  <a:lnTo>
                    <a:pt x="44" y="208"/>
                  </a:lnTo>
                  <a:lnTo>
                    <a:pt x="44" y="206"/>
                  </a:lnTo>
                  <a:lnTo>
                    <a:pt x="44" y="204"/>
                  </a:lnTo>
                  <a:lnTo>
                    <a:pt x="43" y="204"/>
                  </a:lnTo>
                  <a:lnTo>
                    <a:pt x="41" y="203"/>
                  </a:lnTo>
                  <a:lnTo>
                    <a:pt x="39" y="203"/>
                  </a:lnTo>
                  <a:lnTo>
                    <a:pt x="39" y="204"/>
                  </a:lnTo>
                  <a:lnTo>
                    <a:pt x="39" y="204"/>
                  </a:lnTo>
                  <a:lnTo>
                    <a:pt x="39" y="206"/>
                  </a:lnTo>
                  <a:lnTo>
                    <a:pt x="39" y="208"/>
                  </a:lnTo>
                  <a:lnTo>
                    <a:pt x="39" y="208"/>
                  </a:lnTo>
                  <a:lnTo>
                    <a:pt x="41" y="209"/>
                  </a:lnTo>
                  <a:lnTo>
                    <a:pt x="41" y="209"/>
                  </a:lnTo>
                  <a:lnTo>
                    <a:pt x="41" y="211"/>
                  </a:lnTo>
                  <a:lnTo>
                    <a:pt x="41" y="213"/>
                  </a:lnTo>
                  <a:lnTo>
                    <a:pt x="39" y="213"/>
                  </a:lnTo>
                  <a:lnTo>
                    <a:pt x="39" y="211"/>
                  </a:lnTo>
                  <a:lnTo>
                    <a:pt x="37" y="209"/>
                  </a:lnTo>
                  <a:lnTo>
                    <a:pt x="36" y="209"/>
                  </a:lnTo>
                  <a:lnTo>
                    <a:pt x="34" y="209"/>
                  </a:lnTo>
                  <a:lnTo>
                    <a:pt x="34" y="208"/>
                  </a:lnTo>
                  <a:lnTo>
                    <a:pt x="34" y="206"/>
                  </a:lnTo>
                  <a:lnTo>
                    <a:pt x="34" y="204"/>
                  </a:lnTo>
                  <a:lnTo>
                    <a:pt x="36" y="203"/>
                  </a:lnTo>
                  <a:lnTo>
                    <a:pt x="34" y="201"/>
                  </a:lnTo>
                  <a:lnTo>
                    <a:pt x="34" y="199"/>
                  </a:lnTo>
                  <a:lnTo>
                    <a:pt x="36" y="199"/>
                  </a:lnTo>
                  <a:lnTo>
                    <a:pt x="37" y="199"/>
                  </a:lnTo>
                  <a:lnTo>
                    <a:pt x="39" y="199"/>
                  </a:lnTo>
                  <a:lnTo>
                    <a:pt x="39" y="197"/>
                  </a:lnTo>
                  <a:lnTo>
                    <a:pt x="39" y="196"/>
                  </a:lnTo>
                  <a:lnTo>
                    <a:pt x="39" y="196"/>
                  </a:lnTo>
                  <a:lnTo>
                    <a:pt x="39" y="194"/>
                  </a:lnTo>
                  <a:lnTo>
                    <a:pt x="37" y="192"/>
                  </a:lnTo>
                  <a:lnTo>
                    <a:pt x="37" y="191"/>
                  </a:lnTo>
                  <a:lnTo>
                    <a:pt x="37" y="189"/>
                  </a:lnTo>
                  <a:lnTo>
                    <a:pt x="39" y="187"/>
                  </a:lnTo>
                  <a:lnTo>
                    <a:pt x="39" y="185"/>
                  </a:lnTo>
                  <a:lnTo>
                    <a:pt x="39" y="184"/>
                  </a:lnTo>
                  <a:lnTo>
                    <a:pt x="39" y="182"/>
                  </a:lnTo>
                  <a:lnTo>
                    <a:pt x="37" y="180"/>
                  </a:lnTo>
                  <a:lnTo>
                    <a:pt x="36" y="180"/>
                  </a:lnTo>
                  <a:lnTo>
                    <a:pt x="36" y="180"/>
                  </a:lnTo>
                  <a:lnTo>
                    <a:pt x="34" y="180"/>
                  </a:lnTo>
                  <a:lnTo>
                    <a:pt x="32" y="180"/>
                  </a:lnTo>
                  <a:lnTo>
                    <a:pt x="30" y="180"/>
                  </a:lnTo>
                  <a:lnTo>
                    <a:pt x="29" y="180"/>
                  </a:lnTo>
                  <a:lnTo>
                    <a:pt x="27" y="182"/>
                  </a:lnTo>
                  <a:lnTo>
                    <a:pt x="27" y="184"/>
                  </a:lnTo>
                  <a:lnTo>
                    <a:pt x="29" y="184"/>
                  </a:lnTo>
                  <a:lnTo>
                    <a:pt x="29" y="185"/>
                  </a:lnTo>
                  <a:lnTo>
                    <a:pt x="29" y="187"/>
                  </a:lnTo>
                  <a:lnTo>
                    <a:pt x="27" y="187"/>
                  </a:lnTo>
                  <a:lnTo>
                    <a:pt x="25" y="187"/>
                  </a:lnTo>
                  <a:lnTo>
                    <a:pt x="25" y="189"/>
                  </a:lnTo>
                  <a:lnTo>
                    <a:pt x="25" y="191"/>
                  </a:lnTo>
                  <a:lnTo>
                    <a:pt x="24" y="192"/>
                  </a:lnTo>
                  <a:lnTo>
                    <a:pt x="24" y="192"/>
                  </a:lnTo>
                  <a:lnTo>
                    <a:pt x="24" y="194"/>
                  </a:lnTo>
                  <a:lnTo>
                    <a:pt x="24" y="194"/>
                  </a:lnTo>
                  <a:lnTo>
                    <a:pt x="24" y="196"/>
                  </a:lnTo>
                  <a:lnTo>
                    <a:pt x="24" y="196"/>
                  </a:lnTo>
                  <a:lnTo>
                    <a:pt x="24" y="197"/>
                  </a:lnTo>
                  <a:lnTo>
                    <a:pt x="24" y="199"/>
                  </a:lnTo>
                  <a:lnTo>
                    <a:pt x="24" y="201"/>
                  </a:lnTo>
                  <a:lnTo>
                    <a:pt x="24" y="203"/>
                  </a:lnTo>
                  <a:lnTo>
                    <a:pt x="24" y="203"/>
                  </a:lnTo>
                  <a:lnTo>
                    <a:pt x="24" y="204"/>
                  </a:lnTo>
                  <a:lnTo>
                    <a:pt x="22" y="204"/>
                  </a:lnTo>
                  <a:lnTo>
                    <a:pt x="20" y="203"/>
                  </a:lnTo>
                  <a:lnTo>
                    <a:pt x="18" y="201"/>
                  </a:lnTo>
                  <a:lnTo>
                    <a:pt x="20" y="199"/>
                  </a:lnTo>
                  <a:lnTo>
                    <a:pt x="22" y="197"/>
                  </a:lnTo>
                  <a:lnTo>
                    <a:pt x="22" y="196"/>
                  </a:lnTo>
                  <a:lnTo>
                    <a:pt x="22" y="196"/>
                  </a:lnTo>
                  <a:lnTo>
                    <a:pt x="22" y="194"/>
                  </a:lnTo>
                  <a:lnTo>
                    <a:pt x="22" y="192"/>
                  </a:lnTo>
                  <a:lnTo>
                    <a:pt x="22" y="191"/>
                  </a:lnTo>
                  <a:lnTo>
                    <a:pt x="20" y="191"/>
                  </a:lnTo>
                  <a:lnTo>
                    <a:pt x="20" y="189"/>
                  </a:lnTo>
                  <a:lnTo>
                    <a:pt x="18" y="189"/>
                  </a:lnTo>
                  <a:lnTo>
                    <a:pt x="17" y="189"/>
                  </a:lnTo>
                  <a:lnTo>
                    <a:pt x="15" y="189"/>
                  </a:lnTo>
                  <a:lnTo>
                    <a:pt x="15" y="191"/>
                  </a:lnTo>
                  <a:lnTo>
                    <a:pt x="13" y="191"/>
                  </a:lnTo>
                  <a:lnTo>
                    <a:pt x="13" y="192"/>
                  </a:lnTo>
                  <a:lnTo>
                    <a:pt x="12" y="192"/>
                  </a:lnTo>
                  <a:lnTo>
                    <a:pt x="10" y="192"/>
                  </a:lnTo>
                  <a:lnTo>
                    <a:pt x="8" y="194"/>
                  </a:lnTo>
                  <a:lnTo>
                    <a:pt x="8" y="192"/>
                  </a:lnTo>
                  <a:lnTo>
                    <a:pt x="6" y="192"/>
                  </a:lnTo>
                  <a:lnTo>
                    <a:pt x="6" y="191"/>
                  </a:lnTo>
                  <a:lnTo>
                    <a:pt x="6" y="189"/>
                  </a:lnTo>
                  <a:lnTo>
                    <a:pt x="6" y="187"/>
                  </a:lnTo>
                  <a:lnTo>
                    <a:pt x="8" y="185"/>
                  </a:lnTo>
                  <a:lnTo>
                    <a:pt x="8" y="187"/>
                  </a:lnTo>
                  <a:lnTo>
                    <a:pt x="8" y="189"/>
                  </a:lnTo>
                  <a:lnTo>
                    <a:pt x="10" y="189"/>
                  </a:lnTo>
                  <a:lnTo>
                    <a:pt x="10" y="191"/>
                  </a:lnTo>
                  <a:lnTo>
                    <a:pt x="12" y="189"/>
                  </a:lnTo>
                  <a:lnTo>
                    <a:pt x="13" y="189"/>
                  </a:lnTo>
                  <a:lnTo>
                    <a:pt x="13" y="187"/>
                  </a:lnTo>
                  <a:lnTo>
                    <a:pt x="15" y="185"/>
                  </a:lnTo>
                  <a:lnTo>
                    <a:pt x="15" y="182"/>
                  </a:lnTo>
                  <a:lnTo>
                    <a:pt x="13" y="180"/>
                  </a:lnTo>
                  <a:lnTo>
                    <a:pt x="13" y="179"/>
                  </a:lnTo>
                  <a:lnTo>
                    <a:pt x="12" y="179"/>
                  </a:lnTo>
                  <a:lnTo>
                    <a:pt x="12" y="177"/>
                  </a:lnTo>
                  <a:lnTo>
                    <a:pt x="10" y="175"/>
                  </a:lnTo>
                  <a:lnTo>
                    <a:pt x="10" y="173"/>
                  </a:lnTo>
                  <a:lnTo>
                    <a:pt x="8" y="173"/>
                  </a:lnTo>
                  <a:lnTo>
                    <a:pt x="8" y="173"/>
                  </a:lnTo>
                  <a:lnTo>
                    <a:pt x="8" y="172"/>
                  </a:lnTo>
                  <a:lnTo>
                    <a:pt x="6" y="172"/>
                  </a:lnTo>
                  <a:lnTo>
                    <a:pt x="6" y="170"/>
                  </a:lnTo>
                  <a:lnTo>
                    <a:pt x="6" y="168"/>
                  </a:lnTo>
                  <a:lnTo>
                    <a:pt x="6" y="166"/>
                  </a:lnTo>
                  <a:lnTo>
                    <a:pt x="6" y="165"/>
                  </a:lnTo>
                  <a:lnTo>
                    <a:pt x="6" y="165"/>
                  </a:lnTo>
                  <a:lnTo>
                    <a:pt x="6" y="163"/>
                  </a:lnTo>
                  <a:lnTo>
                    <a:pt x="6" y="161"/>
                  </a:lnTo>
                  <a:lnTo>
                    <a:pt x="8" y="161"/>
                  </a:lnTo>
                  <a:lnTo>
                    <a:pt x="8" y="161"/>
                  </a:lnTo>
                  <a:lnTo>
                    <a:pt x="8" y="163"/>
                  </a:lnTo>
                  <a:lnTo>
                    <a:pt x="10" y="163"/>
                  </a:lnTo>
                  <a:lnTo>
                    <a:pt x="12" y="163"/>
                  </a:lnTo>
                  <a:lnTo>
                    <a:pt x="12" y="161"/>
                  </a:lnTo>
                  <a:lnTo>
                    <a:pt x="12" y="160"/>
                  </a:lnTo>
                  <a:lnTo>
                    <a:pt x="12" y="158"/>
                  </a:lnTo>
                  <a:lnTo>
                    <a:pt x="12" y="156"/>
                  </a:lnTo>
                  <a:lnTo>
                    <a:pt x="10" y="156"/>
                  </a:lnTo>
                  <a:lnTo>
                    <a:pt x="8" y="154"/>
                  </a:lnTo>
                  <a:lnTo>
                    <a:pt x="8" y="154"/>
                  </a:lnTo>
                  <a:lnTo>
                    <a:pt x="8" y="153"/>
                  </a:lnTo>
                  <a:lnTo>
                    <a:pt x="8" y="151"/>
                  </a:lnTo>
                  <a:lnTo>
                    <a:pt x="6" y="149"/>
                  </a:lnTo>
                  <a:lnTo>
                    <a:pt x="6" y="149"/>
                  </a:lnTo>
                  <a:lnTo>
                    <a:pt x="6" y="148"/>
                  </a:lnTo>
                  <a:lnTo>
                    <a:pt x="5" y="148"/>
                  </a:lnTo>
                  <a:lnTo>
                    <a:pt x="3" y="146"/>
                  </a:lnTo>
                  <a:lnTo>
                    <a:pt x="3" y="144"/>
                  </a:lnTo>
                  <a:lnTo>
                    <a:pt x="1" y="144"/>
                  </a:lnTo>
                  <a:lnTo>
                    <a:pt x="1" y="142"/>
                  </a:lnTo>
                  <a:lnTo>
                    <a:pt x="3" y="142"/>
                  </a:lnTo>
                  <a:lnTo>
                    <a:pt x="5" y="142"/>
                  </a:lnTo>
                  <a:lnTo>
                    <a:pt x="5" y="141"/>
                  </a:lnTo>
                  <a:lnTo>
                    <a:pt x="6" y="141"/>
                  </a:lnTo>
                  <a:lnTo>
                    <a:pt x="6" y="139"/>
                  </a:lnTo>
                  <a:lnTo>
                    <a:pt x="6" y="137"/>
                  </a:lnTo>
                  <a:lnTo>
                    <a:pt x="6" y="136"/>
                  </a:lnTo>
                  <a:lnTo>
                    <a:pt x="6" y="136"/>
                  </a:lnTo>
                  <a:lnTo>
                    <a:pt x="5" y="136"/>
                  </a:lnTo>
                  <a:lnTo>
                    <a:pt x="3" y="136"/>
                  </a:lnTo>
                  <a:lnTo>
                    <a:pt x="1" y="134"/>
                  </a:lnTo>
                  <a:lnTo>
                    <a:pt x="1" y="132"/>
                  </a:lnTo>
                  <a:lnTo>
                    <a:pt x="1" y="130"/>
                  </a:lnTo>
                  <a:lnTo>
                    <a:pt x="3" y="129"/>
                  </a:lnTo>
                  <a:lnTo>
                    <a:pt x="5" y="129"/>
                  </a:lnTo>
                  <a:lnTo>
                    <a:pt x="6" y="129"/>
                  </a:lnTo>
                  <a:lnTo>
                    <a:pt x="6" y="130"/>
                  </a:lnTo>
                  <a:lnTo>
                    <a:pt x="8" y="130"/>
                  </a:lnTo>
                  <a:lnTo>
                    <a:pt x="8" y="132"/>
                  </a:lnTo>
                  <a:lnTo>
                    <a:pt x="8" y="134"/>
                  </a:lnTo>
                  <a:lnTo>
                    <a:pt x="8" y="134"/>
                  </a:lnTo>
                  <a:lnTo>
                    <a:pt x="8" y="132"/>
                  </a:lnTo>
                  <a:lnTo>
                    <a:pt x="10" y="130"/>
                  </a:lnTo>
                  <a:lnTo>
                    <a:pt x="10" y="129"/>
                  </a:lnTo>
                  <a:lnTo>
                    <a:pt x="12" y="129"/>
                  </a:lnTo>
                  <a:lnTo>
                    <a:pt x="12" y="127"/>
                  </a:lnTo>
                  <a:lnTo>
                    <a:pt x="13" y="127"/>
                  </a:lnTo>
                  <a:lnTo>
                    <a:pt x="15" y="127"/>
                  </a:lnTo>
                  <a:lnTo>
                    <a:pt x="17" y="127"/>
                  </a:lnTo>
                  <a:lnTo>
                    <a:pt x="18" y="127"/>
                  </a:lnTo>
                  <a:lnTo>
                    <a:pt x="20" y="127"/>
                  </a:lnTo>
                  <a:lnTo>
                    <a:pt x="20" y="125"/>
                  </a:lnTo>
                  <a:lnTo>
                    <a:pt x="18" y="125"/>
                  </a:lnTo>
                  <a:lnTo>
                    <a:pt x="18" y="123"/>
                  </a:lnTo>
                  <a:lnTo>
                    <a:pt x="17" y="123"/>
                  </a:lnTo>
                  <a:lnTo>
                    <a:pt x="15" y="125"/>
                  </a:lnTo>
                  <a:lnTo>
                    <a:pt x="13" y="125"/>
                  </a:lnTo>
                  <a:lnTo>
                    <a:pt x="12" y="123"/>
                  </a:lnTo>
                  <a:lnTo>
                    <a:pt x="12" y="122"/>
                  </a:lnTo>
                  <a:lnTo>
                    <a:pt x="12" y="120"/>
                  </a:lnTo>
                  <a:lnTo>
                    <a:pt x="13" y="120"/>
                  </a:lnTo>
                  <a:lnTo>
                    <a:pt x="15" y="120"/>
                  </a:lnTo>
                  <a:lnTo>
                    <a:pt x="15" y="120"/>
                  </a:lnTo>
                  <a:lnTo>
                    <a:pt x="17" y="120"/>
                  </a:lnTo>
                  <a:lnTo>
                    <a:pt x="17" y="118"/>
                  </a:lnTo>
                  <a:lnTo>
                    <a:pt x="17" y="117"/>
                  </a:lnTo>
                  <a:lnTo>
                    <a:pt x="15" y="117"/>
                  </a:lnTo>
                  <a:lnTo>
                    <a:pt x="15" y="115"/>
                  </a:lnTo>
                  <a:lnTo>
                    <a:pt x="13" y="115"/>
                  </a:lnTo>
                  <a:lnTo>
                    <a:pt x="12" y="115"/>
                  </a:lnTo>
                  <a:lnTo>
                    <a:pt x="10" y="115"/>
                  </a:lnTo>
                  <a:lnTo>
                    <a:pt x="10" y="113"/>
                  </a:lnTo>
                  <a:lnTo>
                    <a:pt x="8" y="111"/>
                  </a:lnTo>
                  <a:lnTo>
                    <a:pt x="8" y="110"/>
                  </a:lnTo>
                  <a:lnTo>
                    <a:pt x="10" y="108"/>
                  </a:lnTo>
                  <a:lnTo>
                    <a:pt x="10" y="106"/>
                  </a:lnTo>
                  <a:lnTo>
                    <a:pt x="10" y="105"/>
                  </a:lnTo>
                  <a:lnTo>
                    <a:pt x="12" y="105"/>
                  </a:lnTo>
                  <a:lnTo>
                    <a:pt x="12" y="105"/>
                  </a:lnTo>
                  <a:lnTo>
                    <a:pt x="12" y="103"/>
                  </a:lnTo>
                  <a:lnTo>
                    <a:pt x="10" y="103"/>
                  </a:lnTo>
                  <a:lnTo>
                    <a:pt x="10" y="101"/>
                  </a:lnTo>
                  <a:lnTo>
                    <a:pt x="8" y="101"/>
                  </a:lnTo>
                  <a:lnTo>
                    <a:pt x="8" y="99"/>
                  </a:lnTo>
                  <a:lnTo>
                    <a:pt x="8" y="98"/>
                  </a:lnTo>
                  <a:lnTo>
                    <a:pt x="10" y="98"/>
                  </a:lnTo>
                  <a:lnTo>
                    <a:pt x="10" y="96"/>
                  </a:lnTo>
                  <a:lnTo>
                    <a:pt x="10" y="94"/>
                  </a:lnTo>
                  <a:lnTo>
                    <a:pt x="8" y="93"/>
                  </a:lnTo>
                  <a:lnTo>
                    <a:pt x="8" y="91"/>
                  </a:lnTo>
                  <a:lnTo>
                    <a:pt x="8" y="89"/>
                  </a:lnTo>
                  <a:lnTo>
                    <a:pt x="8" y="89"/>
                  </a:lnTo>
                  <a:lnTo>
                    <a:pt x="8" y="87"/>
                  </a:lnTo>
                  <a:lnTo>
                    <a:pt x="8" y="86"/>
                  </a:lnTo>
                  <a:lnTo>
                    <a:pt x="10" y="86"/>
                  </a:lnTo>
                  <a:lnTo>
                    <a:pt x="10" y="84"/>
                  </a:lnTo>
                  <a:lnTo>
                    <a:pt x="10" y="82"/>
                  </a:lnTo>
                  <a:lnTo>
                    <a:pt x="8" y="80"/>
                  </a:lnTo>
                  <a:lnTo>
                    <a:pt x="8" y="79"/>
                  </a:lnTo>
                  <a:lnTo>
                    <a:pt x="8" y="77"/>
                  </a:lnTo>
                  <a:lnTo>
                    <a:pt x="8" y="75"/>
                  </a:lnTo>
                  <a:lnTo>
                    <a:pt x="6" y="75"/>
                  </a:lnTo>
                  <a:lnTo>
                    <a:pt x="6" y="74"/>
                  </a:lnTo>
                  <a:lnTo>
                    <a:pt x="6" y="72"/>
                  </a:lnTo>
                  <a:lnTo>
                    <a:pt x="6" y="70"/>
                  </a:lnTo>
                  <a:lnTo>
                    <a:pt x="5" y="70"/>
                  </a:lnTo>
                  <a:lnTo>
                    <a:pt x="5" y="68"/>
                  </a:lnTo>
                  <a:lnTo>
                    <a:pt x="5" y="67"/>
                  </a:lnTo>
                  <a:lnTo>
                    <a:pt x="5" y="65"/>
                  </a:lnTo>
                  <a:lnTo>
                    <a:pt x="6" y="65"/>
                  </a:lnTo>
                  <a:lnTo>
                    <a:pt x="8" y="67"/>
                  </a:lnTo>
                  <a:lnTo>
                    <a:pt x="8" y="67"/>
                  </a:lnTo>
                  <a:lnTo>
                    <a:pt x="10" y="67"/>
                  </a:lnTo>
                  <a:lnTo>
                    <a:pt x="10" y="68"/>
                  </a:lnTo>
                  <a:lnTo>
                    <a:pt x="12" y="68"/>
                  </a:lnTo>
                  <a:lnTo>
                    <a:pt x="12" y="67"/>
                  </a:lnTo>
                  <a:lnTo>
                    <a:pt x="13" y="67"/>
                  </a:lnTo>
                  <a:lnTo>
                    <a:pt x="15" y="65"/>
                  </a:lnTo>
                  <a:lnTo>
                    <a:pt x="15" y="63"/>
                  </a:lnTo>
                  <a:lnTo>
                    <a:pt x="15" y="62"/>
                  </a:lnTo>
                  <a:lnTo>
                    <a:pt x="15" y="60"/>
                  </a:lnTo>
                  <a:lnTo>
                    <a:pt x="15" y="60"/>
                  </a:lnTo>
                  <a:lnTo>
                    <a:pt x="13" y="60"/>
                  </a:lnTo>
                  <a:lnTo>
                    <a:pt x="12" y="60"/>
                  </a:lnTo>
                  <a:lnTo>
                    <a:pt x="12" y="58"/>
                  </a:lnTo>
                  <a:lnTo>
                    <a:pt x="10" y="58"/>
                  </a:lnTo>
                  <a:lnTo>
                    <a:pt x="10" y="56"/>
                  </a:lnTo>
                  <a:lnTo>
                    <a:pt x="10" y="55"/>
                  </a:lnTo>
                  <a:lnTo>
                    <a:pt x="8" y="55"/>
                  </a:lnTo>
                  <a:lnTo>
                    <a:pt x="8" y="53"/>
                  </a:lnTo>
                  <a:lnTo>
                    <a:pt x="8" y="51"/>
                  </a:lnTo>
                  <a:lnTo>
                    <a:pt x="8" y="51"/>
                  </a:lnTo>
                  <a:lnTo>
                    <a:pt x="8" y="50"/>
                  </a:lnTo>
                  <a:lnTo>
                    <a:pt x="6" y="50"/>
                  </a:lnTo>
                  <a:lnTo>
                    <a:pt x="6" y="48"/>
                  </a:lnTo>
                  <a:lnTo>
                    <a:pt x="5" y="46"/>
                  </a:lnTo>
                  <a:lnTo>
                    <a:pt x="5" y="44"/>
                  </a:lnTo>
                  <a:lnTo>
                    <a:pt x="3" y="44"/>
                  </a:lnTo>
                  <a:lnTo>
                    <a:pt x="3" y="44"/>
                  </a:lnTo>
                  <a:lnTo>
                    <a:pt x="3" y="43"/>
                  </a:lnTo>
                  <a:lnTo>
                    <a:pt x="1" y="43"/>
                  </a:lnTo>
                  <a:lnTo>
                    <a:pt x="1" y="41"/>
                  </a:lnTo>
                  <a:lnTo>
                    <a:pt x="1" y="39"/>
                  </a:lnTo>
                  <a:lnTo>
                    <a:pt x="3" y="39"/>
                  </a:lnTo>
                  <a:lnTo>
                    <a:pt x="3" y="41"/>
                  </a:lnTo>
                  <a:lnTo>
                    <a:pt x="5" y="41"/>
                  </a:lnTo>
                  <a:lnTo>
                    <a:pt x="5" y="43"/>
                  </a:lnTo>
                  <a:lnTo>
                    <a:pt x="6" y="43"/>
                  </a:lnTo>
                  <a:lnTo>
                    <a:pt x="6" y="44"/>
                  </a:lnTo>
                  <a:lnTo>
                    <a:pt x="8" y="43"/>
                  </a:lnTo>
                  <a:lnTo>
                    <a:pt x="8" y="43"/>
                  </a:lnTo>
                  <a:lnTo>
                    <a:pt x="8" y="41"/>
                  </a:lnTo>
                  <a:lnTo>
                    <a:pt x="8" y="41"/>
                  </a:lnTo>
                  <a:lnTo>
                    <a:pt x="8" y="39"/>
                  </a:lnTo>
                  <a:lnTo>
                    <a:pt x="6" y="37"/>
                  </a:lnTo>
                  <a:lnTo>
                    <a:pt x="5" y="37"/>
                  </a:lnTo>
                  <a:lnTo>
                    <a:pt x="5" y="36"/>
                  </a:lnTo>
                  <a:lnTo>
                    <a:pt x="3" y="36"/>
                  </a:lnTo>
                  <a:lnTo>
                    <a:pt x="3" y="34"/>
                  </a:lnTo>
                  <a:lnTo>
                    <a:pt x="1" y="34"/>
                  </a:lnTo>
                  <a:lnTo>
                    <a:pt x="1" y="32"/>
                  </a:lnTo>
                  <a:lnTo>
                    <a:pt x="1" y="31"/>
                  </a:lnTo>
                  <a:lnTo>
                    <a:pt x="1" y="29"/>
                  </a:lnTo>
                  <a:lnTo>
                    <a:pt x="3" y="29"/>
                  </a:lnTo>
                  <a:lnTo>
                    <a:pt x="3" y="29"/>
                  </a:lnTo>
                  <a:lnTo>
                    <a:pt x="3" y="27"/>
                  </a:lnTo>
                  <a:lnTo>
                    <a:pt x="1" y="27"/>
                  </a:lnTo>
                  <a:lnTo>
                    <a:pt x="1" y="25"/>
                  </a:lnTo>
                  <a:lnTo>
                    <a:pt x="3" y="25"/>
                  </a:lnTo>
                  <a:lnTo>
                    <a:pt x="3" y="24"/>
                  </a:lnTo>
                  <a:lnTo>
                    <a:pt x="5" y="24"/>
                  </a:lnTo>
                  <a:lnTo>
                    <a:pt x="5" y="22"/>
                  </a:lnTo>
                  <a:lnTo>
                    <a:pt x="3" y="22"/>
                  </a:lnTo>
                  <a:lnTo>
                    <a:pt x="3" y="20"/>
                  </a:lnTo>
                  <a:lnTo>
                    <a:pt x="3" y="22"/>
                  </a:lnTo>
                  <a:lnTo>
                    <a:pt x="5" y="22"/>
                  </a:lnTo>
                  <a:lnTo>
                    <a:pt x="5" y="20"/>
                  </a:lnTo>
                  <a:lnTo>
                    <a:pt x="3" y="20"/>
                  </a:lnTo>
                  <a:lnTo>
                    <a:pt x="3" y="19"/>
                  </a:lnTo>
                  <a:lnTo>
                    <a:pt x="1" y="19"/>
                  </a:lnTo>
                  <a:lnTo>
                    <a:pt x="0" y="19"/>
                  </a:lnTo>
                  <a:lnTo>
                    <a:pt x="0" y="17"/>
                  </a:lnTo>
                  <a:lnTo>
                    <a:pt x="1" y="19"/>
                  </a:lnTo>
                  <a:lnTo>
                    <a:pt x="3" y="19"/>
                  </a:lnTo>
                  <a:lnTo>
                    <a:pt x="1" y="19"/>
                  </a:lnTo>
                  <a:lnTo>
                    <a:pt x="1" y="17"/>
                  </a:lnTo>
                  <a:lnTo>
                    <a:pt x="3" y="17"/>
                  </a:lnTo>
                  <a:lnTo>
                    <a:pt x="3" y="15"/>
                  </a:lnTo>
                  <a:lnTo>
                    <a:pt x="5" y="15"/>
                  </a:lnTo>
                  <a:lnTo>
                    <a:pt x="5" y="15"/>
                  </a:lnTo>
                  <a:lnTo>
                    <a:pt x="6" y="13"/>
                  </a:lnTo>
                  <a:lnTo>
                    <a:pt x="8" y="13"/>
                  </a:lnTo>
                  <a:lnTo>
                    <a:pt x="8" y="12"/>
                  </a:lnTo>
                  <a:lnTo>
                    <a:pt x="8" y="13"/>
                  </a:lnTo>
                  <a:lnTo>
                    <a:pt x="8" y="12"/>
                  </a:lnTo>
                  <a:lnTo>
                    <a:pt x="8" y="12"/>
                  </a:lnTo>
                  <a:lnTo>
                    <a:pt x="8" y="10"/>
                  </a:lnTo>
                  <a:lnTo>
                    <a:pt x="8" y="8"/>
                  </a:lnTo>
                  <a:lnTo>
                    <a:pt x="10" y="8"/>
                  </a:lnTo>
                  <a:lnTo>
                    <a:pt x="10" y="10"/>
                  </a:lnTo>
                  <a:lnTo>
                    <a:pt x="10" y="8"/>
                  </a:lnTo>
                  <a:lnTo>
                    <a:pt x="12" y="8"/>
                  </a:lnTo>
                  <a:lnTo>
                    <a:pt x="13" y="8"/>
                  </a:lnTo>
                  <a:lnTo>
                    <a:pt x="13" y="6"/>
                  </a:lnTo>
                  <a:lnTo>
                    <a:pt x="13" y="5"/>
                  </a:lnTo>
                  <a:lnTo>
                    <a:pt x="13" y="6"/>
                  </a:lnTo>
                  <a:lnTo>
                    <a:pt x="12" y="6"/>
                  </a:lnTo>
                  <a:lnTo>
                    <a:pt x="12" y="5"/>
                  </a:lnTo>
                  <a:lnTo>
                    <a:pt x="12" y="3"/>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6" name="Freeform 170"/>
            <p:cNvSpPr>
              <a:spLocks/>
            </p:cNvSpPr>
            <p:nvPr/>
          </p:nvSpPr>
          <p:spPr bwMode="auto">
            <a:xfrm>
              <a:off x="4657021" y="2349294"/>
              <a:ext cx="617538" cy="592138"/>
            </a:xfrm>
            <a:custGeom>
              <a:avLst/>
              <a:gdLst/>
              <a:ahLst/>
              <a:cxnLst>
                <a:cxn ang="0">
                  <a:pos x="248" y="29"/>
                </a:cxn>
                <a:cxn ang="0">
                  <a:pos x="253" y="44"/>
                </a:cxn>
                <a:cxn ang="0">
                  <a:pos x="257" y="62"/>
                </a:cxn>
                <a:cxn ang="0">
                  <a:pos x="279" y="74"/>
                </a:cxn>
                <a:cxn ang="0">
                  <a:pos x="296" y="75"/>
                </a:cxn>
                <a:cxn ang="0">
                  <a:pos x="324" y="77"/>
                </a:cxn>
                <a:cxn ang="0">
                  <a:pos x="324" y="98"/>
                </a:cxn>
                <a:cxn ang="0">
                  <a:pos x="334" y="112"/>
                </a:cxn>
                <a:cxn ang="0">
                  <a:pos x="348" y="122"/>
                </a:cxn>
                <a:cxn ang="0">
                  <a:pos x="339" y="130"/>
                </a:cxn>
                <a:cxn ang="0">
                  <a:pos x="337" y="141"/>
                </a:cxn>
                <a:cxn ang="0">
                  <a:pos x="353" y="146"/>
                </a:cxn>
                <a:cxn ang="0">
                  <a:pos x="368" y="144"/>
                </a:cxn>
                <a:cxn ang="0">
                  <a:pos x="384" y="136"/>
                </a:cxn>
                <a:cxn ang="0">
                  <a:pos x="389" y="146"/>
                </a:cxn>
                <a:cxn ang="0">
                  <a:pos x="384" y="160"/>
                </a:cxn>
                <a:cxn ang="0">
                  <a:pos x="373" y="173"/>
                </a:cxn>
                <a:cxn ang="0">
                  <a:pos x="358" y="185"/>
                </a:cxn>
                <a:cxn ang="0">
                  <a:pos x="355" y="203"/>
                </a:cxn>
                <a:cxn ang="0">
                  <a:pos x="339" y="218"/>
                </a:cxn>
                <a:cxn ang="0">
                  <a:pos x="332" y="232"/>
                </a:cxn>
                <a:cxn ang="0">
                  <a:pos x="353" y="244"/>
                </a:cxn>
                <a:cxn ang="0">
                  <a:pos x="343" y="263"/>
                </a:cxn>
                <a:cxn ang="0">
                  <a:pos x="325" y="280"/>
                </a:cxn>
                <a:cxn ang="0">
                  <a:pos x="300" y="308"/>
                </a:cxn>
                <a:cxn ang="0">
                  <a:pos x="270" y="339"/>
                </a:cxn>
                <a:cxn ang="0">
                  <a:pos x="269" y="368"/>
                </a:cxn>
                <a:cxn ang="0">
                  <a:pos x="243" y="371"/>
                </a:cxn>
                <a:cxn ang="0">
                  <a:pos x="212" y="370"/>
                </a:cxn>
                <a:cxn ang="0">
                  <a:pos x="172" y="368"/>
                </a:cxn>
                <a:cxn ang="0">
                  <a:pos x="138" y="366"/>
                </a:cxn>
                <a:cxn ang="0">
                  <a:pos x="103" y="364"/>
                </a:cxn>
                <a:cxn ang="0">
                  <a:pos x="74" y="363"/>
                </a:cxn>
                <a:cxn ang="0">
                  <a:pos x="40" y="361"/>
                </a:cxn>
                <a:cxn ang="0">
                  <a:pos x="0" y="347"/>
                </a:cxn>
                <a:cxn ang="0">
                  <a:pos x="2" y="330"/>
                </a:cxn>
                <a:cxn ang="0">
                  <a:pos x="4" y="294"/>
                </a:cxn>
                <a:cxn ang="0">
                  <a:pos x="5" y="239"/>
                </a:cxn>
                <a:cxn ang="0">
                  <a:pos x="7" y="222"/>
                </a:cxn>
                <a:cxn ang="0">
                  <a:pos x="9" y="196"/>
                </a:cxn>
                <a:cxn ang="0">
                  <a:pos x="11" y="148"/>
                </a:cxn>
                <a:cxn ang="0">
                  <a:pos x="16" y="91"/>
                </a:cxn>
                <a:cxn ang="0">
                  <a:pos x="28" y="99"/>
                </a:cxn>
                <a:cxn ang="0">
                  <a:pos x="31" y="110"/>
                </a:cxn>
                <a:cxn ang="0">
                  <a:pos x="47" y="110"/>
                </a:cxn>
                <a:cxn ang="0">
                  <a:pos x="59" y="118"/>
                </a:cxn>
                <a:cxn ang="0">
                  <a:pos x="52" y="137"/>
                </a:cxn>
                <a:cxn ang="0">
                  <a:pos x="76" y="137"/>
                </a:cxn>
                <a:cxn ang="0">
                  <a:pos x="91" y="134"/>
                </a:cxn>
                <a:cxn ang="0">
                  <a:pos x="98" y="125"/>
                </a:cxn>
                <a:cxn ang="0">
                  <a:pos x="102" y="113"/>
                </a:cxn>
                <a:cxn ang="0">
                  <a:pos x="91" y="91"/>
                </a:cxn>
                <a:cxn ang="0">
                  <a:pos x="105" y="77"/>
                </a:cxn>
                <a:cxn ang="0">
                  <a:pos x="121" y="79"/>
                </a:cxn>
                <a:cxn ang="0">
                  <a:pos x="136" y="74"/>
                </a:cxn>
                <a:cxn ang="0">
                  <a:pos x="141" y="63"/>
                </a:cxn>
                <a:cxn ang="0">
                  <a:pos x="155" y="58"/>
                </a:cxn>
                <a:cxn ang="0">
                  <a:pos x="169" y="58"/>
                </a:cxn>
                <a:cxn ang="0">
                  <a:pos x="186" y="29"/>
                </a:cxn>
                <a:cxn ang="0">
                  <a:pos x="179" y="13"/>
                </a:cxn>
                <a:cxn ang="0">
                  <a:pos x="193" y="0"/>
                </a:cxn>
                <a:cxn ang="0">
                  <a:pos x="205" y="13"/>
                </a:cxn>
                <a:cxn ang="0">
                  <a:pos x="220" y="27"/>
                </a:cxn>
              </a:cxnLst>
              <a:rect l="0" t="0" r="r" b="b"/>
              <a:pathLst>
                <a:path w="389" h="373">
                  <a:moveTo>
                    <a:pt x="236" y="22"/>
                  </a:moveTo>
                  <a:lnTo>
                    <a:pt x="238" y="22"/>
                  </a:lnTo>
                  <a:lnTo>
                    <a:pt x="241" y="22"/>
                  </a:lnTo>
                  <a:lnTo>
                    <a:pt x="243" y="24"/>
                  </a:lnTo>
                  <a:lnTo>
                    <a:pt x="243" y="24"/>
                  </a:lnTo>
                  <a:lnTo>
                    <a:pt x="244" y="26"/>
                  </a:lnTo>
                  <a:lnTo>
                    <a:pt x="246" y="26"/>
                  </a:lnTo>
                  <a:lnTo>
                    <a:pt x="248" y="27"/>
                  </a:lnTo>
                  <a:lnTo>
                    <a:pt x="248" y="29"/>
                  </a:lnTo>
                  <a:lnTo>
                    <a:pt x="250" y="29"/>
                  </a:lnTo>
                  <a:lnTo>
                    <a:pt x="250" y="31"/>
                  </a:lnTo>
                  <a:lnTo>
                    <a:pt x="251" y="32"/>
                  </a:lnTo>
                  <a:lnTo>
                    <a:pt x="251" y="34"/>
                  </a:lnTo>
                  <a:lnTo>
                    <a:pt x="253" y="36"/>
                  </a:lnTo>
                  <a:lnTo>
                    <a:pt x="253" y="39"/>
                  </a:lnTo>
                  <a:lnTo>
                    <a:pt x="253" y="41"/>
                  </a:lnTo>
                  <a:lnTo>
                    <a:pt x="253" y="43"/>
                  </a:lnTo>
                  <a:lnTo>
                    <a:pt x="253" y="44"/>
                  </a:lnTo>
                  <a:lnTo>
                    <a:pt x="253" y="48"/>
                  </a:lnTo>
                  <a:lnTo>
                    <a:pt x="253" y="50"/>
                  </a:lnTo>
                  <a:lnTo>
                    <a:pt x="253" y="53"/>
                  </a:lnTo>
                  <a:lnTo>
                    <a:pt x="253" y="55"/>
                  </a:lnTo>
                  <a:lnTo>
                    <a:pt x="253" y="56"/>
                  </a:lnTo>
                  <a:lnTo>
                    <a:pt x="255" y="58"/>
                  </a:lnTo>
                  <a:lnTo>
                    <a:pt x="255" y="58"/>
                  </a:lnTo>
                  <a:lnTo>
                    <a:pt x="257" y="60"/>
                  </a:lnTo>
                  <a:lnTo>
                    <a:pt x="257" y="62"/>
                  </a:lnTo>
                  <a:lnTo>
                    <a:pt x="258" y="65"/>
                  </a:lnTo>
                  <a:lnTo>
                    <a:pt x="262" y="67"/>
                  </a:lnTo>
                  <a:lnTo>
                    <a:pt x="265" y="69"/>
                  </a:lnTo>
                  <a:lnTo>
                    <a:pt x="269" y="70"/>
                  </a:lnTo>
                  <a:lnTo>
                    <a:pt x="270" y="72"/>
                  </a:lnTo>
                  <a:lnTo>
                    <a:pt x="272" y="74"/>
                  </a:lnTo>
                  <a:lnTo>
                    <a:pt x="272" y="74"/>
                  </a:lnTo>
                  <a:lnTo>
                    <a:pt x="275" y="74"/>
                  </a:lnTo>
                  <a:lnTo>
                    <a:pt x="279" y="74"/>
                  </a:lnTo>
                  <a:lnTo>
                    <a:pt x="281" y="75"/>
                  </a:lnTo>
                  <a:lnTo>
                    <a:pt x="282" y="75"/>
                  </a:lnTo>
                  <a:lnTo>
                    <a:pt x="284" y="75"/>
                  </a:lnTo>
                  <a:lnTo>
                    <a:pt x="287" y="75"/>
                  </a:lnTo>
                  <a:lnTo>
                    <a:pt x="289" y="75"/>
                  </a:lnTo>
                  <a:lnTo>
                    <a:pt x="291" y="75"/>
                  </a:lnTo>
                  <a:lnTo>
                    <a:pt x="293" y="75"/>
                  </a:lnTo>
                  <a:lnTo>
                    <a:pt x="294" y="75"/>
                  </a:lnTo>
                  <a:lnTo>
                    <a:pt x="296" y="75"/>
                  </a:lnTo>
                  <a:lnTo>
                    <a:pt x="300" y="75"/>
                  </a:lnTo>
                  <a:lnTo>
                    <a:pt x="301" y="75"/>
                  </a:lnTo>
                  <a:lnTo>
                    <a:pt x="313" y="74"/>
                  </a:lnTo>
                  <a:lnTo>
                    <a:pt x="317" y="74"/>
                  </a:lnTo>
                  <a:lnTo>
                    <a:pt x="317" y="74"/>
                  </a:lnTo>
                  <a:lnTo>
                    <a:pt x="320" y="75"/>
                  </a:lnTo>
                  <a:lnTo>
                    <a:pt x="322" y="75"/>
                  </a:lnTo>
                  <a:lnTo>
                    <a:pt x="322" y="77"/>
                  </a:lnTo>
                  <a:lnTo>
                    <a:pt x="324" y="77"/>
                  </a:lnTo>
                  <a:lnTo>
                    <a:pt x="324" y="79"/>
                  </a:lnTo>
                  <a:lnTo>
                    <a:pt x="325" y="81"/>
                  </a:lnTo>
                  <a:lnTo>
                    <a:pt x="327" y="84"/>
                  </a:lnTo>
                  <a:lnTo>
                    <a:pt x="327" y="87"/>
                  </a:lnTo>
                  <a:lnTo>
                    <a:pt x="327" y="89"/>
                  </a:lnTo>
                  <a:lnTo>
                    <a:pt x="325" y="91"/>
                  </a:lnTo>
                  <a:lnTo>
                    <a:pt x="324" y="93"/>
                  </a:lnTo>
                  <a:lnTo>
                    <a:pt x="324" y="94"/>
                  </a:lnTo>
                  <a:lnTo>
                    <a:pt x="324" y="98"/>
                  </a:lnTo>
                  <a:lnTo>
                    <a:pt x="324" y="101"/>
                  </a:lnTo>
                  <a:lnTo>
                    <a:pt x="324" y="103"/>
                  </a:lnTo>
                  <a:lnTo>
                    <a:pt x="324" y="103"/>
                  </a:lnTo>
                  <a:lnTo>
                    <a:pt x="325" y="105"/>
                  </a:lnTo>
                  <a:lnTo>
                    <a:pt x="327" y="106"/>
                  </a:lnTo>
                  <a:lnTo>
                    <a:pt x="329" y="108"/>
                  </a:lnTo>
                  <a:lnTo>
                    <a:pt x="330" y="110"/>
                  </a:lnTo>
                  <a:lnTo>
                    <a:pt x="332" y="110"/>
                  </a:lnTo>
                  <a:lnTo>
                    <a:pt x="334" y="112"/>
                  </a:lnTo>
                  <a:lnTo>
                    <a:pt x="337" y="113"/>
                  </a:lnTo>
                  <a:lnTo>
                    <a:pt x="339" y="113"/>
                  </a:lnTo>
                  <a:lnTo>
                    <a:pt x="343" y="115"/>
                  </a:lnTo>
                  <a:lnTo>
                    <a:pt x="346" y="115"/>
                  </a:lnTo>
                  <a:lnTo>
                    <a:pt x="348" y="117"/>
                  </a:lnTo>
                  <a:lnTo>
                    <a:pt x="348" y="118"/>
                  </a:lnTo>
                  <a:lnTo>
                    <a:pt x="348" y="118"/>
                  </a:lnTo>
                  <a:lnTo>
                    <a:pt x="348" y="120"/>
                  </a:lnTo>
                  <a:lnTo>
                    <a:pt x="348" y="122"/>
                  </a:lnTo>
                  <a:lnTo>
                    <a:pt x="348" y="124"/>
                  </a:lnTo>
                  <a:lnTo>
                    <a:pt x="348" y="124"/>
                  </a:lnTo>
                  <a:lnTo>
                    <a:pt x="348" y="125"/>
                  </a:lnTo>
                  <a:lnTo>
                    <a:pt x="346" y="125"/>
                  </a:lnTo>
                  <a:lnTo>
                    <a:pt x="344" y="127"/>
                  </a:lnTo>
                  <a:lnTo>
                    <a:pt x="343" y="127"/>
                  </a:lnTo>
                  <a:lnTo>
                    <a:pt x="343" y="129"/>
                  </a:lnTo>
                  <a:lnTo>
                    <a:pt x="341" y="129"/>
                  </a:lnTo>
                  <a:lnTo>
                    <a:pt x="339" y="130"/>
                  </a:lnTo>
                  <a:lnTo>
                    <a:pt x="337" y="130"/>
                  </a:lnTo>
                  <a:lnTo>
                    <a:pt x="337" y="132"/>
                  </a:lnTo>
                  <a:lnTo>
                    <a:pt x="336" y="132"/>
                  </a:lnTo>
                  <a:lnTo>
                    <a:pt x="336" y="134"/>
                  </a:lnTo>
                  <a:lnTo>
                    <a:pt x="336" y="134"/>
                  </a:lnTo>
                  <a:lnTo>
                    <a:pt x="336" y="136"/>
                  </a:lnTo>
                  <a:lnTo>
                    <a:pt x="336" y="137"/>
                  </a:lnTo>
                  <a:lnTo>
                    <a:pt x="337" y="139"/>
                  </a:lnTo>
                  <a:lnTo>
                    <a:pt x="337" y="141"/>
                  </a:lnTo>
                  <a:lnTo>
                    <a:pt x="339" y="141"/>
                  </a:lnTo>
                  <a:lnTo>
                    <a:pt x="341" y="142"/>
                  </a:lnTo>
                  <a:lnTo>
                    <a:pt x="343" y="142"/>
                  </a:lnTo>
                  <a:lnTo>
                    <a:pt x="344" y="144"/>
                  </a:lnTo>
                  <a:lnTo>
                    <a:pt x="346" y="144"/>
                  </a:lnTo>
                  <a:lnTo>
                    <a:pt x="348" y="144"/>
                  </a:lnTo>
                  <a:lnTo>
                    <a:pt x="348" y="146"/>
                  </a:lnTo>
                  <a:lnTo>
                    <a:pt x="349" y="146"/>
                  </a:lnTo>
                  <a:lnTo>
                    <a:pt x="353" y="146"/>
                  </a:lnTo>
                  <a:lnTo>
                    <a:pt x="355" y="146"/>
                  </a:lnTo>
                  <a:lnTo>
                    <a:pt x="356" y="146"/>
                  </a:lnTo>
                  <a:lnTo>
                    <a:pt x="358" y="148"/>
                  </a:lnTo>
                  <a:lnTo>
                    <a:pt x="360" y="148"/>
                  </a:lnTo>
                  <a:lnTo>
                    <a:pt x="361" y="148"/>
                  </a:lnTo>
                  <a:lnTo>
                    <a:pt x="363" y="146"/>
                  </a:lnTo>
                  <a:lnTo>
                    <a:pt x="365" y="146"/>
                  </a:lnTo>
                  <a:lnTo>
                    <a:pt x="367" y="144"/>
                  </a:lnTo>
                  <a:lnTo>
                    <a:pt x="368" y="144"/>
                  </a:lnTo>
                  <a:lnTo>
                    <a:pt x="372" y="141"/>
                  </a:lnTo>
                  <a:lnTo>
                    <a:pt x="373" y="139"/>
                  </a:lnTo>
                  <a:lnTo>
                    <a:pt x="375" y="137"/>
                  </a:lnTo>
                  <a:lnTo>
                    <a:pt x="377" y="136"/>
                  </a:lnTo>
                  <a:lnTo>
                    <a:pt x="377" y="136"/>
                  </a:lnTo>
                  <a:lnTo>
                    <a:pt x="379" y="136"/>
                  </a:lnTo>
                  <a:lnTo>
                    <a:pt x="380" y="134"/>
                  </a:lnTo>
                  <a:lnTo>
                    <a:pt x="382" y="134"/>
                  </a:lnTo>
                  <a:lnTo>
                    <a:pt x="384" y="136"/>
                  </a:lnTo>
                  <a:lnTo>
                    <a:pt x="386" y="136"/>
                  </a:lnTo>
                  <a:lnTo>
                    <a:pt x="387" y="136"/>
                  </a:lnTo>
                  <a:lnTo>
                    <a:pt x="387" y="137"/>
                  </a:lnTo>
                  <a:lnTo>
                    <a:pt x="389" y="137"/>
                  </a:lnTo>
                  <a:lnTo>
                    <a:pt x="389" y="139"/>
                  </a:lnTo>
                  <a:lnTo>
                    <a:pt x="389" y="141"/>
                  </a:lnTo>
                  <a:lnTo>
                    <a:pt x="389" y="142"/>
                  </a:lnTo>
                  <a:lnTo>
                    <a:pt x="389" y="144"/>
                  </a:lnTo>
                  <a:lnTo>
                    <a:pt x="389" y="146"/>
                  </a:lnTo>
                  <a:lnTo>
                    <a:pt x="389" y="148"/>
                  </a:lnTo>
                  <a:lnTo>
                    <a:pt x="387" y="149"/>
                  </a:lnTo>
                  <a:lnTo>
                    <a:pt x="387" y="151"/>
                  </a:lnTo>
                  <a:lnTo>
                    <a:pt x="387" y="153"/>
                  </a:lnTo>
                  <a:lnTo>
                    <a:pt x="386" y="153"/>
                  </a:lnTo>
                  <a:lnTo>
                    <a:pt x="386" y="155"/>
                  </a:lnTo>
                  <a:lnTo>
                    <a:pt x="386" y="156"/>
                  </a:lnTo>
                  <a:lnTo>
                    <a:pt x="384" y="158"/>
                  </a:lnTo>
                  <a:lnTo>
                    <a:pt x="384" y="160"/>
                  </a:lnTo>
                  <a:lnTo>
                    <a:pt x="382" y="161"/>
                  </a:lnTo>
                  <a:lnTo>
                    <a:pt x="382" y="163"/>
                  </a:lnTo>
                  <a:lnTo>
                    <a:pt x="380" y="165"/>
                  </a:lnTo>
                  <a:lnTo>
                    <a:pt x="379" y="165"/>
                  </a:lnTo>
                  <a:lnTo>
                    <a:pt x="379" y="167"/>
                  </a:lnTo>
                  <a:lnTo>
                    <a:pt x="377" y="168"/>
                  </a:lnTo>
                  <a:lnTo>
                    <a:pt x="377" y="170"/>
                  </a:lnTo>
                  <a:lnTo>
                    <a:pt x="375" y="172"/>
                  </a:lnTo>
                  <a:lnTo>
                    <a:pt x="373" y="173"/>
                  </a:lnTo>
                  <a:lnTo>
                    <a:pt x="372" y="175"/>
                  </a:lnTo>
                  <a:lnTo>
                    <a:pt x="370" y="175"/>
                  </a:lnTo>
                  <a:lnTo>
                    <a:pt x="367" y="177"/>
                  </a:lnTo>
                  <a:lnTo>
                    <a:pt x="363" y="179"/>
                  </a:lnTo>
                  <a:lnTo>
                    <a:pt x="363" y="179"/>
                  </a:lnTo>
                  <a:lnTo>
                    <a:pt x="363" y="180"/>
                  </a:lnTo>
                  <a:lnTo>
                    <a:pt x="361" y="182"/>
                  </a:lnTo>
                  <a:lnTo>
                    <a:pt x="360" y="182"/>
                  </a:lnTo>
                  <a:lnTo>
                    <a:pt x="358" y="185"/>
                  </a:lnTo>
                  <a:lnTo>
                    <a:pt x="356" y="187"/>
                  </a:lnTo>
                  <a:lnTo>
                    <a:pt x="356" y="189"/>
                  </a:lnTo>
                  <a:lnTo>
                    <a:pt x="355" y="191"/>
                  </a:lnTo>
                  <a:lnTo>
                    <a:pt x="355" y="192"/>
                  </a:lnTo>
                  <a:lnTo>
                    <a:pt x="355" y="194"/>
                  </a:lnTo>
                  <a:lnTo>
                    <a:pt x="355" y="194"/>
                  </a:lnTo>
                  <a:lnTo>
                    <a:pt x="355" y="198"/>
                  </a:lnTo>
                  <a:lnTo>
                    <a:pt x="355" y="201"/>
                  </a:lnTo>
                  <a:lnTo>
                    <a:pt x="355" y="203"/>
                  </a:lnTo>
                  <a:lnTo>
                    <a:pt x="355" y="204"/>
                  </a:lnTo>
                  <a:lnTo>
                    <a:pt x="355" y="206"/>
                  </a:lnTo>
                  <a:lnTo>
                    <a:pt x="353" y="210"/>
                  </a:lnTo>
                  <a:lnTo>
                    <a:pt x="351" y="210"/>
                  </a:lnTo>
                  <a:lnTo>
                    <a:pt x="349" y="211"/>
                  </a:lnTo>
                  <a:lnTo>
                    <a:pt x="348" y="215"/>
                  </a:lnTo>
                  <a:lnTo>
                    <a:pt x="346" y="216"/>
                  </a:lnTo>
                  <a:lnTo>
                    <a:pt x="343" y="218"/>
                  </a:lnTo>
                  <a:lnTo>
                    <a:pt x="339" y="218"/>
                  </a:lnTo>
                  <a:lnTo>
                    <a:pt x="336" y="218"/>
                  </a:lnTo>
                  <a:lnTo>
                    <a:pt x="334" y="220"/>
                  </a:lnTo>
                  <a:lnTo>
                    <a:pt x="332" y="220"/>
                  </a:lnTo>
                  <a:lnTo>
                    <a:pt x="332" y="222"/>
                  </a:lnTo>
                  <a:lnTo>
                    <a:pt x="332" y="222"/>
                  </a:lnTo>
                  <a:lnTo>
                    <a:pt x="332" y="223"/>
                  </a:lnTo>
                  <a:lnTo>
                    <a:pt x="332" y="225"/>
                  </a:lnTo>
                  <a:lnTo>
                    <a:pt x="332" y="230"/>
                  </a:lnTo>
                  <a:lnTo>
                    <a:pt x="332" y="232"/>
                  </a:lnTo>
                  <a:lnTo>
                    <a:pt x="332" y="235"/>
                  </a:lnTo>
                  <a:lnTo>
                    <a:pt x="332" y="239"/>
                  </a:lnTo>
                  <a:lnTo>
                    <a:pt x="336" y="239"/>
                  </a:lnTo>
                  <a:lnTo>
                    <a:pt x="337" y="241"/>
                  </a:lnTo>
                  <a:lnTo>
                    <a:pt x="343" y="241"/>
                  </a:lnTo>
                  <a:lnTo>
                    <a:pt x="344" y="241"/>
                  </a:lnTo>
                  <a:lnTo>
                    <a:pt x="348" y="241"/>
                  </a:lnTo>
                  <a:lnTo>
                    <a:pt x="351" y="242"/>
                  </a:lnTo>
                  <a:lnTo>
                    <a:pt x="353" y="244"/>
                  </a:lnTo>
                  <a:lnTo>
                    <a:pt x="355" y="246"/>
                  </a:lnTo>
                  <a:lnTo>
                    <a:pt x="355" y="249"/>
                  </a:lnTo>
                  <a:lnTo>
                    <a:pt x="355" y="253"/>
                  </a:lnTo>
                  <a:lnTo>
                    <a:pt x="351" y="254"/>
                  </a:lnTo>
                  <a:lnTo>
                    <a:pt x="349" y="258"/>
                  </a:lnTo>
                  <a:lnTo>
                    <a:pt x="348" y="259"/>
                  </a:lnTo>
                  <a:lnTo>
                    <a:pt x="346" y="261"/>
                  </a:lnTo>
                  <a:lnTo>
                    <a:pt x="344" y="263"/>
                  </a:lnTo>
                  <a:lnTo>
                    <a:pt x="343" y="263"/>
                  </a:lnTo>
                  <a:lnTo>
                    <a:pt x="341" y="265"/>
                  </a:lnTo>
                  <a:lnTo>
                    <a:pt x="339" y="266"/>
                  </a:lnTo>
                  <a:lnTo>
                    <a:pt x="337" y="268"/>
                  </a:lnTo>
                  <a:lnTo>
                    <a:pt x="336" y="270"/>
                  </a:lnTo>
                  <a:lnTo>
                    <a:pt x="334" y="270"/>
                  </a:lnTo>
                  <a:lnTo>
                    <a:pt x="332" y="272"/>
                  </a:lnTo>
                  <a:lnTo>
                    <a:pt x="330" y="275"/>
                  </a:lnTo>
                  <a:lnTo>
                    <a:pt x="327" y="278"/>
                  </a:lnTo>
                  <a:lnTo>
                    <a:pt x="325" y="280"/>
                  </a:lnTo>
                  <a:lnTo>
                    <a:pt x="324" y="282"/>
                  </a:lnTo>
                  <a:lnTo>
                    <a:pt x="315" y="292"/>
                  </a:lnTo>
                  <a:lnTo>
                    <a:pt x="313" y="292"/>
                  </a:lnTo>
                  <a:lnTo>
                    <a:pt x="310" y="297"/>
                  </a:lnTo>
                  <a:lnTo>
                    <a:pt x="308" y="297"/>
                  </a:lnTo>
                  <a:lnTo>
                    <a:pt x="308" y="299"/>
                  </a:lnTo>
                  <a:lnTo>
                    <a:pt x="306" y="299"/>
                  </a:lnTo>
                  <a:lnTo>
                    <a:pt x="303" y="301"/>
                  </a:lnTo>
                  <a:lnTo>
                    <a:pt x="300" y="308"/>
                  </a:lnTo>
                  <a:lnTo>
                    <a:pt x="298" y="309"/>
                  </a:lnTo>
                  <a:lnTo>
                    <a:pt x="289" y="316"/>
                  </a:lnTo>
                  <a:lnTo>
                    <a:pt x="286" y="323"/>
                  </a:lnTo>
                  <a:lnTo>
                    <a:pt x="284" y="325"/>
                  </a:lnTo>
                  <a:lnTo>
                    <a:pt x="275" y="330"/>
                  </a:lnTo>
                  <a:lnTo>
                    <a:pt x="275" y="332"/>
                  </a:lnTo>
                  <a:lnTo>
                    <a:pt x="274" y="332"/>
                  </a:lnTo>
                  <a:lnTo>
                    <a:pt x="274" y="333"/>
                  </a:lnTo>
                  <a:lnTo>
                    <a:pt x="270" y="339"/>
                  </a:lnTo>
                  <a:lnTo>
                    <a:pt x="270" y="342"/>
                  </a:lnTo>
                  <a:lnTo>
                    <a:pt x="270" y="344"/>
                  </a:lnTo>
                  <a:lnTo>
                    <a:pt x="270" y="347"/>
                  </a:lnTo>
                  <a:lnTo>
                    <a:pt x="270" y="352"/>
                  </a:lnTo>
                  <a:lnTo>
                    <a:pt x="269" y="356"/>
                  </a:lnTo>
                  <a:lnTo>
                    <a:pt x="269" y="359"/>
                  </a:lnTo>
                  <a:lnTo>
                    <a:pt x="269" y="364"/>
                  </a:lnTo>
                  <a:lnTo>
                    <a:pt x="269" y="366"/>
                  </a:lnTo>
                  <a:lnTo>
                    <a:pt x="269" y="368"/>
                  </a:lnTo>
                  <a:lnTo>
                    <a:pt x="269" y="371"/>
                  </a:lnTo>
                  <a:lnTo>
                    <a:pt x="269" y="373"/>
                  </a:lnTo>
                  <a:lnTo>
                    <a:pt x="263" y="371"/>
                  </a:lnTo>
                  <a:lnTo>
                    <a:pt x="257" y="371"/>
                  </a:lnTo>
                  <a:lnTo>
                    <a:pt x="255" y="371"/>
                  </a:lnTo>
                  <a:lnTo>
                    <a:pt x="250" y="371"/>
                  </a:lnTo>
                  <a:lnTo>
                    <a:pt x="248" y="371"/>
                  </a:lnTo>
                  <a:lnTo>
                    <a:pt x="244" y="371"/>
                  </a:lnTo>
                  <a:lnTo>
                    <a:pt x="243" y="371"/>
                  </a:lnTo>
                  <a:lnTo>
                    <a:pt x="243" y="370"/>
                  </a:lnTo>
                  <a:lnTo>
                    <a:pt x="241" y="370"/>
                  </a:lnTo>
                  <a:lnTo>
                    <a:pt x="238" y="370"/>
                  </a:lnTo>
                  <a:lnTo>
                    <a:pt x="234" y="370"/>
                  </a:lnTo>
                  <a:lnTo>
                    <a:pt x="229" y="370"/>
                  </a:lnTo>
                  <a:lnTo>
                    <a:pt x="227" y="370"/>
                  </a:lnTo>
                  <a:lnTo>
                    <a:pt x="224" y="370"/>
                  </a:lnTo>
                  <a:lnTo>
                    <a:pt x="219" y="370"/>
                  </a:lnTo>
                  <a:lnTo>
                    <a:pt x="212" y="370"/>
                  </a:lnTo>
                  <a:lnTo>
                    <a:pt x="203" y="370"/>
                  </a:lnTo>
                  <a:lnTo>
                    <a:pt x="200" y="370"/>
                  </a:lnTo>
                  <a:lnTo>
                    <a:pt x="193" y="370"/>
                  </a:lnTo>
                  <a:lnTo>
                    <a:pt x="191" y="370"/>
                  </a:lnTo>
                  <a:lnTo>
                    <a:pt x="189" y="370"/>
                  </a:lnTo>
                  <a:lnTo>
                    <a:pt x="188" y="370"/>
                  </a:lnTo>
                  <a:lnTo>
                    <a:pt x="184" y="368"/>
                  </a:lnTo>
                  <a:lnTo>
                    <a:pt x="181" y="368"/>
                  </a:lnTo>
                  <a:lnTo>
                    <a:pt x="172" y="368"/>
                  </a:lnTo>
                  <a:lnTo>
                    <a:pt x="171" y="368"/>
                  </a:lnTo>
                  <a:lnTo>
                    <a:pt x="160" y="368"/>
                  </a:lnTo>
                  <a:lnTo>
                    <a:pt x="157" y="368"/>
                  </a:lnTo>
                  <a:lnTo>
                    <a:pt x="155" y="366"/>
                  </a:lnTo>
                  <a:lnTo>
                    <a:pt x="153" y="366"/>
                  </a:lnTo>
                  <a:lnTo>
                    <a:pt x="152" y="366"/>
                  </a:lnTo>
                  <a:lnTo>
                    <a:pt x="148" y="366"/>
                  </a:lnTo>
                  <a:lnTo>
                    <a:pt x="140" y="366"/>
                  </a:lnTo>
                  <a:lnTo>
                    <a:pt x="138" y="366"/>
                  </a:lnTo>
                  <a:lnTo>
                    <a:pt x="134" y="366"/>
                  </a:lnTo>
                  <a:lnTo>
                    <a:pt x="129" y="366"/>
                  </a:lnTo>
                  <a:lnTo>
                    <a:pt x="126" y="366"/>
                  </a:lnTo>
                  <a:lnTo>
                    <a:pt x="122" y="366"/>
                  </a:lnTo>
                  <a:lnTo>
                    <a:pt x="121" y="366"/>
                  </a:lnTo>
                  <a:lnTo>
                    <a:pt x="117" y="366"/>
                  </a:lnTo>
                  <a:lnTo>
                    <a:pt x="112" y="366"/>
                  </a:lnTo>
                  <a:lnTo>
                    <a:pt x="110" y="366"/>
                  </a:lnTo>
                  <a:lnTo>
                    <a:pt x="103" y="364"/>
                  </a:lnTo>
                  <a:lnTo>
                    <a:pt x="100" y="364"/>
                  </a:lnTo>
                  <a:lnTo>
                    <a:pt x="97" y="364"/>
                  </a:lnTo>
                  <a:lnTo>
                    <a:pt x="91" y="364"/>
                  </a:lnTo>
                  <a:lnTo>
                    <a:pt x="90" y="364"/>
                  </a:lnTo>
                  <a:lnTo>
                    <a:pt x="88" y="364"/>
                  </a:lnTo>
                  <a:lnTo>
                    <a:pt x="79" y="364"/>
                  </a:lnTo>
                  <a:lnTo>
                    <a:pt x="78" y="364"/>
                  </a:lnTo>
                  <a:lnTo>
                    <a:pt x="76" y="363"/>
                  </a:lnTo>
                  <a:lnTo>
                    <a:pt x="74" y="363"/>
                  </a:lnTo>
                  <a:lnTo>
                    <a:pt x="71" y="363"/>
                  </a:lnTo>
                  <a:lnTo>
                    <a:pt x="67" y="363"/>
                  </a:lnTo>
                  <a:lnTo>
                    <a:pt x="62" y="363"/>
                  </a:lnTo>
                  <a:lnTo>
                    <a:pt x="60" y="363"/>
                  </a:lnTo>
                  <a:lnTo>
                    <a:pt x="57" y="363"/>
                  </a:lnTo>
                  <a:lnTo>
                    <a:pt x="55" y="363"/>
                  </a:lnTo>
                  <a:lnTo>
                    <a:pt x="54" y="363"/>
                  </a:lnTo>
                  <a:lnTo>
                    <a:pt x="47" y="363"/>
                  </a:lnTo>
                  <a:lnTo>
                    <a:pt x="40" y="361"/>
                  </a:lnTo>
                  <a:lnTo>
                    <a:pt x="31" y="361"/>
                  </a:lnTo>
                  <a:lnTo>
                    <a:pt x="29" y="361"/>
                  </a:lnTo>
                  <a:lnTo>
                    <a:pt x="12" y="359"/>
                  </a:lnTo>
                  <a:lnTo>
                    <a:pt x="11" y="359"/>
                  </a:lnTo>
                  <a:lnTo>
                    <a:pt x="0" y="359"/>
                  </a:lnTo>
                  <a:lnTo>
                    <a:pt x="0" y="354"/>
                  </a:lnTo>
                  <a:lnTo>
                    <a:pt x="0" y="352"/>
                  </a:lnTo>
                  <a:lnTo>
                    <a:pt x="0" y="351"/>
                  </a:lnTo>
                  <a:lnTo>
                    <a:pt x="0" y="347"/>
                  </a:lnTo>
                  <a:lnTo>
                    <a:pt x="0" y="345"/>
                  </a:lnTo>
                  <a:lnTo>
                    <a:pt x="0" y="344"/>
                  </a:lnTo>
                  <a:lnTo>
                    <a:pt x="0" y="342"/>
                  </a:lnTo>
                  <a:lnTo>
                    <a:pt x="0" y="339"/>
                  </a:lnTo>
                  <a:lnTo>
                    <a:pt x="0" y="337"/>
                  </a:lnTo>
                  <a:lnTo>
                    <a:pt x="2" y="333"/>
                  </a:lnTo>
                  <a:lnTo>
                    <a:pt x="2" y="332"/>
                  </a:lnTo>
                  <a:lnTo>
                    <a:pt x="2" y="330"/>
                  </a:lnTo>
                  <a:lnTo>
                    <a:pt x="2" y="330"/>
                  </a:lnTo>
                  <a:lnTo>
                    <a:pt x="2" y="328"/>
                  </a:lnTo>
                  <a:lnTo>
                    <a:pt x="2" y="327"/>
                  </a:lnTo>
                  <a:lnTo>
                    <a:pt x="2" y="325"/>
                  </a:lnTo>
                  <a:lnTo>
                    <a:pt x="2" y="318"/>
                  </a:lnTo>
                  <a:lnTo>
                    <a:pt x="2" y="316"/>
                  </a:lnTo>
                  <a:lnTo>
                    <a:pt x="2" y="315"/>
                  </a:lnTo>
                  <a:lnTo>
                    <a:pt x="2" y="313"/>
                  </a:lnTo>
                  <a:lnTo>
                    <a:pt x="4" y="299"/>
                  </a:lnTo>
                  <a:lnTo>
                    <a:pt x="4" y="294"/>
                  </a:lnTo>
                  <a:lnTo>
                    <a:pt x="4" y="285"/>
                  </a:lnTo>
                  <a:lnTo>
                    <a:pt x="4" y="282"/>
                  </a:lnTo>
                  <a:lnTo>
                    <a:pt x="5" y="273"/>
                  </a:lnTo>
                  <a:lnTo>
                    <a:pt x="5" y="272"/>
                  </a:lnTo>
                  <a:lnTo>
                    <a:pt x="5" y="265"/>
                  </a:lnTo>
                  <a:lnTo>
                    <a:pt x="5" y="259"/>
                  </a:lnTo>
                  <a:lnTo>
                    <a:pt x="5" y="253"/>
                  </a:lnTo>
                  <a:lnTo>
                    <a:pt x="5" y="251"/>
                  </a:lnTo>
                  <a:lnTo>
                    <a:pt x="5" y="239"/>
                  </a:lnTo>
                  <a:lnTo>
                    <a:pt x="7" y="239"/>
                  </a:lnTo>
                  <a:lnTo>
                    <a:pt x="7" y="237"/>
                  </a:lnTo>
                  <a:lnTo>
                    <a:pt x="7" y="235"/>
                  </a:lnTo>
                  <a:lnTo>
                    <a:pt x="7" y="234"/>
                  </a:lnTo>
                  <a:lnTo>
                    <a:pt x="7" y="230"/>
                  </a:lnTo>
                  <a:lnTo>
                    <a:pt x="7" y="225"/>
                  </a:lnTo>
                  <a:lnTo>
                    <a:pt x="7" y="225"/>
                  </a:lnTo>
                  <a:lnTo>
                    <a:pt x="7" y="223"/>
                  </a:lnTo>
                  <a:lnTo>
                    <a:pt x="7" y="222"/>
                  </a:lnTo>
                  <a:lnTo>
                    <a:pt x="7" y="220"/>
                  </a:lnTo>
                  <a:lnTo>
                    <a:pt x="7" y="218"/>
                  </a:lnTo>
                  <a:lnTo>
                    <a:pt x="7" y="216"/>
                  </a:lnTo>
                  <a:lnTo>
                    <a:pt x="7" y="215"/>
                  </a:lnTo>
                  <a:lnTo>
                    <a:pt x="9" y="206"/>
                  </a:lnTo>
                  <a:lnTo>
                    <a:pt x="9" y="204"/>
                  </a:lnTo>
                  <a:lnTo>
                    <a:pt x="9" y="201"/>
                  </a:lnTo>
                  <a:lnTo>
                    <a:pt x="9" y="198"/>
                  </a:lnTo>
                  <a:lnTo>
                    <a:pt x="9" y="196"/>
                  </a:lnTo>
                  <a:lnTo>
                    <a:pt x="9" y="192"/>
                  </a:lnTo>
                  <a:lnTo>
                    <a:pt x="9" y="179"/>
                  </a:lnTo>
                  <a:lnTo>
                    <a:pt x="9" y="175"/>
                  </a:lnTo>
                  <a:lnTo>
                    <a:pt x="9" y="173"/>
                  </a:lnTo>
                  <a:lnTo>
                    <a:pt x="11" y="170"/>
                  </a:lnTo>
                  <a:lnTo>
                    <a:pt x="11" y="168"/>
                  </a:lnTo>
                  <a:lnTo>
                    <a:pt x="11" y="161"/>
                  </a:lnTo>
                  <a:lnTo>
                    <a:pt x="11" y="160"/>
                  </a:lnTo>
                  <a:lnTo>
                    <a:pt x="11" y="148"/>
                  </a:lnTo>
                  <a:lnTo>
                    <a:pt x="11" y="146"/>
                  </a:lnTo>
                  <a:lnTo>
                    <a:pt x="12" y="136"/>
                  </a:lnTo>
                  <a:lnTo>
                    <a:pt x="12" y="130"/>
                  </a:lnTo>
                  <a:lnTo>
                    <a:pt x="12" y="129"/>
                  </a:lnTo>
                  <a:lnTo>
                    <a:pt x="12" y="124"/>
                  </a:lnTo>
                  <a:lnTo>
                    <a:pt x="12" y="118"/>
                  </a:lnTo>
                  <a:lnTo>
                    <a:pt x="14" y="103"/>
                  </a:lnTo>
                  <a:lnTo>
                    <a:pt x="14" y="91"/>
                  </a:lnTo>
                  <a:lnTo>
                    <a:pt x="16" y="91"/>
                  </a:lnTo>
                  <a:lnTo>
                    <a:pt x="17" y="91"/>
                  </a:lnTo>
                  <a:lnTo>
                    <a:pt x="19" y="91"/>
                  </a:lnTo>
                  <a:lnTo>
                    <a:pt x="21" y="91"/>
                  </a:lnTo>
                  <a:lnTo>
                    <a:pt x="23" y="93"/>
                  </a:lnTo>
                  <a:lnTo>
                    <a:pt x="24" y="94"/>
                  </a:lnTo>
                  <a:lnTo>
                    <a:pt x="26" y="96"/>
                  </a:lnTo>
                  <a:lnTo>
                    <a:pt x="26" y="98"/>
                  </a:lnTo>
                  <a:lnTo>
                    <a:pt x="28" y="98"/>
                  </a:lnTo>
                  <a:lnTo>
                    <a:pt x="28" y="99"/>
                  </a:lnTo>
                  <a:lnTo>
                    <a:pt x="28" y="101"/>
                  </a:lnTo>
                  <a:lnTo>
                    <a:pt x="28" y="103"/>
                  </a:lnTo>
                  <a:lnTo>
                    <a:pt x="29" y="103"/>
                  </a:lnTo>
                  <a:lnTo>
                    <a:pt x="29" y="105"/>
                  </a:lnTo>
                  <a:lnTo>
                    <a:pt x="29" y="106"/>
                  </a:lnTo>
                  <a:lnTo>
                    <a:pt x="31" y="106"/>
                  </a:lnTo>
                  <a:lnTo>
                    <a:pt x="31" y="108"/>
                  </a:lnTo>
                  <a:lnTo>
                    <a:pt x="31" y="108"/>
                  </a:lnTo>
                  <a:lnTo>
                    <a:pt x="31" y="110"/>
                  </a:lnTo>
                  <a:lnTo>
                    <a:pt x="33" y="110"/>
                  </a:lnTo>
                  <a:lnTo>
                    <a:pt x="35" y="110"/>
                  </a:lnTo>
                  <a:lnTo>
                    <a:pt x="36" y="110"/>
                  </a:lnTo>
                  <a:lnTo>
                    <a:pt x="38" y="112"/>
                  </a:lnTo>
                  <a:lnTo>
                    <a:pt x="40" y="112"/>
                  </a:lnTo>
                  <a:lnTo>
                    <a:pt x="42" y="112"/>
                  </a:lnTo>
                  <a:lnTo>
                    <a:pt x="45" y="112"/>
                  </a:lnTo>
                  <a:lnTo>
                    <a:pt x="47" y="112"/>
                  </a:lnTo>
                  <a:lnTo>
                    <a:pt x="47" y="110"/>
                  </a:lnTo>
                  <a:lnTo>
                    <a:pt x="48" y="110"/>
                  </a:lnTo>
                  <a:lnTo>
                    <a:pt x="50" y="110"/>
                  </a:lnTo>
                  <a:lnTo>
                    <a:pt x="52" y="110"/>
                  </a:lnTo>
                  <a:lnTo>
                    <a:pt x="54" y="112"/>
                  </a:lnTo>
                  <a:lnTo>
                    <a:pt x="55" y="113"/>
                  </a:lnTo>
                  <a:lnTo>
                    <a:pt x="57" y="113"/>
                  </a:lnTo>
                  <a:lnTo>
                    <a:pt x="57" y="115"/>
                  </a:lnTo>
                  <a:lnTo>
                    <a:pt x="59" y="117"/>
                  </a:lnTo>
                  <a:lnTo>
                    <a:pt x="59" y="118"/>
                  </a:lnTo>
                  <a:lnTo>
                    <a:pt x="59" y="118"/>
                  </a:lnTo>
                  <a:lnTo>
                    <a:pt x="57" y="120"/>
                  </a:lnTo>
                  <a:lnTo>
                    <a:pt x="57" y="122"/>
                  </a:lnTo>
                  <a:lnTo>
                    <a:pt x="55" y="124"/>
                  </a:lnTo>
                  <a:lnTo>
                    <a:pt x="54" y="125"/>
                  </a:lnTo>
                  <a:lnTo>
                    <a:pt x="52" y="129"/>
                  </a:lnTo>
                  <a:lnTo>
                    <a:pt x="50" y="130"/>
                  </a:lnTo>
                  <a:lnTo>
                    <a:pt x="50" y="134"/>
                  </a:lnTo>
                  <a:lnTo>
                    <a:pt x="52" y="137"/>
                  </a:lnTo>
                  <a:lnTo>
                    <a:pt x="52" y="139"/>
                  </a:lnTo>
                  <a:lnTo>
                    <a:pt x="55" y="141"/>
                  </a:lnTo>
                  <a:lnTo>
                    <a:pt x="57" y="141"/>
                  </a:lnTo>
                  <a:lnTo>
                    <a:pt x="60" y="142"/>
                  </a:lnTo>
                  <a:lnTo>
                    <a:pt x="62" y="142"/>
                  </a:lnTo>
                  <a:lnTo>
                    <a:pt x="67" y="141"/>
                  </a:lnTo>
                  <a:lnTo>
                    <a:pt x="74" y="139"/>
                  </a:lnTo>
                  <a:lnTo>
                    <a:pt x="76" y="139"/>
                  </a:lnTo>
                  <a:lnTo>
                    <a:pt x="76" y="137"/>
                  </a:lnTo>
                  <a:lnTo>
                    <a:pt x="78" y="137"/>
                  </a:lnTo>
                  <a:lnTo>
                    <a:pt x="79" y="137"/>
                  </a:lnTo>
                  <a:lnTo>
                    <a:pt x="81" y="139"/>
                  </a:lnTo>
                  <a:lnTo>
                    <a:pt x="83" y="137"/>
                  </a:lnTo>
                  <a:lnTo>
                    <a:pt x="85" y="137"/>
                  </a:lnTo>
                  <a:lnTo>
                    <a:pt x="86" y="137"/>
                  </a:lnTo>
                  <a:lnTo>
                    <a:pt x="88" y="137"/>
                  </a:lnTo>
                  <a:lnTo>
                    <a:pt x="90" y="136"/>
                  </a:lnTo>
                  <a:lnTo>
                    <a:pt x="91" y="134"/>
                  </a:lnTo>
                  <a:lnTo>
                    <a:pt x="91" y="134"/>
                  </a:lnTo>
                  <a:lnTo>
                    <a:pt x="93" y="134"/>
                  </a:lnTo>
                  <a:lnTo>
                    <a:pt x="93" y="134"/>
                  </a:lnTo>
                  <a:lnTo>
                    <a:pt x="95" y="132"/>
                  </a:lnTo>
                  <a:lnTo>
                    <a:pt x="95" y="130"/>
                  </a:lnTo>
                  <a:lnTo>
                    <a:pt x="97" y="129"/>
                  </a:lnTo>
                  <a:lnTo>
                    <a:pt x="97" y="127"/>
                  </a:lnTo>
                  <a:lnTo>
                    <a:pt x="98" y="127"/>
                  </a:lnTo>
                  <a:lnTo>
                    <a:pt x="98" y="125"/>
                  </a:lnTo>
                  <a:lnTo>
                    <a:pt x="100" y="125"/>
                  </a:lnTo>
                  <a:lnTo>
                    <a:pt x="100" y="124"/>
                  </a:lnTo>
                  <a:lnTo>
                    <a:pt x="102" y="122"/>
                  </a:lnTo>
                  <a:lnTo>
                    <a:pt x="102" y="120"/>
                  </a:lnTo>
                  <a:lnTo>
                    <a:pt x="103" y="120"/>
                  </a:lnTo>
                  <a:lnTo>
                    <a:pt x="103" y="118"/>
                  </a:lnTo>
                  <a:lnTo>
                    <a:pt x="103" y="118"/>
                  </a:lnTo>
                  <a:lnTo>
                    <a:pt x="103" y="117"/>
                  </a:lnTo>
                  <a:lnTo>
                    <a:pt x="102" y="113"/>
                  </a:lnTo>
                  <a:lnTo>
                    <a:pt x="100" y="110"/>
                  </a:lnTo>
                  <a:lnTo>
                    <a:pt x="100" y="108"/>
                  </a:lnTo>
                  <a:lnTo>
                    <a:pt x="98" y="106"/>
                  </a:lnTo>
                  <a:lnTo>
                    <a:pt x="97" y="105"/>
                  </a:lnTo>
                  <a:lnTo>
                    <a:pt x="95" y="103"/>
                  </a:lnTo>
                  <a:lnTo>
                    <a:pt x="93" y="98"/>
                  </a:lnTo>
                  <a:lnTo>
                    <a:pt x="91" y="96"/>
                  </a:lnTo>
                  <a:lnTo>
                    <a:pt x="91" y="94"/>
                  </a:lnTo>
                  <a:lnTo>
                    <a:pt x="91" y="91"/>
                  </a:lnTo>
                  <a:lnTo>
                    <a:pt x="91" y="89"/>
                  </a:lnTo>
                  <a:lnTo>
                    <a:pt x="93" y="87"/>
                  </a:lnTo>
                  <a:lnTo>
                    <a:pt x="95" y="86"/>
                  </a:lnTo>
                  <a:lnTo>
                    <a:pt x="95" y="84"/>
                  </a:lnTo>
                  <a:lnTo>
                    <a:pt x="97" y="81"/>
                  </a:lnTo>
                  <a:lnTo>
                    <a:pt x="98" y="79"/>
                  </a:lnTo>
                  <a:lnTo>
                    <a:pt x="102" y="79"/>
                  </a:lnTo>
                  <a:lnTo>
                    <a:pt x="103" y="77"/>
                  </a:lnTo>
                  <a:lnTo>
                    <a:pt x="105" y="77"/>
                  </a:lnTo>
                  <a:lnTo>
                    <a:pt x="107" y="77"/>
                  </a:lnTo>
                  <a:lnTo>
                    <a:pt x="107" y="77"/>
                  </a:lnTo>
                  <a:lnTo>
                    <a:pt x="109" y="77"/>
                  </a:lnTo>
                  <a:lnTo>
                    <a:pt x="112" y="77"/>
                  </a:lnTo>
                  <a:lnTo>
                    <a:pt x="114" y="77"/>
                  </a:lnTo>
                  <a:lnTo>
                    <a:pt x="115" y="77"/>
                  </a:lnTo>
                  <a:lnTo>
                    <a:pt x="117" y="79"/>
                  </a:lnTo>
                  <a:lnTo>
                    <a:pt x="119" y="79"/>
                  </a:lnTo>
                  <a:lnTo>
                    <a:pt x="121" y="79"/>
                  </a:lnTo>
                  <a:lnTo>
                    <a:pt x="122" y="79"/>
                  </a:lnTo>
                  <a:lnTo>
                    <a:pt x="124" y="79"/>
                  </a:lnTo>
                  <a:lnTo>
                    <a:pt x="126" y="79"/>
                  </a:lnTo>
                  <a:lnTo>
                    <a:pt x="129" y="79"/>
                  </a:lnTo>
                  <a:lnTo>
                    <a:pt x="131" y="77"/>
                  </a:lnTo>
                  <a:lnTo>
                    <a:pt x="133" y="77"/>
                  </a:lnTo>
                  <a:lnTo>
                    <a:pt x="134" y="75"/>
                  </a:lnTo>
                  <a:lnTo>
                    <a:pt x="136" y="75"/>
                  </a:lnTo>
                  <a:lnTo>
                    <a:pt x="136" y="74"/>
                  </a:lnTo>
                  <a:lnTo>
                    <a:pt x="136" y="74"/>
                  </a:lnTo>
                  <a:lnTo>
                    <a:pt x="138" y="74"/>
                  </a:lnTo>
                  <a:lnTo>
                    <a:pt x="140" y="72"/>
                  </a:lnTo>
                  <a:lnTo>
                    <a:pt x="140" y="70"/>
                  </a:lnTo>
                  <a:lnTo>
                    <a:pt x="138" y="69"/>
                  </a:lnTo>
                  <a:lnTo>
                    <a:pt x="138" y="67"/>
                  </a:lnTo>
                  <a:lnTo>
                    <a:pt x="140" y="65"/>
                  </a:lnTo>
                  <a:lnTo>
                    <a:pt x="140" y="63"/>
                  </a:lnTo>
                  <a:lnTo>
                    <a:pt x="141" y="63"/>
                  </a:lnTo>
                  <a:lnTo>
                    <a:pt x="141" y="62"/>
                  </a:lnTo>
                  <a:lnTo>
                    <a:pt x="146" y="58"/>
                  </a:lnTo>
                  <a:lnTo>
                    <a:pt x="148" y="58"/>
                  </a:lnTo>
                  <a:lnTo>
                    <a:pt x="148" y="56"/>
                  </a:lnTo>
                  <a:lnTo>
                    <a:pt x="150" y="56"/>
                  </a:lnTo>
                  <a:lnTo>
                    <a:pt x="152" y="56"/>
                  </a:lnTo>
                  <a:lnTo>
                    <a:pt x="152" y="58"/>
                  </a:lnTo>
                  <a:lnTo>
                    <a:pt x="153" y="58"/>
                  </a:lnTo>
                  <a:lnTo>
                    <a:pt x="155" y="58"/>
                  </a:lnTo>
                  <a:lnTo>
                    <a:pt x="157" y="60"/>
                  </a:lnTo>
                  <a:lnTo>
                    <a:pt x="158" y="60"/>
                  </a:lnTo>
                  <a:lnTo>
                    <a:pt x="158" y="62"/>
                  </a:lnTo>
                  <a:lnTo>
                    <a:pt x="160" y="63"/>
                  </a:lnTo>
                  <a:lnTo>
                    <a:pt x="162" y="65"/>
                  </a:lnTo>
                  <a:lnTo>
                    <a:pt x="164" y="63"/>
                  </a:lnTo>
                  <a:lnTo>
                    <a:pt x="165" y="63"/>
                  </a:lnTo>
                  <a:lnTo>
                    <a:pt x="167" y="62"/>
                  </a:lnTo>
                  <a:lnTo>
                    <a:pt x="169" y="58"/>
                  </a:lnTo>
                  <a:lnTo>
                    <a:pt x="172" y="53"/>
                  </a:lnTo>
                  <a:lnTo>
                    <a:pt x="174" y="50"/>
                  </a:lnTo>
                  <a:lnTo>
                    <a:pt x="176" y="46"/>
                  </a:lnTo>
                  <a:lnTo>
                    <a:pt x="177" y="43"/>
                  </a:lnTo>
                  <a:lnTo>
                    <a:pt x="181" y="41"/>
                  </a:lnTo>
                  <a:lnTo>
                    <a:pt x="181" y="39"/>
                  </a:lnTo>
                  <a:lnTo>
                    <a:pt x="184" y="36"/>
                  </a:lnTo>
                  <a:lnTo>
                    <a:pt x="184" y="32"/>
                  </a:lnTo>
                  <a:lnTo>
                    <a:pt x="186" y="29"/>
                  </a:lnTo>
                  <a:lnTo>
                    <a:pt x="186" y="27"/>
                  </a:lnTo>
                  <a:lnTo>
                    <a:pt x="186" y="26"/>
                  </a:lnTo>
                  <a:lnTo>
                    <a:pt x="184" y="24"/>
                  </a:lnTo>
                  <a:lnTo>
                    <a:pt x="184" y="22"/>
                  </a:lnTo>
                  <a:lnTo>
                    <a:pt x="183" y="20"/>
                  </a:lnTo>
                  <a:lnTo>
                    <a:pt x="181" y="19"/>
                  </a:lnTo>
                  <a:lnTo>
                    <a:pt x="181" y="17"/>
                  </a:lnTo>
                  <a:lnTo>
                    <a:pt x="181" y="13"/>
                  </a:lnTo>
                  <a:lnTo>
                    <a:pt x="179" y="13"/>
                  </a:lnTo>
                  <a:lnTo>
                    <a:pt x="179" y="10"/>
                  </a:lnTo>
                  <a:lnTo>
                    <a:pt x="179" y="8"/>
                  </a:lnTo>
                  <a:lnTo>
                    <a:pt x="181" y="7"/>
                  </a:lnTo>
                  <a:lnTo>
                    <a:pt x="181" y="5"/>
                  </a:lnTo>
                  <a:lnTo>
                    <a:pt x="183" y="1"/>
                  </a:lnTo>
                  <a:lnTo>
                    <a:pt x="186" y="1"/>
                  </a:lnTo>
                  <a:lnTo>
                    <a:pt x="188" y="0"/>
                  </a:lnTo>
                  <a:lnTo>
                    <a:pt x="191" y="0"/>
                  </a:lnTo>
                  <a:lnTo>
                    <a:pt x="193" y="0"/>
                  </a:lnTo>
                  <a:lnTo>
                    <a:pt x="195" y="0"/>
                  </a:lnTo>
                  <a:lnTo>
                    <a:pt x="196" y="1"/>
                  </a:lnTo>
                  <a:lnTo>
                    <a:pt x="196" y="3"/>
                  </a:lnTo>
                  <a:lnTo>
                    <a:pt x="198" y="3"/>
                  </a:lnTo>
                  <a:lnTo>
                    <a:pt x="200" y="5"/>
                  </a:lnTo>
                  <a:lnTo>
                    <a:pt x="201" y="8"/>
                  </a:lnTo>
                  <a:lnTo>
                    <a:pt x="203" y="10"/>
                  </a:lnTo>
                  <a:lnTo>
                    <a:pt x="205" y="12"/>
                  </a:lnTo>
                  <a:lnTo>
                    <a:pt x="205" y="13"/>
                  </a:lnTo>
                  <a:lnTo>
                    <a:pt x="205" y="13"/>
                  </a:lnTo>
                  <a:lnTo>
                    <a:pt x="207" y="17"/>
                  </a:lnTo>
                  <a:lnTo>
                    <a:pt x="208" y="19"/>
                  </a:lnTo>
                  <a:lnTo>
                    <a:pt x="210" y="22"/>
                  </a:lnTo>
                  <a:lnTo>
                    <a:pt x="212" y="24"/>
                  </a:lnTo>
                  <a:lnTo>
                    <a:pt x="214" y="26"/>
                  </a:lnTo>
                  <a:lnTo>
                    <a:pt x="215" y="27"/>
                  </a:lnTo>
                  <a:lnTo>
                    <a:pt x="217" y="27"/>
                  </a:lnTo>
                  <a:lnTo>
                    <a:pt x="220" y="27"/>
                  </a:lnTo>
                  <a:lnTo>
                    <a:pt x="224" y="27"/>
                  </a:lnTo>
                  <a:lnTo>
                    <a:pt x="234" y="22"/>
                  </a:lnTo>
                  <a:lnTo>
                    <a:pt x="236" y="22"/>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7" name="Freeform 163"/>
            <p:cNvSpPr>
              <a:spLocks/>
            </p:cNvSpPr>
            <p:nvPr/>
          </p:nvSpPr>
          <p:spPr bwMode="auto">
            <a:xfrm>
              <a:off x="5782559" y="2039731"/>
              <a:ext cx="565150" cy="393700"/>
            </a:xfrm>
            <a:custGeom>
              <a:avLst/>
              <a:gdLst/>
              <a:ahLst/>
              <a:cxnLst>
                <a:cxn ang="0">
                  <a:pos x="17" y="45"/>
                </a:cxn>
                <a:cxn ang="0">
                  <a:pos x="34" y="45"/>
                </a:cxn>
                <a:cxn ang="0">
                  <a:pos x="64" y="45"/>
                </a:cxn>
                <a:cxn ang="0">
                  <a:pos x="74" y="38"/>
                </a:cxn>
                <a:cxn ang="0">
                  <a:pos x="74" y="14"/>
                </a:cxn>
                <a:cxn ang="0">
                  <a:pos x="76" y="0"/>
                </a:cxn>
                <a:cxn ang="0">
                  <a:pos x="96" y="0"/>
                </a:cxn>
                <a:cxn ang="0">
                  <a:pos x="119" y="0"/>
                </a:cxn>
                <a:cxn ang="0">
                  <a:pos x="138" y="0"/>
                </a:cxn>
                <a:cxn ang="0">
                  <a:pos x="156" y="0"/>
                </a:cxn>
                <a:cxn ang="0">
                  <a:pos x="181" y="0"/>
                </a:cxn>
                <a:cxn ang="0">
                  <a:pos x="187" y="0"/>
                </a:cxn>
                <a:cxn ang="0">
                  <a:pos x="213" y="2"/>
                </a:cxn>
                <a:cxn ang="0">
                  <a:pos x="242" y="0"/>
                </a:cxn>
                <a:cxn ang="0">
                  <a:pos x="263" y="0"/>
                </a:cxn>
                <a:cxn ang="0">
                  <a:pos x="289" y="0"/>
                </a:cxn>
                <a:cxn ang="0">
                  <a:pos x="316" y="0"/>
                </a:cxn>
                <a:cxn ang="0">
                  <a:pos x="332" y="0"/>
                </a:cxn>
                <a:cxn ang="0">
                  <a:pos x="339" y="0"/>
                </a:cxn>
                <a:cxn ang="0">
                  <a:pos x="347" y="0"/>
                </a:cxn>
                <a:cxn ang="0">
                  <a:pos x="353" y="4"/>
                </a:cxn>
                <a:cxn ang="0">
                  <a:pos x="353" y="16"/>
                </a:cxn>
                <a:cxn ang="0">
                  <a:pos x="353" y="35"/>
                </a:cxn>
                <a:cxn ang="0">
                  <a:pos x="356" y="55"/>
                </a:cxn>
                <a:cxn ang="0">
                  <a:pos x="356" y="69"/>
                </a:cxn>
                <a:cxn ang="0">
                  <a:pos x="356" y="90"/>
                </a:cxn>
                <a:cxn ang="0">
                  <a:pos x="356" y="104"/>
                </a:cxn>
                <a:cxn ang="0">
                  <a:pos x="356" y="119"/>
                </a:cxn>
                <a:cxn ang="0">
                  <a:pos x="356" y="134"/>
                </a:cxn>
                <a:cxn ang="0">
                  <a:pos x="354" y="164"/>
                </a:cxn>
                <a:cxn ang="0">
                  <a:pos x="354" y="190"/>
                </a:cxn>
                <a:cxn ang="0">
                  <a:pos x="354" y="212"/>
                </a:cxn>
                <a:cxn ang="0">
                  <a:pos x="354" y="229"/>
                </a:cxn>
                <a:cxn ang="0">
                  <a:pos x="346" y="246"/>
                </a:cxn>
                <a:cxn ang="0">
                  <a:pos x="335" y="246"/>
                </a:cxn>
                <a:cxn ang="0">
                  <a:pos x="306" y="248"/>
                </a:cxn>
                <a:cxn ang="0">
                  <a:pos x="287" y="248"/>
                </a:cxn>
                <a:cxn ang="0">
                  <a:pos x="261" y="248"/>
                </a:cxn>
                <a:cxn ang="0">
                  <a:pos x="242" y="248"/>
                </a:cxn>
                <a:cxn ang="0">
                  <a:pos x="217" y="248"/>
                </a:cxn>
                <a:cxn ang="0">
                  <a:pos x="205" y="248"/>
                </a:cxn>
                <a:cxn ang="0">
                  <a:pos x="191" y="248"/>
                </a:cxn>
                <a:cxn ang="0">
                  <a:pos x="179" y="248"/>
                </a:cxn>
                <a:cxn ang="0">
                  <a:pos x="153" y="248"/>
                </a:cxn>
                <a:cxn ang="0">
                  <a:pos x="132" y="248"/>
                </a:cxn>
                <a:cxn ang="0">
                  <a:pos x="103" y="246"/>
                </a:cxn>
                <a:cxn ang="0">
                  <a:pos x="88" y="246"/>
                </a:cxn>
                <a:cxn ang="0">
                  <a:pos x="76" y="246"/>
                </a:cxn>
                <a:cxn ang="0">
                  <a:pos x="41" y="245"/>
                </a:cxn>
                <a:cxn ang="0">
                  <a:pos x="33" y="245"/>
                </a:cxn>
                <a:cxn ang="0">
                  <a:pos x="0" y="243"/>
                </a:cxn>
                <a:cxn ang="0">
                  <a:pos x="2" y="231"/>
                </a:cxn>
                <a:cxn ang="0">
                  <a:pos x="2" y="221"/>
                </a:cxn>
                <a:cxn ang="0">
                  <a:pos x="2" y="198"/>
                </a:cxn>
                <a:cxn ang="0">
                  <a:pos x="2" y="181"/>
                </a:cxn>
                <a:cxn ang="0">
                  <a:pos x="2" y="164"/>
                </a:cxn>
                <a:cxn ang="0">
                  <a:pos x="3" y="134"/>
                </a:cxn>
                <a:cxn ang="0">
                  <a:pos x="3" y="119"/>
                </a:cxn>
                <a:cxn ang="0">
                  <a:pos x="3" y="86"/>
                </a:cxn>
                <a:cxn ang="0">
                  <a:pos x="5" y="61"/>
                </a:cxn>
                <a:cxn ang="0">
                  <a:pos x="5" y="45"/>
                </a:cxn>
              </a:cxnLst>
              <a:rect l="0" t="0" r="r" b="b"/>
              <a:pathLst>
                <a:path w="356" h="248">
                  <a:moveTo>
                    <a:pt x="5" y="45"/>
                  </a:moveTo>
                  <a:lnTo>
                    <a:pt x="10" y="45"/>
                  </a:lnTo>
                  <a:lnTo>
                    <a:pt x="12" y="45"/>
                  </a:lnTo>
                  <a:lnTo>
                    <a:pt x="15" y="45"/>
                  </a:lnTo>
                  <a:lnTo>
                    <a:pt x="17" y="45"/>
                  </a:lnTo>
                  <a:lnTo>
                    <a:pt x="19" y="45"/>
                  </a:lnTo>
                  <a:lnTo>
                    <a:pt x="22" y="45"/>
                  </a:lnTo>
                  <a:lnTo>
                    <a:pt x="24" y="45"/>
                  </a:lnTo>
                  <a:lnTo>
                    <a:pt x="29" y="45"/>
                  </a:lnTo>
                  <a:lnTo>
                    <a:pt x="34" y="45"/>
                  </a:lnTo>
                  <a:lnTo>
                    <a:pt x="36" y="45"/>
                  </a:lnTo>
                  <a:lnTo>
                    <a:pt x="46" y="45"/>
                  </a:lnTo>
                  <a:lnTo>
                    <a:pt x="48" y="45"/>
                  </a:lnTo>
                  <a:lnTo>
                    <a:pt x="50" y="45"/>
                  </a:lnTo>
                  <a:lnTo>
                    <a:pt x="64" y="45"/>
                  </a:lnTo>
                  <a:lnTo>
                    <a:pt x="69" y="45"/>
                  </a:lnTo>
                  <a:lnTo>
                    <a:pt x="74" y="45"/>
                  </a:lnTo>
                  <a:lnTo>
                    <a:pt x="74" y="43"/>
                  </a:lnTo>
                  <a:lnTo>
                    <a:pt x="74" y="40"/>
                  </a:lnTo>
                  <a:lnTo>
                    <a:pt x="74" y="38"/>
                  </a:lnTo>
                  <a:lnTo>
                    <a:pt x="74" y="35"/>
                  </a:lnTo>
                  <a:lnTo>
                    <a:pt x="74" y="30"/>
                  </a:lnTo>
                  <a:lnTo>
                    <a:pt x="74" y="26"/>
                  </a:lnTo>
                  <a:lnTo>
                    <a:pt x="74" y="23"/>
                  </a:lnTo>
                  <a:lnTo>
                    <a:pt x="74" y="14"/>
                  </a:lnTo>
                  <a:lnTo>
                    <a:pt x="74" y="12"/>
                  </a:lnTo>
                  <a:lnTo>
                    <a:pt x="74" y="7"/>
                  </a:lnTo>
                  <a:lnTo>
                    <a:pt x="74" y="2"/>
                  </a:lnTo>
                  <a:lnTo>
                    <a:pt x="74" y="0"/>
                  </a:lnTo>
                  <a:lnTo>
                    <a:pt x="76" y="0"/>
                  </a:lnTo>
                  <a:lnTo>
                    <a:pt x="82" y="0"/>
                  </a:lnTo>
                  <a:lnTo>
                    <a:pt x="84" y="0"/>
                  </a:lnTo>
                  <a:lnTo>
                    <a:pt x="91" y="0"/>
                  </a:lnTo>
                  <a:lnTo>
                    <a:pt x="95" y="0"/>
                  </a:lnTo>
                  <a:lnTo>
                    <a:pt x="96" y="0"/>
                  </a:lnTo>
                  <a:lnTo>
                    <a:pt x="98" y="0"/>
                  </a:lnTo>
                  <a:lnTo>
                    <a:pt x="105" y="0"/>
                  </a:lnTo>
                  <a:lnTo>
                    <a:pt x="107" y="0"/>
                  </a:lnTo>
                  <a:lnTo>
                    <a:pt x="108" y="0"/>
                  </a:lnTo>
                  <a:lnTo>
                    <a:pt x="119" y="0"/>
                  </a:lnTo>
                  <a:lnTo>
                    <a:pt x="120" y="0"/>
                  </a:lnTo>
                  <a:lnTo>
                    <a:pt x="122" y="0"/>
                  </a:lnTo>
                  <a:lnTo>
                    <a:pt x="129" y="0"/>
                  </a:lnTo>
                  <a:lnTo>
                    <a:pt x="134" y="0"/>
                  </a:lnTo>
                  <a:lnTo>
                    <a:pt x="138" y="0"/>
                  </a:lnTo>
                  <a:lnTo>
                    <a:pt x="139" y="0"/>
                  </a:lnTo>
                  <a:lnTo>
                    <a:pt x="146" y="0"/>
                  </a:lnTo>
                  <a:lnTo>
                    <a:pt x="151" y="0"/>
                  </a:lnTo>
                  <a:lnTo>
                    <a:pt x="153" y="0"/>
                  </a:lnTo>
                  <a:lnTo>
                    <a:pt x="156" y="0"/>
                  </a:lnTo>
                  <a:lnTo>
                    <a:pt x="163" y="0"/>
                  </a:lnTo>
                  <a:lnTo>
                    <a:pt x="167" y="0"/>
                  </a:lnTo>
                  <a:lnTo>
                    <a:pt x="167" y="0"/>
                  </a:lnTo>
                  <a:lnTo>
                    <a:pt x="170" y="0"/>
                  </a:lnTo>
                  <a:lnTo>
                    <a:pt x="181" y="0"/>
                  </a:lnTo>
                  <a:lnTo>
                    <a:pt x="182" y="0"/>
                  </a:lnTo>
                  <a:lnTo>
                    <a:pt x="182" y="2"/>
                  </a:lnTo>
                  <a:lnTo>
                    <a:pt x="184" y="0"/>
                  </a:lnTo>
                  <a:lnTo>
                    <a:pt x="186" y="0"/>
                  </a:lnTo>
                  <a:lnTo>
                    <a:pt x="187" y="0"/>
                  </a:lnTo>
                  <a:lnTo>
                    <a:pt x="189" y="0"/>
                  </a:lnTo>
                  <a:lnTo>
                    <a:pt x="203" y="2"/>
                  </a:lnTo>
                  <a:lnTo>
                    <a:pt x="205" y="2"/>
                  </a:lnTo>
                  <a:lnTo>
                    <a:pt x="208" y="2"/>
                  </a:lnTo>
                  <a:lnTo>
                    <a:pt x="213" y="2"/>
                  </a:lnTo>
                  <a:lnTo>
                    <a:pt x="234" y="0"/>
                  </a:lnTo>
                  <a:lnTo>
                    <a:pt x="237" y="0"/>
                  </a:lnTo>
                  <a:lnTo>
                    <a:pt x="241" y="0"/>
                  </a:lnTo>
                  <a:lnTo>
                    <a:pt x="242" y="0"/>
                  </a:lnTo>
                  <a:lnTo>
                    <a:pt x="242" y="0"/>
                  </a:lnTo>
                  <a:lnTo>
                    <a:pt x="244" y="0"/>
                  </a:lnTo>
                  <a:lnTo>
                    <a:pt x="254" y="0"/>
                  </a:lnTo>
                  <a:lnTo>
                    <a:pt x="256" y="0"/>
                  </a:lnTo>
                  <a:lnTo>
                    <a:pt x="256" y="0"/>
                  </a:lnTo>
                  <a:lnTo>
                    <a:pt x="263" y="0"/>
                  </a:lnTo>
                  <a:lnTo>
                    <a:pt x="267" y="0"/>
                  </a:lnTo>
                  <a:lnTo>
                    <a:pt x="273" y="0"/>
                  </a:lnTo>
                  <a:lnTo>
                    <a:pt x="277" y="0"/>
                  </a:lnTo>
                  <a:lnTo>
                    <a:pt x="287" y="0"/>
                  </a:lnTo>
                  <a:lnTo>
                    <a:pt x="289" y="0"/>
                  </a:lnTo>
                  <a:lnTo>
                    <a:pt x="297" y="0"/>
                  </a:lnTo>
                  <a:lnTo>
                    <a:pt x="299" y="0"/>
                  </a:lnTo>
                  <a:lnTo>
                    <a:pt x="303" y="0"/>
                  </a:lnTo>
                  <a:lnTo>
                    <a:pt x="308" y="0"/>
                  </a:lnTo>
                  <a:lnTo>
                    <a:pt x="316" y="0"/>
                  </a:lnTo>
                  <a:lnTo>
                    <a:pt x="318" y="0"/>
                  </a:lnTo>
                  <a:lnTo>
                    <a:pt x="323" y="0"/>
                  </a:lnTo>
                  <a:lnTo>
                    <a:pt x="325" y="0"/>
                  </a:lnTo>
                  <a:lnTo>
                    <a:pt x="330" y="0"/>
                  </a:lnTo>
                  <a:lnTo>
                    <a:pt x="332" y="0"/>
                  </a:lnTo>
                  <a:lnTo>
                    <a:pt x="332" y="0"/>
                  </a:lnTo>
                  <a:lnTo>
                    <a:pt x="334" y="0"/>
                  </a:lnTo>
                  <a:lnTo>
                    <a:pt x="335" y="0"/>
                  </a:lnTo>
                  <a:lnTo>
                    <a:pt x="337" y="0"/>
                  </a:lnTo>
                  <a:lnTo>
                    <a:pt x="339" y="0"/>
                  </a:lnTo>
                  <a:lnTo>
                    <a:pt x="340" y="0"/>
                  </a:lnTo>
                  <a:lnTo>
                    <a:pt x="342" y="0"/>
                  </a:lnTo>
                  <a:lnTo>
                    <a:pt x="344" y="0"/>
                  </a:lnTo>
                  <a:lnTo>
                    <a:pt x="346" y="0"/>
                  </a:lnTo>
                  <a:lnTo>
                    <a:pt x="347" y="0"/>
                  </a:lnTo>
                  <a:lnTo>
                    <a:pt x="347" y="0"/>
                  </a:lnTo>
                  <a:lnTo>
                    <a:pt x="349" y="0"/>
                  </a:lnTo>
                  <a:lnTo>
                    <a:pt x="353" y="0"/>
                  </a:lnTo>
                  <a:lnTo>
                    <a:pt x="353" y="2"/>
                  </a:lnTo>
                  <a:lnTo>
                    <a:pt x="353" y="4"/>
                  </a:lnTo>
                  <a:lnTo>
                    <a:pt x="353" y="5"/>
                  </a:lnTo>
                  <a:lnTo>
                    <a:pt x="353" y="7"/>
                  </a:lnTo>
                  <a:lnTo>
                    <a:pt x="353" y="12"/>
                  </a:lnTo>
                  <a:lnTo>
                    <a:pt x="353" y="14"/>
                  </a:lnTo>
                  <a:lnTo>
                    <a:pt x="353" y="16"/>
                  </a:lnTo>
                  <a:lnTo>
                    <a:pt x="353" y="19"/>
                  </a:lnTo>
                  <a:lnTo>
                    <a:pt x="353" y="26"/>
                  </a:lnTo>
                  <a:lnTo>
                    <a:pt x="353" y="28"/>
                  </a:lnTo>
                  <a:lnTo>
                    <a:pt x="353" y="33"/>
                  </a:lnTo>
                  <a:lnTo>
                    <a:pt x="353" y="35"/>
                  </a:lnTo>
                  <a:lnTo>
                    <a:pt x="353" y="42"/>
                  </a:lnTo>
                  <a:lnTo>
                    <a:pt x="353" y="45"/>
                  </a:lnTo>
                  <a:lnTo>
                    <a:pt x="356" y="45"/>
                  </a:lnTo>
                  <a:lnTo>
                    <a:pt x="356" y="50"/>
                  </a:lnTo>
                  <a:lnTo>
                    <a:pt x="356" y="55"/>
                  </a:lnTo>
                  <a:lnTo>
                    <a:pt x="356" y="57"/>
                  </a:lnTo>
                  <a:lnTo>
                    <a:pt x="356" y="59"/>
                  </a:lnTo>
                  <a:lnTo>
                    <a:pt x="356" y="61"/>
                  </a:lnTo>
                  <a:lnTo>
                    <a:pt x="356" y="67"/>
                  </a:lnTo>
                  <a:lnTo>
                    <a:pt x="356" y="69"/>
                  </a:lnTo>
                  <a:lnTo>
                    <a:pt x="356" y="73"/>
                  </a:lnTo>
                  <a:lnTo>
                    <a:pt x="356" y="74"/>
                  </a:lnTo>
                  <a:lnTo>
                    <a:pt x="356" y="76"/>
                  </a:lnTo>
                  <a:lnTo>
                    <a:pt x="356" y="88"/>
                  </a:lnTo>
                  <a:lnTo>
                    <a:pt x="356" y="90"/>
                  </a:lnTo>
                  <a:lnTo>
                    <a:pt x="356" y="95"/>
                  </a:lnTo>
                  <a:lnTo>
                    <a:pt x="356" y="97"/>
                  </a:lnTo>
                  <a:lnTo>
                    <a:pt x="356" y="98"/>
                  </a:lnTo>
                  <a:lnTo>
                    <a:pt x="356" y="102"/>
                  </a:lnTo>
                  <a:lnTo>
                    <a:pt x="356" y="104"/>
                  </a:lnTo>
                  <a:lnTo>
                    <a:pt x="356" y="107"/>
                  </a:lnTo>
                  <a:lnTo>
                    <a:pt x="356" y="109"/>
                  </a:lnTo>
                  <a:lnTo>
                    <a:pt x="356" y="112"/>
                  </a:lnTo>
                  <a:lnTo>
                    <a:pt x="356" y="114"/>
                  </a:lnTo>
                  <a:lnTo>
                    <a:pt x="356" y="119"/>
                  </a:lnTo>
                  <a:lnTo>
                    <a:pt x="356" y="122"/>
                  </a:lnTo>
                  <a:lnTo>
                    <a:pt x="356" y="128"/>
                  </a:lnTo>
                  <a:lnTo>
                    <a:pt x="356" y="133"/>
                  </a:lnTo>
                  <a:lnTo>
                    <a:pt x="356" y="133"/>
                  </a:lnTo>
                  <a:lnTo>
                    <a:pt x="356" y="134"/>
                  </a:lnTo>
                  <a:lnTo>
                    <a:pt x="356" y="140"/>
                  </a:lnTo>
                  <a:lnTo>
                    <a:pt x="356" y="145"/>
                  </a:lnTo>
                  <a:lnTo>
                    <a:pt x="356" y="150"/>
                  </a:lnTo>
                  <a:lnTo>
                    <a:pt x="356" y="155"/>
                  </a:lnTo>
                  <a:lnTo>
                    <a:pt x="354" y="164"/>
                  </a:lnTo>
                  <a:lnTo>
                    <a:pt x="354" y="174"/>
                  </a:lnTo>
                  <a:lnTo>
                    <a:pt x="354" y="176"/>
                  </a:lnTo>
                  <a:lnTo>
                    <a:pt x="354" y="177"/>
                  </a:lnTo>
                  <a:lnTo>
                    <a:pt x="354" y="177"/>
                  </a:lnTo>
                  <a:lnTo>
                    <a:pt x="354" y="190"/>
                  </a:lnTo>
                  <a:lnTo>
                    <a:pt x="354" y="191"/>
                  </a:lnTo>
                  <a:lnTo>
                    <a:pt x="354" y="195"/>
                  </a:lnTo>
                  <a:lnTo>
                    <a:pt x="354" y="208"/>
                  </a:lnTo>
                  <a:lnTo>
                    <a:pt x="354" y="210"/>
                  </a:lnTo>
                  <a:lnTo>
                    <a:pt x="354" y="212"/>
                  </a:lnTo>
                  <a:lnTo>
                    <a:pt x="356" y="212"/>
                  </a:lnTo>
                  <a:lnTo>
                    <a:pt x="354" y="215"/>
                  </a:lnTo>
                  <a:lnTo>
                    <a:pt x="354" y="219"/>
                  </a:lnTo>
                  <a:lnTo>
                    <a:pt x="354" y="227"/>
                  </a:lnTo>
                  <a:lnTo>
                    <a:pt x="354" y="229"/>
                  </a:lnTo>
                  <a:lnTo>
                    <a:pt x="354" y="234"/>
                  </a:lnTo>
                  <a:lnTo>
                    <a:pt x="354" y="239"/>
                  </a:lnTo>
                  <a:lnTo>
                    <a:pt x="354" y="246"/>
                  </a:lnTo>
                  <a:lnTo>
                    <a:pt x="351" y="246"/>
                  </a:lnTo>
                  <a:lnTo>
                    <a:pt x="346" y="246"/>
                  </a:lnTo>
                  <a:lnTo>
                    <a:pt x="344" y="246"/>
                  </a:lnTo>
                  <a:lnTo>
                    <a:pt x="342" y="246"/>
                  </a:lnTo>
                  <a:lnTo>
                    <a:pt x="340" y="246"/>
                  </a:lnTo>
                  <a:lnTo>
                    <a:pt x="339" y="246"/>
                  </a:lnTo>
                  <a:lnTo>
                    <a:pt x="335" y="246"/>
                  </a:lnTo>
                  <a:lnTo>
                    <a:pt x="332" y="246"/>
                  </a:lnTo>
                  <a:lnTo>
                    <a:pt x="332" y="246"/>
                  </a:lnTo>
                  <a:lnTo>
                    <a:pt x="323" y="246"/>
                  </a:lnTo>
                  <a:lnTo>
                    <a:pt x="310" y="248"/>
                  </a:lnTo>
                  <a:lnTo>
                    <a:pt x="306" y="248"/>
                  </a:lnTo>
                  <a:lnTo>
                    <a:pt x="299" y="248"/>
                  </a:lnTo>
                  <a:lnTo>
                    <a:pt x="297" y="248"/>
                  </a:lnTo>
                  <a:lnTo>
                    <a:pt x="296" y="248"/>
                  </a:lnTo>
                  <a:lnTo>
                    <a:pt x="291" y="248"/>
                  </a:lnTo>
                  <a:lnTo>
                    <a:pt x="287" y="248"/>
                  </a:lnTo>
                  <a:lnTo>
                    <a:pt x="280" y="248"/>
                  </a:lnTo>
                  <a:lnTo>
                    <a:pt x="272" y="248"/>
                  </a:lnTo>
                  <a:lnTo>
                    <a:pt x="267" y="248"/>
                  </a:lnTo>
                  <a:lnTo>
                    <a:pt x="263" y="248"/>
                  </a:lnTo>
                  <a:lnTo>
                    <a:pt x="261" y="248"/>
                  </a:lnTo>
                  <a:lnTo>
                    <a:pt x="260" y="248"/>
                  </a:lnTo>
                  <a:lnTo>
                    <a:pt x="251" y="248"/>
                  </a:lnTo>
                  <a:lnTo>
                    <a:pt x="249" y="248"/>
                  </a:lnTo>
                  <a:lnTo>
                    <a:pt x="248" y="248"/>
                  </a:lnTo>
                  <a:lnTo>
                    <a:pt x="242" y="248"/>
                  </a:lnTo>
                  <a:lnTo>
                    <a:pt x="242" y="248"/>
                  </a:lnTo>
                  <a:lnTo>
                    <a:pt x="239" y="248"/>
                  </a:lnTo>
                  <a:lnTo>
                    <a:pt x="230" y="248"/>
                  </a:lnTo>
                  <a:lnTo>
                    <a:pt x="227" y="248"/>
                  </a:lnTo>
                  <a:lnTo>
                    <a:pt x="217" y="248"/>
                  </a:lnTo>
                  <a:lnTo>
                    <a:pt x="215" y="248"/>
                  </a:lnTo>
                  <a:lnTo>
                    <a:pt x="210" y="248"/>
                  </a:lnTo>
                  <a:lnTo>
                    <a:pt x="208" y="248"/>
                  </a:lnTo>
                  <a:lnTo>
                    <a:pt x="206" y="248"/>
                  </a:lnTo>
                  <a:lnTo>
                    <a:pt x="205" y="248"/>
                  </a:lnTo>
                  <a:lnTo>
                    <a:pt x="203" y="248"/>
                  </a:lnTo>
                  <a:lnTo>
                    <a:pt x="196" y="248"/>
                  </a:lnTo>
                  <a:lnTo>
                    <a:pt x="194" y="248"/>
                  </a:lnTo>
                  <a:lnTo>
                    <a:pt x="193" y="248"/>
                  </a:lnTo>
                  <a:lnTo>
                    <a:pt x="191" y="248"/>
                  </a:lnTo>
                  <a:lnTo>
                    <a:pt x="189" y="248"/>
                  </a:lnTo>
                  <a:lnTo>
                    <a:pt x="186" y="248"/>
                  </a:lnTo>
                  <a:lnTo>
                    <a:pt x="182" y="248"/>
                  </a:lnTo>
                  <a:lnTo>
                    <a:pt x="181" y="248"/>
                  </a:lnTo>
                  <a:lnTo>
                    <a:pt x="179" y="248"/>
                  </a:lnTo>
                  <a:lnTo>
                    <a:pt x="172" y="248"/>
                  </a:lnTo>
                  <a:lnTo>
                    <a:pt x="170" y="248"/>
                  </a:lnTo>
                  <a:lnTo>
                    <a:pt x="160" y="248"/>
                  </a:lnTo>
                  <a:lnTo>
                    <a:pt x="158" y="248"/>
                  </a:lnTo>
                  <a:lnTo>
                    <a:pt x="153" y="248"/>
                  </a:lnTo>
                  <a:lnTo>
                    <a:pt x="150" y="248"/>
                  </a:lnTo>
                  <a:lnTo>
                    <a:pt x="138" y="248"/>
                  </a:lnTo>
                  <a:lnTo>
                    <a:pt x="136" y="248"/>
                  </a:lnTo>
                  <a:lnTo>
                    <a:pt x="134" y="248"/>
                  </a:lnTo>
                  <a:lnTo>
                    <a:pt x="132" y="248"/>
                  </a:lnTo>
                  <a:lnTo>
                    <a:pt x="129" y="248"/>
                  </a:lnTo>
                  <a:lnTo>
                    <a:pt x="125" y="248"/>
                  </a:lnTo>
                  <a:lnTo>
                    <a:pt x="115" y="246"/>
                  </a:lnTo>
                  <a:lnTo>
                    <a:pt x="112" y="246"/>
                  </a:lnTo>
                  <a:lnTo>
                    <a:pt x="103" y="246"/>
                  </a:lnTo>
                  <a:lnTo>
                    <a:pt x="101" y="246"/>
                  </a:lnTo>
                  <a:lnTo>
                    <a:pt x="98" y="246"/>
                  </a:lnTo>
                  <a:lnTo>
                    <a:pt x="93" y="246"/>
                  </a:lnTo>
                  <a:lnTo>
                    <a:pt x="91" y="246"/>
                  </a:lnTo>
                  <a:lnTo>
                    <a:pt x="88" y="246"/>
                  </a:lnTo>
                  <a:lnTo>
                    <a:pt x="81" y="246"/>
                  </a:lnTo>
                  <a:lnTo>
                    <a:pt x="79" y="246"/>
                  </a:lnTo>
                  <a:lnTo>
                    <a:pt x="77" y="246"/>
                  </a:lnTo>
                  <a:lnTo>
                    <a:pt x="76" y="246"/>
                  </a:lnTo>
                  <a:lnTo>
                    <a:pt x="76" y="246"/>
                  </a:lnTo>
                  <a:lnTo>
                    <a:pt x="70" y="246"/>
                  </a:lnTo>
                  <a:lnTo>
                    <a:pt x="65" y="245"/>
                  </a:lnTo>
                  <a:lnTo>
                    <a:pt x="64" y="245"/>
                  </a:lnTo>
                  <a:lnTo>
                    <a:pt x="50" y="245"/>
                  </a:lnTo>
                  <a:lnTo>
                    <a:pt x="41" y="245"/>
                  </a:lnTo>
                  <a:lnTo>
                    <a:pt x="39" y="245"/>
                  </a:lnTo>
                  <a:lnTo>
                    <a:pt x="38" y="245"/>
                  </a:lnTo>
                  <a:lnTo>
                    <a:pt x="36" y="245"/>
                  </a:lnTo>
                  <a:lnTo>
                    <a:pt x="34" y="245"/>
                  </a:lnTo>
                  <a:lnTo>
                    <a:pt x="33" y="245"/>
                  </a:lnTo>
                  <a:lnTo>
                    <a:pt x="31" y="245"/>
                  </a:lnTo>
                  <a:lnTo>
                    <a:pt x="26" y="243"/>
                  </a:lnTo>
                  <a:lnTo>
                    <a:pt x="19" y="243"/>
                  </a:lnTo>
                  <a:lnTo>
                    <a:pt x="9" y="243"/>
                  </a:lnTo>
                  <a:lnTo>
                    <a:pt x="0" y="243"/>
                  </a:lnTo>
                  <a:lnTo>
                    <a:pt x="0" y="241"/>
                  </a:lnTo>
                  <a:lnTo>
                    <a:pt x="0" y="239"/>
                  </a:lnTo>
                  <a:lnTo>
                    <a:pt x="0" y="234"/>
                  </a:lnTo>
                  <a:lnTo>
                    <a:pt x="2" y="233"/>
                  </a:lnTo>
                  <a:lnTo>
                    <a:pt x="2" y="231"/>
                  </a:lnTo>
                  <a:lnTo>
                    <a:pt x="2" y="227"/>
                  </a:lnTo>
                  <a:lnTo>
                    <a:pt x="2" y="226"/>
                  </a:lnTo>
                  <a:lnTo>
                    <a:pt x="2" y="224"/>
                  </a:lnTo>
                  <a:lnTo>
                    <a:pt x="2" y="222"/>
                  </a:lnTo>
                  <a:lnTo>
                    <a:pt x="2" y="221"/>
                  </a:lnTo>
                  <a:lnTo>
                    <a:pt x="2" y="215"/>
                  </a:lnTo>
                  <a:lnTo>
                    <a:pt x="2" y="214"/>
                  </a:lnTo>
                  <a:lnTo>
                    <a:pt x="2" y="212"/>
                  </a:lnTo>
                  <a:lnTo>
                    <a:pt x="2" y="208"/>
                  </a:lnTo>
                  <a:lnTo>
                    <a:pt x="2" y="198"/>
                  </a:lnTo>
                  <a:lnTo>
                    <a:pt x="2" y="195"/>
                  </a:lnTo>
                  <a:lnTo>
                    <a:pt x="2" y="193"/>
                  </a:lnTo>
                  <a:lnTo>
                    <a:pt x="2" y="186"/>
                  </a:lnTo>
                  <a:lnTo>
                    <a:pt x="2" y="183"/>
                  </a:lnTo>
                  <a:lnTo>
                    <a:pt x="2" y="181"/>
                  </a:lnTo>
                  <a:lnTo>
                    <a:pt x="2" y="179"/>
                  </a:lnTo>
                  <a:lnTo>
                    <a:pt x="2" y="171"/>
                  </a:lnTo>
                  <a:lnTo>
                    <a:pt x="2" y="169"/>
                  </a:lnTo>
                  <a:lnTo>
                    <a:pt x="2" y="167"/>
                  </a:lnTo>
                  <a:lnTo>
                    <a:pt x="2" y="164"/>
                  </a:lnTo>
                  <a:lnTo>
                    <a:pt x="2" y="159"/>
                  </a:lnTo>
                  <a:lnTo>
                    <a:pt x="3" y="152"/>
                  </a:lnTo>
                  <a:lnTo>
                    <a:pt x="3" y="148"/>
                  </a:lnTo>
                  <a:lnTo>
                    <a:pt x="3" y="136"/>
                  </a:lnTo>
                  <a:lnTo>
                    <a:pt x="3" y="134"/>
                  </a:lnTo>
                  <a:lnTo>
                    <a:pt x="3" y="133"/>
                  </a:lnTo>
                  <a:lnTo>
                    <a:pt x="3" y="131"/>
                  </a:lnTo>
                  <a:lnTo>
                    <a:pt x="3" y="128"/>
                  </a:lnTo>
                  <a:lnTo>
                    <a:pt x="3" y="126"/>
                  </a:lnTo>
                  <a:lnTo>
                    <a:pt x="3" y="119"/>
                  </a:lnTo>
                  <a:lnTo>
                    <a:pt x="3" y="114"/>
                  </a:lnTo>
                  <a:lnTo>
                    <a:pt x="3" y="104"/>
                  </a:lnTo>
                  <a:lnTo>
                    <a:pt x="3" y="97"/>
                  </a:lnTo>
                  <a:lnTo>
                    <a:pt x="3" y="91"/>
                  </a:lnTo>
                  <a:lnTo>
                    <a:pt x="3" y="86"/>
                  </a:lnTo>
                  <a:lnTo>
                    <a:pt x="3" y="78"/>
                  </a:lnTo>
                  <a:lnTo>
                    <a:pt x="5" y="74"/>
                  </a:lnTo>
                  <a:lnTo>
                    <a:pt x="3" y="73"/>
                  </a:lnTo>
                  <a:lnTo>
                    <a:pt x="5" y="66"/>
                  </a:lnTo>
                  <a:lnTo>
                    <a:pt x="5" y="61"/>
                  </a:lnTo>
                  <a:lnTo>
                    <a:pt x="5" y="57"/>
                  </a:lnTo>
                  <a:lnTo>
                    <a:pt x="5" y="57"/>
                  </a:lnTo>
                  <a:lnTo>
                    <a:pt x="5" y="52"/>
                  </a:lnTo>
                  <a:lnTo>
                    <a:pt x="5" y="45"/>
                  </a:lnTo>
                  <a:lnTo>
                    <a:pt x="5" y="45"/>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8" name="Freeform 153"/>
            <p:cNvSpPr>
              <a:spLocks/>
            </p:cNvSpPr>
            <p:nvPr/>
          </p:nvSpPr>
          <p:spPr bwMode="auto">
            <a:xfrm>
              <a:off x="5263446" y="1584119"/>
              <a:ext cx="538163" cy="527050"/>
            </a:xfrm>
            <a:custGeom>
              <a:avLst/>
              <a:gdLst/>
              <a:ahLst/>
              <a:cxnLst>
                <a:cxn ang="0">
                  <a:pos x="28" y="2"/>
                </a:cxn>
                <a:cxn ang="0">
                  <a:pos x="57" y="0"/>
                </a:cxn>
                <a:cxn ang="0">
                  <a:pos x="74" y="0"/>
                </a:cxn>
                <a:cxn ang="0">
                  <a:pos x="102" y="0"/>
                </a:cxn>
                <a:cxn ang="0">
                  <a:pos x="117" y="0"/>
                </a:cxn>
                <a:cxn ang="0">
                  <a:pos x="138" y="0"/>
                </a:cxn>
                <a:cxn ang="0">
                  <a:pos x="157" y="0"/>
                </a:cxn>
                <a:cxn ang="0">
                  <a:pos x="174" y="0"/>
                </a:cxn>
                <a:cxn ang="0">
                  <a:pos x="203" y="0"/>
                </a:cxn>
                <a:cxn ang="0">
                  <a:pos x="219" y="0"/>
                </a:cxn>
                <a:cxn ang="0">
                  <a:pos x="236" y="0"/>
                </a:cxn>
                <a:cxn ang="0">
                  <a:pos x="256" y="0"/>
                </a:cxn>
                <a:cxn ang="0">
                  <a:pos x="280" y="0"/>
                </a:cxn>
                <a:cxn ang="0">
                  <a:pos x="305" y="0"/>
                </a:cxn>
                <a:cxn ang="0">
                  <a:pos x="305" y="28"/>
                </a:cxn>
                <a:cxn ang="0">
                  <a:pos x="305" y="48"/>
                </a:cxn>
                <a:cxn ang="0">
                  <a:pos x="327" y="65"/>
                </a:cxn>
                <a:cxn ang="0">
                  <a:pos x="337" y="79"/>
                </a:cxn>
                <a:cxn ang="0">
                  <a:pos x="337" y="102"/>
                </a:cxn>
                <a:cxn ang="0">
                  <a:pos x="337" y="126"/>
                </a:cxn>
                <a:cxn ang="0">
                  <a:pos x="337" y="151"/>
                </a:cxn>
                <a:cxn ang="0">
                  <a:pos x="337" y="174"/>
                </a:cxn>
                <a:cxn ang="0">
                  <a:pos x="336" y="193"/>
                </a:cxn>
                <a:cxn ang="0">
                  <a:pos x="336" y="225"/>
                </a:cxn>
                <a:cxn ang="0">
                  <a:pos x="334" y="282"/>
                </a:cxn>
                <a:cxn ang="0">
                  <a:pos x="334" y="310"/>
                </a:cxn>
                <a:cxn ang="0">
                  <a:pos x="332" y="332"/>
                </a:cxn>
                <a:cxn ang="0">
                  <a:pos x="303" y="332"/>
                </a:cxn>
                <a:cxn ang="0">
                  <a:pos x="280" y="330"/>
                </a:cxn>
                <a:cxn ang="0">
                  <a:pos x="263" y="330"/>
                </a:cxn>
                <a:cxn ang="0">
                  <a:pos x="246" y="330"/>
                </a:cxn>
                <a:cxn ang="0">
                  <a:pos x="222" y="330"/>
                </a:cxn>
                <a:cxn ang="0">
                  <a:pos x="201" y="330"/>
                </a:cxn>
                <a:cxn ang="0">
                  <a:pos x="176" y="330"/>
                </a:cxn>
                <a:cxn ang="0">
                  <a:pos x="148" y="330"/>
                </a:cxn>
                <a:cxn ang="0">
                  <a:pos x="131" y="330"/>
                </a:cxn>
                <a:cxn ang="0">
                  <a:pos x="117" y="330"/>
                </a:cxn>
                <a:cxn ang="0">
                  <a:pos x="100" y="327"/>
                </a:cxn>
                <a:cxn ang="0">
                  <a:pos x="102" y="308"/>
                </a:cxn>
                <a:cxn ang="0">
                  <a:pos x="102" y="299"/>
                </a:cxn>
                <a:cxn ang="0">
                  <a:pos x="102" y="286"/>
                </a:cxn>
                <a:cxn ang="0">
                  <a:pos x="102" y="267"/>
                </a:cxn>
                <a:cxn ang="0">
                  <a:pos x="86" y="261"/>
                </a:cxn>
                <a:cxn ang="0">
                  <a:pos x="60" y="261"/>
                </a:cxn>
                <a:cxn ang="0">
                  <a:pos x="41" y="261"/>
                </a:cxn>
                <a:cxn ang="0">
                  <a:pos x="14" y="261"/>
                </a:cxn>
                <a:cxn ang="0">
                  <a:pos x="0" y="253"/>
                </a:cxn>
                <a:cxn ang="0">
                  <a:pos x="2" y="239"/>
                </a:cxn>
                <a:cxn ang="0">
                  <a:pos x="2" y="225"/>
                </a:cxn>
                <a:cxn ang="0">
                  <a:pos x="2" y="206"/>
                </a:cxn>
                <a:cxn ang="0">
                  <a:pos x="2" y="170"/>
                </a:cxn>
                <a:cxn ang="0">
                  <a:pos x="4" y="150"/>
                </a:cxn>
                <a:cxn ang="0">
                  <a:pos x="4" y="115"/>
                </a:cxn>
                <a:cxn ang="0">
                  <a:pos x="5" y="93"/>
                </a:cxn>
                <a:cxn ang="0">
                  <a:pos x="5" y="62"/>
                </a:cxn>
                <a:cxn ang="0">
                  <a:pos x="7" y="29"/>
                </a:cxn>
              </a:cxnLst>
              <a:rect l="0" t="0" r="r" b="b"/>
              <a:pathLst>
                <a:path w="339" h="332">
                  <a:moveTo>
                    <a:pt x="7" y="2"/>
                  </a:moveTo>
                  <a:lnTo>
                    <a:pt x="10" y="2"/>
                  </a:lnTo>
                  <a:lnTo>
                    <a:pt x="14" y="2"/>
                  </a:lnTo>
                  <a:lnTo>
                    <a:pt x="17" y="2"/>
                  </a:lnTo>
                  <a:lnTo>
                    <a:pt x="26" y="2"/>
                  </a:lnTo>
                  <a:lnTo>
                    <a:pt x="28" y="2"/>
                  </a:lnTo>
                  <a:lnTo>
                    <a:pt x="41" y="2"/>
                  </a:lnTo>
                  <a:lnTo>
                    <a:pt x="43" y="2"/>
                  </a:lnTo>
                  <a:lnTo>
                    <a:pt x="45" y="2"/>
                  </a:lnTo>
                  <a:lnTo>
                    <a:pt x="48" y="0"/>
                  </a:lnTo>
                  <a:lnTo>
                    <a:pt x="50" y="0"/>
                  </a:lnTo>
                  <a:lnTo>
                    <a:pt x="57" y="0"/>
                  </a:lnTo>
                  <a:lnTo>
                    <a:pt x="59" y="0"/>
                  </a:lnTo>
                  <a:lnTo>
                    <a:pt x="62" y="0"/>
                  </a:lnTo>
                  <a:lnTo>
                    <a:pt x="64" y="0"/>
                  </a:lnTo>
                  <a:lnTo>
                    <a:pt x="65" y="0"/>
                  </a:lnTo>
                  <a:lnTo>
                    <a:pt x="69" y="0"/>
                  </a:lnTo>
                  <a:lnTo>
                    <a:pt x="74" y="0"/>
                  </a:lnTo>
                  <a:lnTo>
                    <a:pt x="76" y="0"/>
                  </a:lnTo>
                  <a:lnTo>
                    <a:pt x="77" y="0"/>
                  </a:lnTo>
                  <a:lnTo>
                    <a:pt x="86" y="0"/>
                  </a:lnTo>
                  <a:lnTo>
                    <a:pt x="93" y="0"/>
                  </a:lnTo>
                  <a:lnTo>
                    <a:pt x="100" y="0"/>
                  </a:lnTo>
                  <a:lnTo>
                    <a:pt x="102" y="0"/>
                  </a:lnTo>
                  <a:lnTo>
                    <a:pt x="105" y="0"/>
                  </a:lnTo>
                  <a:lnTo>
                    <a:pt x="107" y="0"/>
                  </a:lnTo>
                  <a:lnTo>
                    <a:pt x="108" y="0"/>
                  </a:lnTo>
                  <a:lnTo>
                    <a:pt x="110" y="0"/>
                  </a:lnTo>
                  <a:lnTo>
                    <a:pt x="115" y="0"/>
                  </a:lnTo>
                  <a:lnTo>
                    <a:pt x="117" y="0"/>
                  </a:lnTo>
                  <a:lnTo>
                    <a:pt x="121" y="0"/>
                  </a:lnTo>
                  <a:lnTo>
                    <a:pt x="126" y="0"/>
                  </a:lnTo>
                  <a:lnTo>
                    <a:pt x="133" y="0"/>
                  </a:lnTo>
                  <a:lnTo>
                    <a:pt x="134" y="0"/>
                  </a:lnTo>
                  <a:lnTo>
                    <a:pt x="136" y="0"/>
                  </a:lnTo>
                  <a:lnTo>
                    <a:pt x="138" y="0"/>
                  </a:lnTo>
                  <a:lnTo>
                    <a:pt x="139" y="0"/>
                  </a:lnTo>
                  <a:lnTo>
                    <a:pt x="143" y="0"/>
                  </a:lnTo>
                  <a:lnTo>
                    <a:pt x="146" y="0"/>
                  </a:lnTo>
                  <a:lnTo>
                    <a:pt x="150" y="0"/>
                  </a:lnTo>
                  <a:lnTo>
                    <a:pt x="151" y="0"/>
                  </a:lnTo>
                  <a:lnTo>
                    <a:pt x="157" y="0"/>
                  </a:lnTo>
                  <a:lnTo>
                    <a:pt x="158" y="0"/>
                  </a:lnTo>
                  <a:lnTo>
                    <a:pt x="162" y="0"/>
                  </a:lnTo>
                  <a:lnTo>
                    <a:pt x="162" y="0"/>
                  </a:lnTo>
                  <a:lnTo>
                    <a:pt x="170" y="0"/>
                  </a:lnTo>
                  <a:lnTo>
                    <a:pt x="172" y="0"/>
                  </a:lnTo>
                  <a:lnTo>
                    <a:pt x="174" y="0"/>
                  </a:lnTo>
                  <a:lnTo>
                    <a:pt x="181" y="0"/>
                  </a:lnTo>
                  <a:lnTo>
                    <a:pt x="184" y="0"/>
                  </a:lnTo>
                  <a:lnTo>
                    <a:pt x="189" y="0"/>
                  </a:lnTo>
                  <a:lnTo>
                    <a:pt x="191" y="0"/>
                  </a:lnTo>
                  <a:lnTo>
                    <a:pt x="194" y="0"/>
                  </a:lnTo>
                  <a:lnTo>
                    <a:pt x="203" y="0"/>
                  </a:lnTo>
                  <a:lnTo>
                    <a:pt x="207" y="0"/>
                  </a:lnTo>
                  <a:lnTo>
                    <a:pt x="207" y="0"/>
                  </a:lnTo>
                  <a:lnTo>
                    <a:pt x="210" y="0"/>
                  </a:lnTo>
                  <a:lnTo>
                    <a:pt x="212" y="0"/>
                  </a:lnTo>
                  <a:lnTo>
                    <a:pt x="217" y="0"/>
                  </a:lnTo>
                  <a:lnTo>
                    <a:pt x="219" y="0"/>
                  </a:lnTo>
                  <a:lnTo>
                    <a:pt x="220" y="0"/>
                  </a:lnTo>
                  <a:lnTo>
                    <a:pt x="224" y="0"/>
                  </a:lnTo>
                  <a:lnTo>
                    <a:pt x="225" y="0"/>
                  </a:lnTo>
                  <a:lnTo>
                    <a:pt x="227" y="0"/>
                  </a:lnTo>
                  <a:lnTo>
                    <a:pt x="231" y="0"/>
                  </a:lnTo>
                  <a:lnTo>
                    <a:pt x="236" y="0"/>
                  </a:lnTo>
                  <a:lnTo>
                    <a:pt x="237" y="0"/>
                  </a:lnTo>
                  <a:lnTo>
                    <a:pt x="237" y="0"/>
                  </a:lnTo>
                  <a:lnTo>
                    <a:pt x="243" y="0"/>
                  </a:lnTo>
                  <a:lnTo>
                    <a:pt x="244" y="0"/>
                  </a:lnTo>
                  <a:lnTo>
                    <a:pt x="251" y="0"/>
                  </a:lnTo>
                  <a:lnTo>
                    <a:pt x="256" y="0"/>
                  </a:lnTo>
                  <a:lnTo>
                    <a:pt x="258" y="0"/>
                  </a:lnTo>
                  <a:lnTo>
                    <a:pt x="262" y="0"/>
                  </a:lnTo>
                  <a:lnTo>
                    <a:pt x="268" y="0"/>
                  </a:lnTo>
                  <a:lnTo>
                    <a:pt x="272" y="0"/>
                  </a:lnTo>
                  <a:lnTo>
                    <a:pt x="275" y="0"/>
                  </a:lnTo>
                  <a:lnTo>
                    <a:pt x="280" y="0"/>
                  </a:lnTo>
                  <a:lnTo>
                    <a:pt x="282" y="0"/>
                  </a:lnTo>
                  <a:lnTo>
                    <a:pt x="286" y="0"/>
                  </a:lnTo>
                  <a:lnTo>
                    <a:pt x="293" y="0"/>
                  </a:lnTo>
                  <a:lnTo>
                    <a:pt x="299" y="0"/>
                  </a:lnTo>
                  <a:lnTo>
                    <a:pt x="303" y="0"/>
                  </a:lnTo>
                  <a:lnTo>
                    <a:pt x="305" y="0"/>
                  </a:lnTo>
                  <a:lnTo>
                    <a:pt x="305" y="3"/>
                  </a:lnTo>
                  <a:lnTo>
                    <a:pt x="305" y="5"/>
                  </a:lnTo>
                  <a:lnTo>
                    <a:pt x="305" y="7"/>
                  </a:lnTo>
                  <a:lnTo>
                    <a:pt x="305" y="9"/>
                  </a:lnTo>
                  <a:lnTo>
                    <a:pt x="305" y="21"/>
                  </a:lnTo>
                  <a:lnTo>
                    <a:pt x="305" y="28"/>
                  </a:lnTo>
                  <a:lnTo>
                    <a:pt x="305" y="28"/>
                  </a:lnTo>
                  <a:lnTo>
                    <a:pt x="305" y="33"/>
                  </a:lnTo>
                  <a:lnTo>
                    <a:pt x="305" y="34"/>
                  </a:lnTo>
                  <a:lnTo>
                    <a:pt x="305" y="43"/>
                  </a:lnTo>
                  <a:lnTo>
                    <a:pt x="305" y="43"/>
                  </a:lnTo>
                  <a:lnTo>
                    <a:pt x="305" y="48"/>
                  </a:lnTo>
                  <a:lnTo>
                    <a:pt x="305" y="53"/>
                  </a:lnTo>
                  <a:lnTo>
                    <a:pt x="305" y="55"/>
                  </a:lnTo>
                  <a:lnTo>
                    <a:pt x="305" y="65"/>
                  </a:lnTo>
                  <a:lnTo>
                    <a:pt x="315" y="65"/>
                  </a:lnTo>
                  <a:lnTo>
                    <a:pt x="323" y="65"/>
                  </a:lnTo>
                  <a:lnTo>
                    <a:pt x="327" y="65"/>
                  </a:lnTo>
                  <a:lnTo>
                    <a:pt x="329" y="65"/>
                  </a:lnTo>
                  <a:lnTo>
                    <a:pt x="334" y="65"/>
                  </a:lnTo>
                  <a:lnTo>
                    <a:pt x="337" y="65"/>
                  </a:lnTo>
                  <a:lnTo>
                    <a:pt x="339" y="65"/>
                  </a:lnTo>
                  <a:lnTo>
                    <a:pt x="337" y="77"/>
                  </a:lnTo>
                  <a:lnTo>
                    <a:pt x="337" y="79"/>
                  </a:lnTo>
                  <a:lnTo>
                    <a:pt x="337" y="83"/>
                  </a:lnTo>
                  <a:lnTo>
                    <a:pt x="337" y="88"/>
                  </a:lnTo>
                  <a:lnTo>
                    <a:pt x="337" y="91"/>
                  </a:lnTo>
                  <a:lnTo>
                    <a:pt x="337" y="95"/>
                  </a:lnTo>
                  <a:lnTo>
                    <a:pt x="337" y="100"/>
                  </a:lnTo>
                  <a:lnTo>
                    <a:pt x="337" y="102"/>
                  </a:lnTo>
                  <a:lnTo>
                    <a:pt x="337" y="103"/>
                  </a:lnTo>
                  <a:lnTo>
                    <a:pt x="337" y="110"/>
                  </a:lnTo>
                  <a:lnTo>
                    <a:pt x="337" y="117"/>
                  </a:lnTo>
                  <a:lnTo>
                    <a:pt x="337" y="120"/>
                  </a:lnTo>
                  <a:lnTo>
                    <a:pt x="337" y="124"/>
                  </a:lnTo>
                  <a:lnTo>
                    <a:pt x="337" y="126"/>
                  </a:lnTo>
                  <a:lnTo>
                    <a:pt x="337" y="127"/>
                  </a:lnTo>
                  <a:lnTo>
                    <a:pt x="337" y="132"/>
                  </a:lnTo>
                  <a:lnTo>
                    <a:pt x="337" y="134"/>
                  </a:lnTo>
                  <a:lnTo>
                    <a:pt x="337" y="138"/>
                  </a:lnTo>
                  <a:lnTo>
                    <a:pt x="337" y="148"/>
                  </a:lnTo>
                  <a:lnTo>
                    <a:pt x="337" y="151"/>
                  </a:lnTo>
                  <a:lnTo>
                    <a:pt x="337" y="153"/>
                  </a:lnTo>
                  <a:lnTo>
                    <a:pt x="337" y="157"/>
                  </a:lnTo>
                  <a:lnTo>
                    <a:pt x="337" y="160"/>
                  </a:lnTo>
                  <a:lnTo>
                    <a:pt x="337" y="162"/>
                  </a:lnTo>
                  <a:lnTo>
                    <a:pt x="337" y="165"/>
                  </a:lnTo>
                  <a:lnTo>
                    <a:pt x="337" y="174"/>
                  </a:lnTo>
                  <a:lnTo>
                    <a:pt x="337" y="177"/>
                  </a:lnTo>
                  <a:lnTo>
                    <a:pt x="336" y="182"/>
                  </a:lnTo>
                  <a:lnTo>
                    <a:pt x="336" y="184"/>
                  </a:lnTo>
                  <a:lnTo>
                    <a:pt x="336" y="188"/>
                  </a:lnTo>
                  <a:lnTo>
                    <a:pt x="336" y="189"/>
                  </a:lnTo>
                  <a:lnTo>
                    <a:pt x="336" y="193"/>
                  </a:lnTo>
                  <a:lnTo>
                    <a:pt x="336" y="198"/>
                  </a:lnTo>
                  <a:lnTo>
                    <a:pt x="336" y="203"/>
                  </a:lnTo>
                  <a:lnTo>
                    <a:pt x="336" y="208"/>
                  </a:lnTo>
                  <a:lnTo>
                    <a:pt x="336" y="210"/>
                  </a:lnTo>
                  <a:lnTo>
                    <a:pt x="336" y="222"/>
                  </a:lnTo>
                  <a:lnTo>
                    <a:pt x="336" y="225"/>
                  </a:lnTo>
                  <a:lnTo>
                    <a:pt x="336" y="232"/>
                  </a:lnTo>
                  <a:lnTo>
                    <a:pt x="334" y="239"/>
                  </a:lnTo>
                  <a:lnTo>
                    <a:pt x="334" y="243"/>
                  </a:lnTo>
                  <a:lnTo>
                    <a:pt x="334" y="255"/>
                  </a:lnTo>
                  <a:lnTo>
                    <a:pt x="334" y="267"/>
                  </a:lnTo>
                  <a:lnTo>
                    <a:pt x="334" y="282"/>
                  </a:lnTo>
                  <a:lnTo>
                    <a:pt x="334" y="287"/>
                  </a:lnTo>
                  <a:lnTo>
                    <a:pt x="334" y="294"/>
                  </a:lnTo>
                  <a:lnTo>
                    <a:pt x="334" y="299"/>
                  </a:lnTo>
                  <a:lnTo>
                    <a:pt x="334" y="301"/>
                  </a:lnTo>
                  <a:lnTo>
                    <a:pt x="334" y="305"/>
                  </a:lnTo>
                  <a:lnTo>
                    <a:pt x="334" y="310"/>
                  </a:lnTo>
                  <a:lnTo>
                    <a:pt x="334" y="317"/>
                  </a:lnTo>
                  <a:lnTo>
                    <a:pt x="334" y="318"/>
                  </a:lnTo>
                  <a:lnTo>
                    <a:pt x="334" y="322"/>
                  </a:lnTo>
                  <a:lnTo>
                    <a:pt x="334" y="323"/>
                  </a:lnTo>
                  <a:lnTo>
                    <a:pt x="332" y="330"/>
                  </a:lnTo>
                  <a:lnTo>
                    <a:pt x="332" y="332"/>
                  </a:lnTo>
                  <a:lnTo>
                    <a:pt x="327" y="332"/>
                  </a:lnTo>
                  <a:lnTo>
                    <a:pt x="325" y="332"/>
                  </a:lnTo>
                  <a:lnTo>
                    <a:pt x="320" y="332"/>
                  </a:lnTo>
                  <a:lnTo>
                    <a:pt x="311" y="332"/>
                  </a:lnTo>
                  <a:lnTo>
                    <a:pt x="310" y="332"/>
                  </a:lnTo>
                  <a:lnTo>
                    <a:pt x="303" y="332"/>
                  </a:lnTo>
                  <a:lnTo>
                    <a:pt x="299" y="332"/>
                  </a:lnTo>
                  <a:lnTo>
                    <a:pt x="293" y="332"/>
                  </a:lnTo>
                  <a:lnTo>
                    <a:pt x="287" y="330"/>
                  </a:lnTo>
                  <a:lnTo>
                    <a:pt x="282" y="330"/>
                  </a:lnTo>
                  <a:lnTo>
                    <a:pt x="282" y="330"/>
                  </a:lnTo>
                  <a:lnTo>
                    <a:pt x="280" y="330"/>
                  </a:lnTo>
                  <a:lnTo>
                    <a:pt x="275" y="330"/>
                  </a:lnTo>
                  <a:lnTo>
                    <a:pt x="270" y="330"/>
                  </a:lnTo>
                  <a:lnTo>
                    <a:pt x="268" y="330"/>
                  </a:lnTo>
                  <a:lnTo>
                    <a:pt x="267" y="330"/>
                  </a:lnTo>
                  <a:lnTo>
                    <a:pt x="267" y="330"/>
                  </a:lnTo>
                  <a:lnTo>
                    <a:pt x="263" y="330"/>
                  </a:lnTo>
                  <a:lnTo>
                    <a:pt x="258" y="330"/>
                  </a:lnTo>
                  <a:lnTo>
                    <a:pt x="256" y="330"/>
                  </a:lnTo>
                  <a:lnTo>
                    <a:pt x="255" y="330"/>
                  </a:lnTo>
                  <a:lnTo>
                    <a:pt x="250" y="330"/>
                  </a:lnTo>
                  <a:lnTo>
                    <a:pt x="248" y="330"/>
                  </a:lnTo>
                  <a:lnTo>
                    <a:pt x="246" y="330"/>
                  </a:lnTo>
                  <a:lnTo>
                    <a:pt x="244" y="330"/>
                  </a:lnTo>
                  <a:lnTo>
                    <a:pt x="241" y="330"/>
                  </a:lnTo>
                  <a:lnTo>
                    <a:pt x="239" y="330"/>
                  </a:lnTo>
                  <a:lnTo>
                    <a:pt x="231" y="330"/>
                  </a:lnTo>
                  <a:lnTo>
                    <a:pt x="224" y="330"/>
                  </a:lnTo>
                  <a:lnTo>
                    <a:pt x="222" y="330"/>
                  </a:lnTo>
                  <a:lnTo>
                    <a:pt x="217" y="330"/>
                  </a:lnTo>
                  <a:lnTo>
                    <a:pt x="213" y="330"/>
                  </a:lnTo>
                  <a:lnTo>
                    <a:pt x="208" y="330"/>
                  </a:lnTo>
                  <a:lnTo>
                    <a:pt x="207" y="330"/>
                  </a:lnTo>
                  <a:lnTo>
                    <a:pt x="205" y="330"/>
                  </a:lnTo>
                  <a:lnTo>
                    <a:pt x="201" y="330"/>
                  </a:lnTo>
                  <a:lnTo>
                    <a:pt x="200" y="330"/>
                  </a:lnTo>
                  <a:lnTo>
                    <a:pt x="198" y="330"/>
                  </a:lnTo>
                  <a:lnTo>
                    <a:pt x="196" y="330"/>
                  </a:lnTo>
                  <a:lnTo>
                    <a:pt x="194" y="330"/>
                  </a:lnTo>
                  <a:lnTo>
                    <a:pt x="188" y="330"/>
                  </a:lnTo>
                  <a:lnTo>
                    <a:pt x="176" y="330"/>
                  </a:lnTo>
                  <a:lnTo>
                    <a:pt x="170" y="330"/>
                  </a:lnTo>
                  <a:lnTo>
                    <a:pt x="169" y="330"/>
                  </a:lnTo>
                  <a:lnTo>
                    <a:pt x="162" y="330"/>
                  </a:lnTo>
                  <a:lnTo>
                    <a:pt x="153" y="330"/>
                  </a:lnTo>
                  <a:lnTo>
                    <a:pt x="151" y="330"/>
                  </a:lnTo>
                  <a:lnTo>
                    <a:pt x="148" y="330"/>
                  </a:lnTo>
                  <a:lnTo>
                    <a:pt x="145" y="330"/>
                  </a:lnTo>
                  <a:lnTo>
                    <a:pt x="143" y="330"/>
                  </a:lnTo>
                  <a:lnTo>
                    <a:pt x="139" y="330"/>
                  </a:lnTo>
                  <a:lnTo>
                    <a:pt x="133" y="330"/>
                  </a:lnTo>
                  <a:lnTo>
                    <a:pt x="131" y="330"/>
                  </a:lnTo>
                  <a:lnTo>
                    <a:pt x="131" y="330"/>
                  </a:lnTo>
                  <a:lnTo>
                    <a:pt x="129" y="330"/>
                  </a:lnTo>
                  <a:lnTo>
                    <a:pt x="127" y="330"/>
                  </a:lnTo>
                  <a:lnTo>
                    <a:pt x="126" y="330"/>
                  </a:lnTo>
                  <a:lnTo>
                    <a:pt x="122" y="330"/>
                  </a:lnTo>
                  <a:lnTo>
                    <a:pt x="119" y="330"/>
                  </a:lnTo>
                  <a:lnTo>
                    <a:pt x="117" y="330"/>
                  </a:lnTo>
                  <a:lnTo>
                    <a:pt x="112" y="330"/>
                  </a:lnTo>
                  <a:lnTo>
                    <a:pt x="110" y="330"/>
                  </a:lnTo>
                  <a:lnTo>
                    <a:pt x="102" y="330"/>
                  </a:lnTo>
                  <a:lnTo>
                    <a:pt x="102" y="330"/>
                  </a:lnTo>
                  <a:lnTo>
                    <a:pt x="100" y="330"/>
                  </a:lnTo>
                  <a:lnTo>
                    <a:pt x="100" y="327"/>
                  </a:lnTo>
                  <a:lnTo>
                    <a:pt x="100" y="322"/>
                  </a:lnTo>
                  <a:lnTo>
                    <a:pt x="100" y="318"/>
                  </a:lnTo>
                  <a:lnTo>
                    <a:pt x="100" y="315"/>
                  </a:lnTo>
                  <a:lnTo>
                    <a:pt x="102" y="313"/>
                  </a:lnTo>
                  <a:lnTo>
                    <a:pt x="102" y="311"/>
                  </a:lnTo>
                  <a:lnTo>
                    <a:pt x="102" y="308"/>
                  </a:lnTo>
                  <a:lnTo>
                    <a:pt x="102" y="306"/>
                  </a:lnTo>
                  <a:lnTo>
                    <a:pt x="102" y="305"/>
                  </a:lnTo>
                  <a:lnTo>
                    <a:pt x="102" y="303"/>
                  </a:lnTo>
                  <a:lnTo>
                    <a:pt x="102" y="301"/>
                  </a:lnTo>
                  <a:lnTo>
                    <a:pt x="102" y="299"/>
                  </a:lnTo>
                  <a:lnTo>
                    <a:pt x="102" y="299"/>
                  </a:lnTo>
                  <a:lnTo>
                    <a:pt x="102" y="298"/>
                  </a:lnTo>
                  <a:lnTo>
                    <a:pt x="102" y="296"/>
                  </a:lnTo>
                  <a:lnTo>
                    <a:pt x="102" y="292"/>
                  </a:lnTo>
                  <a:lnTo>
                    <a:pt x="102" y="291"/>
                  </a:lnTo>
                  <a:lnTo>
                    <a:pt x="102" y="287"/>
                  </a:lnTo>
                  <a:lnTo>
                    <a:pt x="102" y="286"/>
                  </a:lnTo>
                  <a:lnTo>
                    <a:pt x="102" y="284"/>
                  </a:lnTo>
                  <a:lnTo>
                    <a:pt x="102" y="282"/>
                  </a:lnTo>
                  <a:lnTo>
                    <a:pt x="102" y="277"/>
                  </a:lnTo>
                  <a:lnTo>
                    <a:pt x="102" y="274"/>
                  </a:lnTo>
                  <a:lnTo>
                    <a:pt x="102" y="270"/>
                  </a:lnTo>
                  <a:lnTo>
                    <a:pt x="102" y="267"/>
                  </a:lnTo>
                  <a:lnTo>
                    <a:pt x="102" y="265"/>
                  </a:lnTo>
                  <a:lnTo>
                    <a:pt x="102" y="263"/>
                  </a:lnTo>
                  <a:lnTo>
                    <a:pt x="102" y="261"/>
                  </a:lnTo>
                  <a:lnTo>
                    <a:pt x="96" y="261"/>
                  </a:lnTo>
                  <a:lnTo>
                    <a:pt x="90" y="261"/>
                  </a:lnTo>
                  <a:lnTo>
                    <a:pt x="86" y="261"/>
                  </a:lnTo>
                  <a:lnTo>
                    <a:pt x="77" y="261"/>
                  </a:lnTo>
                  <a:lnTo>
                    <a:pt x="76" y="261"/>
                  </a:lnTo>
                  <a:lnTo>
                    <a:pt x="71" y="261"/>
                  </a:lnTo>
                  <a:lnTo>
                    <a:pt x="69" y="261"/>
                  </a:lnTo>
                  <a:lnTo>
                    <a:pt x="65" y="261"/>
                  </a:lnTo>
                  <a:lnTo>
                    <a:pt x="60" y="261"/>
                  </a:lnTo>
                  <a:lnTo>
                    <a:pt x="57" y="261"/>
                  </a:lnTo>
                  <a:lnTo>
                    <a:pt x="53" y="261"/>
                  </a:lnTo>
                  <a:lnTo>
                    <a:pt x="45" y="261"/>
                  </a:lnTo>
                  <a:lnTo>
                    <a:pt x="43" y="261"/>
                  </a:lnTo>
                  <a:lnTo>
                    <a:pt x="41" y="261"/>
                  </a:lnTo>
                  <a:lnTo>
                    <a:pt x="41" y="261"/>
                  </a:lnTo>
                  <a:lnTo>
                    <a:pt x="34" y="261"/>
                  </a:lnTo>
                  <a:lnTo>
                    <a:pt x="31" y="261"/>
                  </a:lnTo>
                  <a:lnTo>
                    <a:pt x="28" y="261"/>
                  </a:lnTo>
                  <a:lnTo>
                    <a:pt x="24" y="261"/>
                  </a:lnTo>
                  <a:lnTo>
                    <a:pt x="22" y="261"/>
                  </a:lnTo>
                  <a:lnTo>
                    <a:pt x="14" y="261"/>
                  </a:lnTo>
                  <a:lnTo>
                    <a:pt x="12" y="261"/>
                  </a:lnTo>
                  <a:lnTo>
                    <a:pt x="10" y="261"/>
                  </a:lnTo>
                  <a:lnTo>
                    <a:pt x="5" y="261"/>
                  </a:lnTo>
                  <a:lnTo>
                    <a:pt x="0" y="261"/>
                  </a:lnTo>
                  <a:lnTo>
                    <a:pt x="0" y="256"/>
                  </a:lnTo>
                  <a:lnTo>
                    <a:pt x="0" y="253"/>
                  </a:lnTo>
                  <a:lnTo>
                    <a:pt x="0" y="251"/>
                  </a:lnTo>
                  <a:lnTo>
                    <a:pt x="0" y="248"/>
                  </a:lnTo>
                  <a:lnTo>
                    <a:pt x="2" y="248"/>
                  </a:lnTo>
                  <a:lnTo>
                    <a:pt x="2" y="246"/>
                  </a:lnTo>
                  <a:lnTo>
                    <a:pt x="2" y="243"/>
                  </a:lnTo>
                  <a:lnTo>
                    <a:pt x="2" y="239"/>
                  </a:lnTo>
                  <a:lnTo>
                    <a:pt x="2" y="239"/>
                  </a:lnTo>
                  <a:lnTo>
                    <a:pt x="2" y="237"/>
                  </a:lnTo>
                  <a:lnTo>
                    <a:pt x="2" y="236"/>
                  </a:lnTo>
                  <a:lnTo>
                    <a:pt x="2" y="229"/>
                  </a:lnTo>
                  <a:lnTo>
                    <a:pt x="2" y="227"/>
                  </a:lnTo>
                  <a:lnTo>
                    <a:pt x="2" y="225"/>
                  </a:lnTo>
                  <a:lnTo>
                    <a:pt x="2" y="224"/>
                  </a:lnTo>
                  <a:lnTo>
                    <a:pt x="2" y="217"/>
                  </a:lnTo>
                  <a:lnTo>
                    <a:pt x="2" y="215"/>
                  </a:lnTo>
                  <a:lnTo>
                    <a:pt x="2" y="210"/>
                  </a:lnTo>
                  <a:lnTo>
                    <a:pt x="2" y="208"/>
                  </a:lnTo>
                  <a:lnTo>
                    <a:pt x="2" y="206"/>
                  </a:lnTo>
                  <a:lnTo>
                    <a:pt x="2" y="205"/>
                  </a:lnTo>
                  <a:lnTo>
                    <a:pt x="2" y="194"/>
                  </a:lnTo>
                  <a:lnTo>
                    <a:pt x="2" y="189"/>
                  </a:lnTo>
                  <a:lnTo>
                    <a:pt x="2" y="179"/>
                  </a:lnTo>
                  <a:lnTo>
                    <a:pt x="2" y="174"/>
                  </a:lnTo>
                  <a:lnTo>
                    <a:pt x="2" y="170"/>
                  </a:lnTo>
                  <a:lnTo>
                    <a:pt x="2" y="167"/>
                  </a:lnTo>
                  <a:lnTo>
                    <a:pt x="2" y="165"/>
                  </a:lnTo>
                  <a:lnTo>
                    <a:pt x="4" y="162"/>
                  </a:lnTo>
                  <a:lnTo>
                    <a:pt x="4" y="160"/>
                  </a:lnTo>
                  <a:lnTo>
                    <a:pt x="4" y="153"/>
                  </a:lnTo>
                  <a:lnTo>
                    <a:pt x="4" y="150"/>
                  </a:lnTo>
                  <a:lnTo>
                    <a:pt x="4" y="148"/>
                  </a:lnTo>
                  <a:lnTo>
                    <a:pt x="4" y="138"/>
                  </a:lnTo>
                  <a:lnTo>
                    <a:pt x="4" y="127"/>
                  </a:lnTo>
                  <a:lnTo>
                    <a:pt x="4" y="126"/>
                  </a:lnTo>
                  <a:lnTo>
                    <a:pt x="4" y="119"/>
                  </a:lnTo>
                  <a:lnTo>
                    <a:pt x="4" y="115"/>
                  </a:lnTo>
                  <a:lnTo>
                    <a:pt x="4" y="110"/>
                  </a:lnTo>
                  <a:lnTo>
                    <a:pt x="4" y="108"/>
                  </a:lnTo>
                  <a:lnTo>
                    <a:pt x="4" y="103"/>
                  </a:lnTo>
                  <a:lnTo>
                    <a:pt x="5" y="96"/>
                  </a:lnTo>
                  <a:lnTo>
                    <a:pt x="5" y="95"/>
                  </a:lnTo>
                  <a:lnTo>
                    <a:pt x="5" y="93"/>
                  </a:lnTo>
                  <a:lnTo>
                    <a:pt x="5" y="91"/>
                  </a:lnTo>
                  <a:lnTo>
                    <a:pt x="5" y="79"/>
                  </a:lnTo>
                  <a:lnTo>
                    <a:pt x="5" y="74"/>
                  </a:lnTo>
                  <a:lnTo>
                    <a:pt x="5" y="72"/>
                  </a:lnTo>
                  <a:lnTo>
                    <a:pt x="5" y="71"/>
                  </a:lnTo>
                  <a:lnTo>
                    <a:pt x="5" y="62"/>
                  </a:lnTo>
                  <a:lnTo>
                    <a:pt x="5" y="58"/>
                  </a:lnTo>
                  <a:lnTo>
                    <a:pt x="5" y="58"/>
                  </a:lnTo>
                  <a:lnTo>
                    <a:pt x="5" y="53"/>
                  </a:lnTo>
                  <a:lnTo>
                    <a:pt x="7" y="43"/>
                  </a:lnTo>
                  <a:lnTo>
                    <a:pt x="7" y="36"/>
                  </a:lnTo>
                  <a:lnTo>
                    <a:pt x="7" y="29"/>
                  </a:lnTo>
                  <a:lnTo>
                    <a:pt x="7" y="26"/>
                  </a:lnTo>
                  <a:lnTo>
                    <a:pt x="7" y="14"/>
                  </a:lnTo>
                  <a:lnTo>
                    <a:pt x="7" y="12"/>
                  </a:lnTo>
                  <a:lnTo>
                    <a:pt x="7" y="5"/>
                  </a:lnTo>
                  <a:lnTo>
                    <a:pt x="7" y="2"/>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69" name="Freeform 156"/>
            <p:cNvSpPr>
              <a:spLocks/>
            </p:cNvSpPr>
            <p:nvPr/>
          </p:nvSpPr>
          <p:spPr bwMode="auto">
            <a:xfrm>
              <a:off x="5790496" y="1685719"/>
              <a:ext cx="428625" cy="425450"/>
            </a:xfrm>
            <a:custGeom>
              <a:avLst/>
              <a:gdLst/>
              <a:ahLst/>
              <a:cxnLst>
                <a:cxn ang="0">
                  <a:pos x="22" y="1"/>
                </a:cxn>
                <a:cxn ang="0">
                  <a:pos x="38" y="0"/>
                </a:cxn>
                <a:cxn ang="0">
                  <a:pos x="60" y="0"/>
                </a:cxn>
                <a:cxn ang="0">
                  <a:pos x="81" y="0"/>
                </a:cxn>
                <a:cxn ang="0">
                  <a:pos x="102" y="0"/>
                </a:cxn>
                <a:cxn ang="0">
                  <a:pos x="133" y="1"/>
                </a:cxn>
                <a:cxn ang="0">
                  <a:pos x="153" y="1"/>
                </a:cxn>
                <a:cxn ang="0">
                  <a:pos x="163" y="1"/>
                </a:cxn>
                <a:cxn ang="0">
                  <a:pos x="179" y="1"/>
                </a:cxn>
                <a:cxn ang="0">
                  <a:pos x="194" y="1"/>
                </a:cxn>
                <a:cxn ang="0">
                  <a:pos x="206" y="1"/>
                </a:cxn>
                <a:cxn ang="0">
                  <a:pos x="222" y="1"/>
                </a:cxn>
                <a:cxn ang="0">
                  <a:pos x="236" y="1"/>
                </a:cxn>
                <a:cxn ang="0">
                  <a:pos x="251" y="1"/>
                </a:cxn>
                <a:cxn ang="0">
                  <a:pos x="265" y="1"/>
                </a:cxn>
                <a:cxn ang="0">
                  <a:pos x="270" y="10"/>
                </a:cxn>
                <a:cxn ang="0">
                  <a:pos x="270" y="24"/>
                </a:cxn>
                <a:cxn ang="0">
                  <a:pos x="270" y="39"/>
                </a:cxn>
                <a:cxn ang="0">
                  <a:pos x="270" y="58"/>
                </a:cxn>
                <a:cxn ang="0">
                  <a:pos x="270" y="77"/>
                </a:cxn>
                <a:cxn ang="0">
                  <a:pos x="270" y="87"/>
                </a:cxn>
                <a:cxn ang="0">
                  <a:pos x="270" y="99"/>
                </a:cxn>
                <a:cxn ang="0">
                  <a:pos x="270" y="111"/>
                </a:cxn>
                <a:cxn ang="0">
                  <a:pos x="270" y="136"/>
                </a:cxn>
                <a:cxn ang="0">
                  <a:pos x="268" y="146"/>
                </a:cxn>
                <a:cxn ang="0">
                  <a:pos x="268" y="163"/>
                </a:cxn>
                <a:cxn ang="0">
                  <a:pos x="268" y="175"/>
                </a:cxn>
                <a:cxn ang="0">
                  <a:pos x="268" y="185"/>
                </a:cxn>
                <a:cxn ang="0">
                  <a:pos x="268" y="203"/>
                </a:cxn>
                <a:cxn ang="0">
                  <a:pos x="268" y="220"/>
                </a:cxn>
                <a:cxn ang="0">
                  <a:pos x="258" y="223"/>
                </a:cxn>
                <a:cxn ang="0">
                  <a:pos x="239" y="223"/>
                </a:cxn>
                <a:cxn ang="0">
                  <a:pos x="232" y="223"/>
                </a:cxn>
                <a:cxn ang="0">
                  <a:pos x="200" y="225"/>
                </a:cxn>
                <a:cxn ang="0">
                  <a:pos x="181" y="223"/>
                </a:cxn>
                <a:cxn ang="0">
                  <a:pos x="176" y="223"/>
                </a:cxn>
                <a:cxn ang="0">
                  <a:pos x="158" y="223"/>
                </a:cxn>
                <a:cxn ang="0">
                  <a:pos x="141" y="223"/>
                </a:cxn>
                <a:cxn ang="0">
                  <a:pos x="124" y="223"/>
                </a:cxn>
                <a:cxn ang="0">
                  <a:pos x="103" y="223"/>
                </a:cxn>
                <a:cxn ang="0">
                  <a:pos x="91" y="223"/>
                </a:cxn>
                <a:cxn ang="0">
                  <a:pos x="77" y="223"/>
                </a:cxn>
                <a:cxn ang="0">
                  <a:pos x="69" y="230"/>
                </a:cxn>
                <a:cxn ang="0">
                  <a:pos x="69" y="249"/>
                </a:cxn>
                <a:cxn ang="0">
                  <a:pos x="69" y="263"/>
                </a:cxn>
                <a:cxn ang="0">
                  <a:pos x="59" y="268"/>
                </a:cxn>
                <a:cxn ang="0">
                  <a:pos x="31" y="268"/>
                </a:cxn>
                <a:cxn ang="0">
                  <a:pos x="17" y="268"/>
                </a:cxn>
                <a:cxn ang="0">
                  <a:pos x="7" y="268"/>
                </a:cxn>
                <a:cxn ang="0">
                  <a:pos x="2" y="259"/>
                </a:cxn>
                <a:cxn ang="0">
                  <a:pos x="2" y="246"/>
                </a:cxn>
                <a:cxn ang="0">
                  <a:pos x="2" y="230"/>
                </a:cxn>
                <a:cxn ang="0">
                  <a:pos x="2" y="191"/>
                </a:cxn>
                <a:cxn ang="0">
                  <a:pos x="4" y="161"/>
                </a:cxn>
                <a:cxn ang="0">
                  <a:pos x="4" y="139"/>
                </a:cxn>
                <a:cxn ang="0">
                  <a:pos x="4" y="124"/>
                </a:cxn>
                <a:cxn ang="0">
                  <a:pos x="5" y="110"/>
                </a:cxn>
                <a:cxn ang="0">
                  <a:pos x="5" y="93"/>
                </a:cxn>
                <a:cxn ang="0">
                  <a:pos x="5" y="74"/>
                </a:cxn>
                <a:cxn ang="0">
                  <a:pos x="5" y="62"/>
                </a:cxn>
                <a:cxn ang="0">
                  <a:pos x="5" y="46"/>
                </a:cxn>
                <a:cxn ang="0">
                  <a:pos x="5" y="31"/>
                </a:cxn>
                <a:cxn ang="0">
                  <a:pos x="5" y="15"/>
                </a:cxn>
              </a:cxnLst>
              <a:rect l="0" t="0" r="r" b="b"/>
              <a:pathLst>
                <a:path w="270" h="268">
                  <a:moveTo>
                    <a:pt x="7" y="1"/>
                  </a:moveTo>
                  <a:lnTo>
                    <a:pt x="16" y="1"/>
                  </a:lnTo>
                  <a:lnTo>
                    <a:pt x="17" y="1"/>
                  </a:lnTo>
                  <a:lnTo>
                    <a:pt x="22" y="1"/>
                  </a:lnTo>
                  <a:lnTo>
                    <a:pt x="28" y="0"/>
                  </a:lnTo>
                  <a:lnTo>
                    <a:pt x="29" y="0"/>
                  </a:lnTo>
                  <a:lnTo>
                    <a:pt x="36" y="0"/>
                  </a:lnTo>
                  <a:lnTo>
                    <a:pt x="38" y="0"/>
                  </a:lnTo>
                  <a:lnTo>
                    <a:pt x="47" y="0"/>
                  </a:lnTo>
                  <a:lnTo>
                    <a:pt x="48" y="0"/>
                  </a:lnTo>
                  <a:lnTo>
                    <a:pt x="55" y="0"/>
                  </a:lnTo>
                  <a:lnTo>
                    <a:pt x="60" y="0"/>
                  </a:lnTo>
                  <a:lnTo>
                    <a:pt x="71" y="0"/>
                  </a:lnTo>
                  <a:lnTo>
                    <a:pt x="71" y="0"/>
                  </a:lnTo>
                  <a:lnTo>
                    <a:pt x="79" y="0"/>
                  </a:lnTo>
                  <a:lnTo>
                    <a:pt x="81" y="0"/>
                  </a:lnTo>
                  <a:lnTo>
                    <a:pt x="98" y="0"/>
                  </a:lnTo>
                  <a:lnTo>
                    <a:pt x="100" y="0"/>
                  </a:lnTo>
                  <a:lnTo>
                    <a:pt x="102" y="0"/>
                  </a:lnTo>
                  <a:lnTo>
                    <a:pt x="102" y="0"/>
                  </a:lnTo>
                  <a:lnTo>
                    <a:pt x="105" y="0"/>
                  </a:lnTo>
                  <a:lnTo>
                    <a:pt x="119" y="0"/>
                  </a:lnTo>
                  <a:lnTo>
                    <a:pt x="126" y="0"/>
                  </a:lnTo>
                  <a:lnTo>
                    <a:pt x="133" y="1"/>
                  </a:lnTo>
                  <a:lnTo>
                    <a:pt x="138" y="1"/>
                  </a:lnTo>
                  <a:lnTo>
                    <a:pt x="146" y="1"/>
                  </a:lnTo>
                  <a:lnTo>
                    <a:pt x="151" y="1"/>
                  </a:lnTo>
                  <a:lnTo>
                    <a:pt x="153" y="1"/>
                  </a:lnTo>
                  <a:lnTo>
                    <a:pt x="157" y="1"/>
                  </a:lnTo>
                  <a:lnTo>
                    <a:pt x="160" y="1"/>
                  </a:lnTo>
                  <a:lnTo>
                    <a:pt x="162" y="1"/>
                  </a:lnTo>
                  <a:lnTo>
                    <a:pt x="163" y="1"/>
                  </a:lnTo>
                  <a:lnTo>
                    <a:pt x="170" y="1"/>
                  </a:lnTo>
                  <a:lnTo>
                    <a:pt x="176" y="1"/>
                  </a:lnTo>
                  <a:lnTo>
                    <a:pt x="177" y="1"/>
                  </a:lnTo>
                  <a:lnTo>
                    <a:pt x="179" y="1"/>
                  </a:lnTo>
                  <a:lnTo>
                    <a:pt x="184" y="1"/>
                  </a:lnTo>
                  <a:lnTo>
                    <a:pt x="186" y="1"/>
                  </a:lnTo>
                  <a:lnTo>
                    <a:pt x="193" y="1"/>
                  </a:lnTo>
                  <a:lnTo>
                    <a:pt x="194" y="1"/>
                  </a:lnTo>
                  <a:lnTo>
                    <a:pt x="201" y="1"/>
                  </a:lnTo>
                  <a:lnTo>
                    <a:pt x="203" y="1"/>
                  </a:lnTo>
                  <a:lnTo>
                    <a:pt x="205" y="1"/>
                  </a:lnTo>
                  <a:lnTo>
                    <a:pt x="206" y="1"/>
                  </a:lnTo>
                  <a:lnTo>
                    <a:pt x="208" y="1"/>
                  </a:lnTo>
                  <a:lnTo>
                    <a:pt x="219" y="1"/>
                  </a:lnTo>
                  <a:lnTo>
                    <a:pt x="220" y="1"/>
                  </a:lnTo>
                  <a:lnTo>
                    <a:pt x="222" y="1"/>
                  </a:lnTo>
                  <a:lnTo>
                    <a:pt x="227" y="1"/>
                  </a:lnTo>
                  <a:lnTo>
                    <a:pt x="232" y="1"/>
                  </a:lnTo>
                  <a:lnTo>
                    <a:pt x="234" y="1"/>
                  </a:lnTo>
                  <a:lnTo>
                    <a:pt x="236" y="1"/>
                  </a:lnTo>
                  <a:lnTo>
                    <a:pt x="237" y="1"/>
                  </a:lnTo>
                  <a:lnTo>
                    <a:pt x="243" y="1"/>
                  </a:lnTo>
                  <a:lnTo>
                    <a:pt x="244" y="1"/>
                  </a:lnTo>
                  <a:lnTo>
                    <a:pt x="251" y="1"/>
                  </a:lnTo>
                  <a:lnTo>
                    <a:pt x="253" y="1"/>
                  </a:lnTo>
                  <a:lnTo>
                    <a:pt x="256" y="1"/>
                  </a:lnTo>
                  <a:lnTo>
                    <a:pt x="260" y="1"/>
                  </a:lnTo>
                  <a:lnTo>
                    <a:pt x="265" y="1"/>
                  </a:lnTo>
                  <a:lnTo>
                    <a:pt x="270" y="1"/>
                  </a:lnTo>
                  <a:lnTo>
                    <a:pt x="270" y="5"/>
                  </a:lnTo>
                  <a:lnTo>
                    <a:pt x="270" y="8"/>
                  </a:lnTo>
                  <a:lnTo>
                    <a:pt x="270" y="10"/>
                  </a:lnTo>
                  <a:lnTo>
                    <a:pt x="270" y="12"/>
                  </a:lnTo>
                  <a:lnTo>
                    <a:pt x="270" y="13"/>
                  </a:lnTo>
                  <a:lnTo>
                    <a:pt x="270" y="15"/>
                  </a:lnTo>
                  <a:lnTo>
                    <a:pt x="270" y="24"/>
                  </a:lnTo>
                  <a:lnTo>
                    <a:pt x="270" y="24"/>
                  </a:lnTo>
                  <a:lnTo>
                    <a:pt x="270" y="27"/>
                  </a:lnTo>
                  <a:lnTo>
                    <a:pt x="270" y="29"/>
                  </a:lnTo>
                  <a:lnTo>
                    <a:pt x="270" y="39"/>
                  </a:lnTo>
                  <a:lnTo>
                    <a:pt x="270" y="46"/>
                  </a:lnTo>
                  <a:lnTo>
                    <a:pt x="270" y="51"/>
                  </a:lnTo>
                  <a:lnTo>
                    <a:pt x="270" y="56"/>
                  </a:lnTo>
                  <a:lnTo>
                    <a:pt x="270" y="58"/>
                  </a:lnTo>
                  <a:lnTo>
                    <a:pt x="270" y="65"/>
                  </a:lnTo>
                  <a:lnTo>
                    <a:pt x="270" y="70"/>
                  </a:lnTo>
                  <a:lnTo>
                    <a:pt x="270" y="70"/>
                  </a:lnTo>
                  <a:lnTo>
                    <a:pt x="270" y="77"/>
                  </a:lnTo>
                  <a:lnTo>
                    <a:pt x="270" y="81"/>
                  </a:lnTo>
                  <a:lnTo>
                    <a:pt x="270" y="82"/>
                  </a:lnTo>
                  <a:lnTo>
                    <a:pt x="270" y="84"/>
                  </a:lnTo>
                  <a:lnTo>
                    <a:pt x="270" y="87"/>
                  </a:lnTo>
                  <a:lnTo>
                    <a:pt x="270" y="89"/>
                  </a:lnTo>
                  <a:lnTo>
                    <a:pt x="270" y="93"/>
                  </a:lnTo>
                  <a:lnTo>
                    <a:pt x="270" y="98"/>
                  </a:lnTo>
                  <a:lnTo>
                    <a:pt x="270" y="99"/>
                  </a:lnTo>
                  <a:lnTo>
                    <a:pt x="270" y="101"/>
                  </a:lnTo>
                  <a:lnTo>
                    <a:pt x="270" y="108"/>
                  </a:lnTo>
                  <a:lnTo>
                    <a:pt x="270" y="110"/>
                  </a:lnTo>
                  <a:lnTo>
                    <a:pt x="270" y="111"/>
                  </a:lnTo>
                  <a:lnTo>
                    <a:pt x="270" y="118"/>
                  </a:lnTo>
                  <a:lnTo>
                    <a:pt x="270" y="124"/>
                  </a:lnTo>
                  <a:lnTo>
                    <a:pt x="270" y="132"/>
                  </a:lnTo>
                  <a:lnTo>
                    <a:pt x="270" y="136"/>
                  </a:lnTo>
                  <a:lnTo>
                    <a:pt x="268" y="141"/>
                  </a:lnTo>
                  <a:lnTo>
                    <a:pt x="268" y="144"/>
                  </a:lnTo>
                  <a:lnTo>
                    <a:pt x="268" y="144"/>
                  </a:lnTo>
                  <a:lnTo>
                    <a:pt x="268" y="146"/>
                  </a:lnTo>
                  <a:lnTo>
                    <a:pt x="268" y="154"/>
                  </a:lnTo>
                  <a:lnTo>
                    <a:pt x="268" y="158"/>
                  </a:lnTo>
                  <a:lnTo>
                    <a:pt x="268" y="160"/>
                  </a:lnTo>
                  <a:lnTo>
                    <a:pt x="268" y="163"/>
                  </a:lnTo>
                  <a:lnTo>
                    <a:pt x="268" y="167"/>
                  </a:lnTo>
                  <a:lnTo>
                    <a:pt x="268" y="168"/>
                  </a:lnTo>
                  <a:lnTo>
                    <a:pt x="268" y="175"/>
                  </a:lnTo>
                  <a:lnTo>
                    <a:pt x="268" y="175"/>
                  </a:lnTo>
                  <a:lnTo>
                    <a:pt x="268" y="180"/>
                  </a:lnTo>
                  <a:lnTo>
                    <a:pt x="268" y="182"/>
                  </a:lnTo>
                  <a:lnTo>
                    <a:pt x="268" y="184"/>
                  </a:lnTo>
                  <a:lnTo>
                    <a:pt x="268" y="185"/>
                  </a:lnTo>
                  <a:lnTo>
                    <a:pt x="268" y="189"/>
                  </a:lnTo>
                  <a:lnTo>
                    <a:pt x="268" y="191"/>
                  </a:lnTo>
                  <a:lnTo>
                    <a:pt x="268" y="199"/>
                  </a:lnTo>
                  <a:lnTo>
                    <a:pt x="268" y="203"/>
                  </a:lnTo>
                  <a:lnTo>
                    <a:pt x="268" y="206"/>
                  </a:lnTo>
                  <a:lnTo>
                    <a:pt x="268" y="210"/>
                  </a:lnTo>
                  <a:lnTo>
                    <a:pt x="268" y="213"/>
                  </a:lnTo>
                  <a:lnTo>
                    <a:pt x="268" y="220"/>
                  </a:lnTo>
                  <a:lnTo>
                    <a:pt x="268" y="220"/>
                  </a:lnTo>
                  <a:lnTo>
                    <a:pt x="268" y="223"/>
                  </a:lnTo>
                  <a:lnTo>
                    <a:pt x="262" y="223"/>
                  </a:lnTo>
                  <a:lnTo>
                    <a:pt x="258" y="223"/>
                  </a:lnTo>
                  <a:lnTo>
                    <a:pt x="251" y="223"/>
                  </a:lnTo>
                  <a:lnTo>
                    <a:pt x="251" y="223"/>
                  </a:lnTo>
                  <a:lnTo>
                    <a:pt x="249" y="223"/>
                  </a:lnTo>
                  <a:lnTo>
                    <a:pt x="239" y="223"/>
                  </a:lnTo>
                  <a:lnTo>
                    <a:pt x="237" y="223"/>
                  </a:lnTo>
                  <a:lnTo>
                    <a:pt x="237" y="223"/>
                  </a:lnTo>
                  <a:lnTo>
                    <a:pt x="236" y="223"/>
                  </a:lnTo>
                  <a:lnTo>
                    <a:pt x="232" y="223"/>
                  </a:lnTo>
                  <a:lnTo>
                    <a:pt x="229" y="223"/>
                  </a:lnTo>
                  <a:lnTo>
                    <a:pt x="208" y="225"/>
                  </a:lnTo>
                  <a:lnTo>
                    <a:pt x="203" y="225"/>
                  </a:lnTo>
                  <a:lnTo>
                    <a:pt x="200" y="225"/>
                  </a:lnTo>
                  <a:lnTo>
                    <a:pt x="198" y="225"/>
                  </a:lnTo>
                  <a:lnTo>
                    <a:pt x="184" y="223"/>
                  </a:lnTo>
                  <a:lnTo>
                    <a:pt x="182" y="223"/>
                  </a:lnTo>
                  <a:lnTo>
                    <a:pt x="181" y="223"/>
                  </a:lnTo>
                  <a:lnTo>
                    <a:pt x="179" y="223"/>
                  </a:lnTo>
                  <a:lnTo>
                    <a:pt x="177" y="225"/>
                  </a:lnTo>
                  <a:lnTo>
                    <a:pt x="177" y="223"/>
                  </a:lnTo>
                  <a:lnTo>
                    <a:pt x="176" y="223"/>
                  </a:lnTo>
                  <a:lnTo>
                    <a:pt x="165" y="223"/>
                  </a:lnTo>
                  <a:lnTo>
                    <a:pt x="162" y="223"/>
                  </a:lnTo>
                  <a:lnTo>
                    <a:pt x="162" y="223"/>
                  </a:lnTo>
                  <a:lnTo>
                    <a:pt x="158" y="223"/>
                  </a:lnTo>
                  <a:lnTo>
                    <a:pt x="151" y="223"/>
                  </a:lnTo>
                  <a:lnTo>
                    <a:pt x="148" y="223"/>
                  </a:lnTo>
                  <a:lnTo>
                    <a:pt x="146" y="223"/>
                  </a:lnTo>
                  <a:lnTo>
                    <a:pt x="141" y="223"/>
                  </a:lnTo>
                  <a:lnTo>
                    <a:pt x="134" y="223"/>
                  </a:lnTo>
                  <a:lnTo>
                    <a:pt x="133" y="223"/>
                  </a:lnTo>
                  <a:lnTo>
                    <a:pt x="129" y="223"/>
                  </a:lnTo>
                  <a:lnTo>
                    <a:pt x="124" y="223"/>
                  </a:lnTo>
                  <a:lnTo>
                    <a:pt x="117" y="223"/>
                  </a:lnTo>
                  <a:lnTo>
                    <a:pt x="115" y="223"/>
                  </a:lnTo>
                  <a:lnTo>
                    <a:pt x="114" y="223"/>
                  </a:lnTo>
                  <a:lnTo>
                    <a:pt x="103" y="223"/>
                  </a:lnTo>
                  <a:lnTo>
                    <a:pt x="102" y="223"/>
                  </a:lnTo>
                  <a:lnTo>
                    <a:pt x="100" y="223"/>
                  </a:lnTo>
                  <a:lnTo>
                    <a:pt x="93" y="223"/>
                  </a:lnTo>
                  <a:lnTo>
                    <a:pt x="91" y="223"/>
                  </a:lnTo>
                  <a:lnTo>
                    <a:pt x="90" y="223"/>
                  </a:lnTo>
                  <a:lnTo>
                    <a:pt x="86" y="223"/>
                  </a:lnTo>
                  <a:lnTo>
                    <a:pt x="79" y="223"/>
                  </a:lnTo>
                  <a:lnTo>
                    <a:pt x="77" y="223"/>
                  </a:lnTo>
                  <a:lnTo>
                    <a:pt x="71" y="223"/>
                  </a:lnTo>
                  <a:lnTo>
                    <a:pt x="69" y="223"/>
                  </a:lnTo>
                  <a:lnTo>
                    <a:pt x="69" y="225"/>
                  </a:lnTo>
                  <a:lnTo>
                    <a:pt x="69" y="230"/>
                  </a:lnTo>
                  <a:lnTo>
                    <a:pt x="69" y="235"/>
                  </a:lnTo>
                  <a:lnTo>
                    <a:pt x="69" y="237"/>
                  </a:lnTo>
                  <a:lnTo>
                    <a:pt x="69" y="246"/>
                  </a:lnTo>
                  <a:lnTo>
                    <a:pt x="69" y="249"/>
                  </a:lnTo>
                  <a:lnTo>
                    <a:pt x="69" y="253"/>
                  </a:lnTo>
                  <a:lnTo>
                    <a:pt x="69" y="258"/>
                  </a:lnTo>
                  <a:lnTo>
                    <a:pt x="69" y="261"/>
                  </a:lnTo>
                  <a:lnTo>
                    <a:pt x="69" y="263"/>
                  </a:lnTo>
                  <a:lnTo>
                    <a:pt x="69" y="266"/>
                  </a:lnTo>
                  <a:lnTo>
                    <a:pt x="69" y="268"/>
                  </a:lnTo>
                  <a:lnTo>
                    <a:pt x="64" y="268"/>
                  </a:lnTo>
                  <a:lnTo>
                    <a:pt x="59" y="268"/>
                  </a:lnTo>
                  <a:lnTo>
                    <a:pt x="45" y="268"/>
                  </a:lnTo>
                  <a:lnTo>
                    <a:pt x="43" y="268"/>
                  </a:lnTo>
                  <a:lnTo>
                    <a:pt x="41" y="268"/>
                  </a:lnTo>
                  <a:lnTo>
                    <a:pt x="31" y="268"/>
                  </a:lnTo>
                  <a:lnTo>
                    <a:pt x="29" y="268"/>
                  </a:lnTo>
                  <a:lnTo>
                    <a:pt x="24" y="268"/>
                  </a:lnTo>
                  <a:lnTo>
                    <a:pt x="19" y="268"/>
                  </a:lnTo>
                  <a:lnTo>
                    <a:pt x="17" y="268"/>
                  </a:lnTo>
                  <a:lnTo>
                    <a:pt x="14" y="268"/>
                  </a:lnTo>
                  <a:lnTo>
                    <a:pt x="12" y="268"/>
                  </a:lnTo>
                  <a:lnTo>
                    <a:pt x="10" y="268"/>
                  </a:lnTo>
                  <a:lnTo>
                    <a:pt x="7" y="268"/>
                  </a:lnTo>
                  <a:lnTo>
                    <a:pt x="5" y="268"/>
                  </a:lnTo>
                  <a:lnTo>
                    <a:pt x="0" y="268"/>
                  </a:lnTo>
                  <a:lnTo>
                    <a:pt x="0" y="266"/>
                  </a:lnTo>
                  <a:lnTo>
                    <a:pt x="2" y="259"/>
                  </a:lnTo>
                  <a:lnTo>
                    <a:pt x="2" y="258"/>
                  </a:lnTo>
                  <a:lnTo>
                    <a:pt x="2" y="254"/>
                  </a:lnTo>
                  <a:lnTo>
                    <a:pt x="2" y="253"/>
                  </a:lnTo>
                  <a:lnTo>
                    <a:pt x="2" y="246"/>
                  </a:lnTo>
                  <a:lnTo>
                    <a:pt x="2" y="241"/>
                  </a:lnTo>
                  <a:lnTo>
                    <a:pt x="2" y="237"/>
                  </a:lnTo>
                  <a:lnTo>
                    <a:pt x="2" y="235"/>
                  </a:lnTo>
                  <a:lnTo>
                    <a:pt x="2" y="230"/>
                  </a:lnTo>
                  <a:lnTo>
                    <a:pt x="2" y="223"/>
                  </a:lnTo>
                  <a:lnTo>
                    <a:pt x="2" y="218"/>
                  </a:lnTo>
                  <a:lnTo>
                    <a:pt x="2" y="203"/>
                  </a:lnTo>
                  <a:lnTo>
                    <a:pt x="2" y="191"/>
                  </a:lnTo>
                  <a:lnTo>
                    <a:pt x="2" y="179"/>
                  </a:lnTo>
                  <a:lnTo>
                    <a:pt x="2" y="175"/>
                  </a:lnTo>
                  <a:lnTo>
                    <a:pt x="4" y="168"/>
                  </a:lnTo>
                  <a:lnTo>
                    <a:pt x="4" y="161"/>
                  </a:lnTo>
                  <a:lnTo>
                    <a:pt x="4" y="158"/>
                  </a:lnTo>
                  <a:lnTo>
                    <a:pt x="4" y="146"/>
                  </a:lnTo>
                  <a:lnTo>
                    <a:pt x="4" y="144"/>
                  </a:lnTo>
                  <a:lnTo>
                    <a:pt x="4" y="139"/>
                  </a:lnTo>
                  <a:lnTo>
                    <a:pt x="4" y="134"/>
                  </a:lnTo>
                  <a:lnTo>
                    <a:pt x="4" y="129"/>
                  </a:lnTo>
                  <a:lnTo>
                    <a:pt x="4" y="125"/>
                  </a:lnTo>
                  <a:lnTo>
                    <a:pt x="4" y="124"/>
                  </a:lnTo>
                  <a:lnTo>
                    <a:pt x="4" y="120"/>
                  </a:lnTo>
                  <a:lnTo>
                    <a:pt x="4" y="118"/>
                  </a:lnTo>
                  <a:lnTo>
                    <a:pt x="5" y="113"/>
                  </a:lnTo>
                  <a:lnTo>
                    <a:pt x="5" y="110"/>
                  </a:lnTo>
                  <a:lnTo>
                    <a:pt x="5" y="101"/>
                  </a:lnTo>
                  <a:lnTo>
                    <a:pt x="5" y="98"/>
                  </a:lnTo>
                  <a:lnTo>
                    <a:pt x="5" y="96"/>
                  </a:lnTo>
                  <a:lnTo>
                    <a:pt x="5" y="93"/>
                  </a:lnTo>
                  <a:lnTo>
                    <a:pt x="5" y="89"/>
                  </a:lnTo>
                  <a:lnTo>
                    <a:pt x="5" y="87"/>
                  </a:lnTo>
                  <a:lnTo>
                    <a:pt x="5" y="84"/>
                  </a:lnTo>
                  <a:lnTo>
                    <a:pt x="5" y="74"/>
                  </a:lnTo>
                  <a:lnTo>
                    <a:pt x="5" y="70"/>
                  </a:lnTo>
                  <a:lnTo>
                    <a:pt x="5" y="68"/>
                  </a:lnTo>
                  <a:lnTo>
                    <a:pt x="5" y="63"/>
                  </a:lnTo>
                  <a:lnTo>
                    <a:pt x="5" y="62"/>
                  </a:lnTo>
                  <a:lnTo>
                    <a:pt x="5" y="60"/>
                  </a:lnTo>
                  <a:lnTo>
                    <a:pt x="5" y="56"/>
                  </a:lnTo>
                  <a:lnTo>
                    <a:pt x="5" y="53"/>
                  </a:lnTo>
                  <a:lnTo>
                    <a:pt x="5" y="46"/>
                  </a:lnTo>
                  <a:lnTo>
                    <a:pt x="5" y="39"/>
                  </a:lnTo>
                  <a:lnTo>
                    <a:pt x="5" y="38"/>
                  </a:lnTo>
                  <a:lnTo>
                    <a:pt x="5" y="36"/>
                  </a:lnTo>
                  <a:lnTo>
                    <a:pt x="5" y="31"/>
                  </a:lnTo>
                  <a:lnTo>
                    <a:pt x="5" y="27"/>
                  </a:lnTo>
                  <a:lnTo>
                    <a:pt x="5" y="24"/>
                  </a:lnTo>
                  <a:lnTo>
                    <a:pt x="5" y="19"/>
                  </a:lnTo>
                  <a:lnTo>
                    <a:pt x="5" y="15"/>
                  </a:lnTo>
                  <a:lnTo>
                    <a:pt x="5" y="13"/>
                  </a:lnTo>
                  <a:lnTo>
                    <a:pt x="7" y="1"/>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0" name="Freeform 157"/>
            <p:cNvSpPr>
              <a:spLocks/>
            </p:cNvSpPr>
            <p:nvPr/>
          </p:nvSpPr>
          <p:spPr bwMode="auto">
            <a:xfrm>
              <a:off x="6215946" y="1685719"/>
              <a:ext cx="511175" cy="354013"/>
            </a:xfrm>
            <a:custGeom>
              <a:avLst/>
              <a:gdLst/>
              <a:ahLst/>
              <a:cxnLst>
                <a:cxn ang="0">
                  <a:pos x="248" y="8"/>
                </a:cxn>
                <a:cxn ang="0">
                  <a:pos x="253" y="15"/>
                </a:cxn>
                <a:cxn ang="0">
                  <a:pos x="252" y="24"/>
                </a:cxn>
                <a:cxn ang="0">
                  <a:pos x="241" y="36"/>
                </a:cxn>
                <a:cxn ang="0">
                  <a:pos x="236" y="53"/>
                </a:cxn>
                <a:cxn ang="0">
                  <a:pos x="243" y="75"/>
                </a:cxn>
                <a:cxn ang="0">
                  <a:pos x="255" y="89"/>
                </a:cxn>
                <a:cxn ang="0">
                  <a:pos x="272" y="99"/>
                </a:cxn>
                <a:cxn ang="0">
                  <a:pos x="284" y="110"/>
                </a:cxn>
                <a:cxn ang="0">
                  <a:pos x="288" y="124"/>
                </a:cxn>
                <a:cxn ang="0">
                  <a:pos x="286" y="134"/>
                </a:cxn>
                <a:cxn ang="0">
                  <a:pos x="286" y="144"/>
                </a:cxn>
                <a:cxn ang="0">
                  <a:pos x="284" y="154"/>
                </a:cxn>
                <a:cxn ang="0">
                  <a:pos x="284" y="163"/>
                </a:cxn>
                <a:cxn ang="0">
                  <a:pos x="293" y="175"/>
                </a:cxn>
                <a:cxn ang="0">
                  <a:pos x="298" y="179"/>
                </a:cxn>
                <a:cxn ang="0">
                  <a:pos x="303" y="185"/>
                </a:cxn>
                <a:cxn ang="0">
                  <a:pos x="315" y="192"/>
                </a:cxn>
                <a:cxn ang="0">
                  <a:pos x="307" y="199"/>
                </a:cxn>
                <a:cxn ang="0">
                  <a:pos x="298" y="199"/>
                </a:cxn>
                <a:cxn ang="0">
                  <a:pos x="277" y="199"/>
                </a:cxn>
                <a:cxn ang="0">
                  <a:pos x="267" y="199"/>
                </a:cxn>
                <a:cxn ang="0">
                  <a:pos x="257" y="201"/>
                </a:cxn>
                <a:cxn ang="0">
                  <a:pos x="239" y="201"/>
                </a:cxn>
                <a:cxn ang="0">
                  <a:pos x="221" y="201"/>
                </a:cxn>
                <a:cxn ang="0">
                  <a:pos x="205" y="201"/>
                </a:cxn>
                <a:cxn ang="0">
                  <a:pos x="191" y="201"/>
                </a:cxn>
                <a:cxn ang="0">
                  <a:pos x="171" y="203"/>
                </a:cxn>
                <a:cxn ang="0">
                  <a:pos x="153" y="203"/>
                </a:cxn>
                <a:cxn ang="0">
                  <a:pos x="135" y="203"/>
                </a:cxn>
                <a:cxn ang="0">
                  <a:pos x="121" y="203"/>
                </a:cxn>
                <a:cxn ang="0">
                  <a:pos x="104" y="203"/>
                </a:cxn>
                <a:cxn ang="0">
                  <a:pos x="80" y="203"/>
                </a:cxn>
                <a:cxn ang="0">
                  <a:pos x="80" y="220"/>
                </a:cxn>
                <a:cxn ang="0">
                  <a:pos x="71" y="223"/>
                </a:cxn>
                <a:cxn ang="0">
                  <a:pos x="61" y="223"/>
                </a:cxn>
                <a:cxn ang="0">
                  <a:pos x="45" y="223"/>
                </a:cxn>
                <a:cxn ang="0">
                  <a:pos x="16" y="223"/>
                </a:cxn>
                <a:cxn ang="0">
                  <a:pos x="0" y="213"/>
                </a:cxn>
                <a:cxn ang="0">
                  <a:pos x="0" y="189"/>
                </a:cxn>
                <a:cxn ang="0">
                  <a:pos x="0" y="175"/>
                </a:cxn>
                <a:cxn ang="0">
                  <a:pos x="0" y="154"/>
                </a:cxn>
                <a:cxn ang="0">
                  <a:pos x="2" y="132"/>
                </a:cxn>
                <a:cxn ang="0">
                  <a:pos x="2" y="101"/>
                </a:cxn>
                <a:cxn ang="0">
                  <a:pos x="2" y="84"/>
                </a:cxn>
                <a:cxn ang="0">
                  <a:pos x="2" y="65"/>
                </a:cxn>
                <a:cxn ang="0">
                  <a:pos x="2" y="29"/>
                </a:cxn>
                <a:cxn ang="0">
                  <a:pos x="2" y="12"/>
                </a:cxn>
                <a:cxn ang="0">
                  <a:pos x="18" y="1"/>
                </a:cxn>
                <a:cxn ang="0">
                  <a:pos x="40" y="1"/>
                </a:cxn>
                <a:cxn ang="0">
                  <a:pos x="61" y="1"/>
                </a:cxn>
                <a:cxn ang="0">
                  <a:pos x="90" y="1"/>
                </a:cxn>
                <a:cxn ang="0">
                  <a:pos x="114" y="1"/>
                </a:cxn>
                <a:cxn ang="0">
                  <a:pos x="150" y="1"/>
                </a:cxn>
                <a:cxn ang="0">
                  <a:pos x="162" y="1"/>
                </a:cxn>
                <a:cxn ang="0">
                  <a:pos x="188" y="0"/>
                </a:cxn>
                <a:cxn ang="0">
                  <a:pos x="229" y="0"/>
                </a:cxn>
              </a:cxnLst>
              <a:rect l="0" t="0" r="r" b="b"/>
              <a:pathLst>
                <a:path w="322" h="223">
                  <a:moveTo>
                    <a:pt x="241" y="0"/>
                  </a:moveTo>
                  <a:lnTo>
                    <a:pt x="243" y="1"/>
                  </a:lnTo>
                  <a:lnTo>
                    <a:pt x="245" y="3"/>
                  </a:lnTo>
                  <a:lnTo>
                    <a:pt x="246" y="5"/>
                  </a:lnTo>
                  <a:lnTo>
                    <a:pt x="248" y="7"/>
                  </a:lnTo>
                  <a:lnTo>
                    <a:pt x="248" y="8"/>
                  </a:lnTo>
                  <a:lnTo>
                    <a:pt x="250" y="8"/>
                  </a:lnTo>
                  <a:lnTo>
                    <a:pt x="250" y="10"/>
                  </a:lnTo>
                  <a:lnTo>
                    <a:pt x="252" y="10"/>
                  </a:lnTo>
                  <a:lnTo>
                    <a:pt x="252" y="12"/>
                  </a:lnTo>
                  <a:lnTo>
                    <a:pt x="252" y="13"/>
                  </a:lnTo>
                  <a:lnTo>
                    <a:pt x="253" y="15"/>
                  </a:lnTo>
                  <a:lnTo>
                    <a:pt x="253" y="17"/>
                  </a:lnTo>
                  <a:lnTo>
                    <a:pt x="253" y="19"/>
                  </a:lnTo>
                  <a:lnTo>
                    <a:pt x="253" y="20"/>
                  </a:lnTo>
                  <a:lnTo>
                    <a:pt x="253" y="22"/>
                  </a:lnTo>
                  <a:lnTo>
                    <a:pt x="252" y="24"/>
                  </a:lnTo>
                  <a:lnTo>
                    <a:pt x="252" y="24"/>
                  </a:lnTo>
                  <a:lnTo>
                    <a:pt x="250" y="25"/>
                  </a:lnTo>
                  <a:lnTo>
                    <a:pt x="246" y="27"/>
                  </a:lnTo>
                  <a:lnTo>
                    <a:pt x="246" y="29"/>
                  </a:lnTo>
                  <a:lnTo>
                    <a:pt x="245" y="31"/>
                  </a:lnTo>
                  <a:lnTo>
                    <a:pt x="243" y="34"/>
                  </a:lnTo>
                  <a:lnTo>
                    <a:pt x="241" y="36"/>
                  </a:lnTo>
                  <a:lnTo>
                    <a:pt x="239" y="39"/>
                  </a:lnTo>
                  <a:lnTo>
                    <a:pt x="238" y="39"/>
                  </a:lnTo>
                  <a:lnTo>
                    <a:pt x="238" y="41"/>
                  </a:lnTo>
                  <a:lnTo>
                    <a:pt x="238" y="44"/>
                  </a:lnTo>
                  <a:lnTo>
                    <a:pt x="236" y="48"/>
                  </a:lnTo>
                  <a:lnTo>
                    <a:pt x="236" y="53"/>
                  </a:lnTo>
                  <a:lnTo>
                    <a:pt x="236" y="55"/>
                  </a:lnTo>
                  <a:lnTo>
                    <a:pt x="238" y="58"/>
                  </a:lnTo>
                  <a:lnTo>
                    <a:pt x="239" y="70"/>
                  </a:lnTo>
                  <a:lnTo>
                    <a:pt x="241" y="72"/>
                  </a:lnTo>
                  <a:lnTo>
                    <a:pt x="241" y="74"/>
                  </a:lnTo>
                  <a:lnTo>
                    <a:pt x="243" y="75"/>
                  </a:lnTo>
                  <a:lnTo>
                    <a:pt x="243" y="77"/>
                  </a:lnTo>
                  <a:lnTo>
                    <a:pt x="243" y="79"/>
                  </a:lnTo>
                  <a:lnTo>
                    <a:pt x="245" y="81"/>
                  </a:lnTo>
                  <a:lnTo>
                    <a:pt x="246" y="84"/>
                  </a:lnTo>
                  <a:lnTo>
                    <a:pt x="252" y="86"/>
                  </a:lnTo>
                  <a:lnTo>
                    <a:pt x="255" y="89"/>
                  </a:lnTo>
                  <a:lnTo>
                    <a:pt x="260" y="91"/>
                  </a:lnTo>
                  <a:lnTo>
                    <a:pt x="262" y="93"/>
                  </a:lnTo>
                  <a:lnTo>
                    <a:pt x="264" y="94"/>
                  </a:lnTo>
                  <a:lnTo>
                    <a:pt x="267" y="96"/>
                  </a:lnTo>
                  <a:lnTo>
                    <a:pt x="269" y="98"/>
                  </a:lnTo>
                  <a:lnTo>
                    <a:pt x="272" y="99"/>
                  </a:lnTo>
                  <a:lnTo>
                    <a:pt x="276" y="101"/>
                  </a:lnTo>
                  <a:lnTo>
                    <a:pt x="277" y="103"/>
                  </a:lnTo>
                  <a:lnTo>
                    <a:pt x="279" y="105"/>
                  </a:lnTo>
                  <a:lnTo>
                    <a:pt x="282" y="106"/>
                  </a:lnTo>
                  <a:lnTo>
                    <a:pt x="282" y="108"/>
                  </a:lnTo>
                  <a:lnTo>
                    <a:pt x="284" y="110"/>
                  </a:lnTo>
                  <a:lnTo>
                    <a:pt x="284" y="111"/>
                  </a:lnTo>
                  <a:lnTo>
                    <a:pt x="286" y="113"/>
                  </a:lnTo>
                  <a:lnTo>
                    <a:pt x="286" y="117"/>
                  </a:lnTo>
                  <a:lnTo>
                    <a:pt x="288" y="118"/>
                  </a:lnTo>
                  <a:lnTo>
                    <a:pt x="288" y="120"/>
                  </a:lnTo>
                  <a:lnTo>
                    <a:pt x="288" y="124"/>
                  </a:lnTo>
                  <a:lnTo>
                    <a:pt x="286" y="125"/>
                  </a:lnTo>
                  <a:lnTo>
                    <a:pt x="286" y="127"/>
                  </a:lnTo>
                  <a:lnTo>
                    <a:pt x="286" y="130"/>
                  </a:lnTo>
                  <a:lnTo>
                    <a:pt x="286" y="130"/>
                  </a:lnTo>
                  <a:lnTo>
                    <a:pt x="286" y="132"/>
                  </a:lnTo>
                  <a:lnTo>
                    <a:pt x="286" y="134"/>
                  </a:lnTo>
                  <a:lnTo>
                    <a:pt x="286" y="136"/>
                  </a:lnTo>
                  <a:lnTo>
                    <a:pt x="286" y="139"/>
                  </a:lnTo>
                  <a:lnTo>
                    <a:pt x="286" y="141"/>
                  </a:lnTo>
                  <a:lnTo>
                    <a:pt x="286" y="142"/>
                  </a:lnTo>
                  <a:lnTo>
                    <a:pt x="286" y="144"/>
                  </a:lnTo>
                  <a:lnTo>
                    <a:pt x="286" y="144"/>
                  </a:lnTo>
                  <a:lnTo>
                    <a:pt x="286" y="146"/>
                  </a:lnTo>
                  <a:lnTo>
                    <a:pt x="286" y="148"/>
                  </a:lnTo>
                  <a:lnTo>
                    <a:pt x="286" y="149"/>
                  </a:lnTo>
                  <a:lnTo>
                    <a:pt x="284" y="151"/>
                  </a:lnTo>
                  <a:lnTo>
                    <a:pt x="284" y="153"/>
                  </a:lnTo>
                  <a:lnTo>
                    <a:pt x="284" y="154"/>
                  </a:lnTo>
                  <a:lnTo>
                    <a:pt x="284" y="156"/>
                  </a:lnTo>
                  <a:lnTo>
                    <a:pt x="284" y="158"/>
                  </a:lnTo>
                  <a:lnTo>
                    <a:pt x="284" y="160"/>
                  </a:lnTo>
                  <a:lnTo>
                    <a:pt x="284" y="160"/>
                  </a:lnTo>
                  <a:lnTo>
                    <a:pt x="284" y="161"/>
                  </a:lnTo>
                  <a:lnTo>
                    <a:pt x="284" y="163"/>
                  </a:lnTo>
                  <a:lnTo>
                    <a:pt x="286" y="165"/>
                  </a:lnTo>
                  <a:lnTo>
                    <a:pt x="286" y="167"/>
                  </a:lnTo>
                  <a:lnTo>
                    <a:pt x="288" y="170"/>
                  </a:lnTo>
                  <a:lnTo>
                    <a:pt x="291" y="173"/>
                  </a:lnTo>
                  <a:lnTo>
                    <a:pt x="291" y="175"/>
                  </a:lnTo>
                  <a:lnTo>
                    <a:pt x="293" y="175"/>
                  </a:lnTo>
                  <a:lnTo>
                    <a:pt x="293" y="175"/>
                  </a:lnTo>
                  <a:lnTo>
                    <a:pt x="295" y="175"/>
                  </a:lnTo>
                  <a:lnTo>
                    <a:pt x="295" y="177"/>
                  </a:lnTo>
                  <a:lnTo>
                    <a:pt x="296" y="177"/>
                  </a:lnTo>
                  <a:lnTo>
                    <a:pt x="296" y="179"/>
                  </a:lnTo>
                  <a:lnTo>
                    <a:pt x="298" y="179"/>
                  </a:lnTo>
                  <a:lnTo>
                    <a:pt x="298" y="180"/>
                  </a:lnTo>
                  <a:lnTo>
                    <a:pt x="300" y="180"/>
                  </a:lnTo>
                  <a:lnTo>
                    <a:pt x="300" y="182"/>
                  </a:lnTo>
                  <a:lnTo>
                    <a:pt x="301" y="182"/>
                  </a:lnTo>
                  <a:lnTo>
                    <a:pt x="301" y="184"/>
                  </a:lnTo>
                  <a:lnTo>
                    <a:pt x="303" y="185"/>
                  </a:lnTo>
                  <a:lnTo>
                    <a:pt x="305" y="185"/>
                  </a:lnTo>
                  <a:lnTo>
                    <a:pt x="307" y="189"/>
                  </a:lnTo>
                  <a:lnTo>
                    <a:pt x="308" y="189"/>
                  </a:lnTo>
                  <a:lnTo>
                    <a:pt x="310" y="191"/>
                  </a:lnTo>
                  <a:lnTo>
                    <a:pt x="312" y="191"/>
                  </a:lnTo>
                  <a:lnTo>
                    <a:pt x="315" y="192"/>
                  </a:lnTo>
                  <a:lnTo>
                    <a:pt x="319" y="197"/>
                  </a:lnTo>
                  <a:lnTo>
                    <a:pt x="322" y="199"/>
                  </a:lnTo>
                  <a:lnTo>
                    <a:pt x="317" y="199"/>
                  </a:lnTo>
                  <a:lnTo>
                    <a:pt x="315" y="199"/>
                  </a:lnTo>
                  <a:lnTo>
                    <a:pt x="313" y="199"/>
                  </a:lnTo>
                  <a:lnTo>
                    <a:pt x="307" y="199"/>
                  </a:lnTo>
                  <a:lnTo>
                    <a:pt x="305" y="199"/>
                  </a:lnTo>
                  <a:lnTo>
                    <a:pt x="303" y="199"/>
                  </a:lnTo>
                  <a:lnTo>
                    <a:pt x="301" y="199"/>
                  </a:lnTo>
                  <a:lnTo>
                    <a:pt x="300" y="199"/>
                  </a:lnTo>
                  <a:lnTo>
                    <a:pt x="300" y="199"/>
                  </a:lnTo>
                  <a:lnTo>
                    <a:pt x="298" y="199"/>
                  </a:lnTo>
                  <a:lnTo>
                    <a:pt x="296" y="199"/>
                  </a:lnTo>
                  <a:lnTo>
                    <a:pt x="291" y="199"/>
                  </a:lnTo>
                  <a:lnTo>
                    <a:pt x="282" y="199"/>
                  </a:lnTo>
                  <a:lnTo>
                    <a:pt x="281" y="199"/>
                  </a:lnTo>
                  <a:lnTo>
                    <a:pt x="279" y="199"/>
                  </a:lnTo>
                  <a:lnTo>
                    <a:pt x="277" y="199"/>
                  </a:lnTo>
                  <a:lnTo>
                    <a:pt x="274" y="199"/>
                  </a:lnTo>
                  <a:lnTo>
                    <a:pt x="272" y="199"/>
                  </a:lnTo>
                  <a:lnTo>
                    <a:pt x="270" y="199"/>
                  </a:lnTo>
                  <a:lnTo>
                    <a:pt x="270" y="199"/>
                  </a:lnTo>
                  <a:lnTo>
                    <a:pt x="269" y="199"/>
                  </a:lnTo>
                  <a:lnTo>
                    <a:pt x="267" y="199"/>
                  </a:lnTo>
                  <a:lnTo>
                    <a:pt x="265" y="199"/>
                  </a:lnTo>
                  <a:lnTo>
                    <a:pt x="264" y="199"/>
                  </a:lnTo>
                  <a:lnTo>
                    <a:pt x="262" y="201"/>
                  </a:lnTo>
                  <a:lnTo>
                    <a:pt x="260" y="201"/>
                  </a:lnTo>
                  <a:lnTo>
                    <a:pt x="258" y="201"/>
                  </a:lnTo>
                  <a:lnTo>
                    <a:pt x="257" y="201"/>
                  </a:lnTo>
                  <a:lnTo>
                    <a:pt x="255" y="201"/>
                  </a:lnTo>
                  <a:lnTo>
                    <a:pt x="255" y="201"/>
                  </a:lnTo>
                  <a:lnTo>
                    <a:pt x="253" y="201"/>
                  </a:lnTo>
                  <a:lnTo>
                    <a:pt x="252" y="201"/>
                  </a:lnTo>
                  <a:lnTo>
                    <a:pt x="246" y="201"/>
                  </a:lnTo>
                  <a:lnTo>
                    <a:pt x="239" y="201"/>
                  </a:lnTo>
                  <a:lnTo>
                    <a:pt x="239" y="201"/>
                  </a:lnTo>
                  <a:lnTo>
                    <a:pt x="231" y="201"/>
                  </a:lnTo>
                  <a:lnTo>
                    <a:pt x="227" y="201"/>
                  </a:lnTo>
                  <a:lnTo>
                    <a:pt x="226" y="201"/>
                  </a:lnTo>
                  <a:lnTo>
                    <a:pt x="224" y="201"/>
                  </a:lnTo>
                  <a:lnTo>
                    <a:pt x="221" y="201"/>
                  </a:lnTo>
                  <a:lnTo>
                    <a:pt x="212" y="201"/>
                  </a:lnTo>
                  <a:lnTo>
                    <a:pt x="210" y="201"/>
                  </a:lnTo>
                  <a:lnTo>
                    <a:pt x="210" y="201"/>
                  </a:lnTo>
                  <a:lnTo>
                    <a:pt x="209" y="201"/>
                  </a:lnTo>
                  <a:lnTo>
                    <a:pt x="207" y="201"/>
                  </a:lnTo>
                  <a:lnTo>
                    <a:pt x="205" y="201"/>
                  </a:lnTo>
                  <a:lnTo>
                    <a:pt x="202" y="201"/>
                  </a:lnTo>
                  <a:lnTo>
                    <a:pt x="200" y="201"/>
                  </a:lnTo>
                  <a:lnTo>
                    <a:pt x="198" y="201"/>
                  </a:lnTo>
                  <a:lnTo>
                    <a:pt x="195" y="201"/>
                  </a:lnTo>
                  <a:lnTo>
                    <a:pt x="193" y="201"/>
                  </a:lnTo>
                  <a:lnTo>
                    <a:pt x="191" y="201"/>
                  </a:lnTo>
                  <a:lnTo>
                    <a:pt x="188" y="201"/>
                  </a:lnTo>
                  <a:lnTo>
                    <a:pt x="184" y="201"/>
                  </a:lnTo>
                  <a:lnTo>
                    <a:pt x="183" y="201"/>
                  </a:lnTo>
                  <a:lnTo>
                    <a:pt x="179" y="201"/>
                  </a:lnTo>
                  <a:lnTo>
                    <a:pt x="174" y="203"/>
                  </a:lnTo>
                  <a:lnTo>
                    <a:pt x="171" y="203"/>
                  </a:lnTo>
                  <a:lnTo>
                    <a:pt x="167" y="203"/>
                  </a:lnTo>
                  <a:lnTo>
                    <a:pt x="162" y="203"/>
                  </a:lnTo>
                  <a:lnTo>
                    <a:pt x="160" y="203"/>
                  </a:lnTo>
                  <a:lnTo>
                    <a:pt x="159" y="203"/>
                  </a:lnTo>
                  <a:lnTo>
                    <a:pt x="157" y="203"/>
                  </a:lnTo>
                  <a:lnTo>
                    <a:pt x="153" y="203"/>
                  </a:lnTo>
                  <a:lnTo>
                    <a:pt x="152" y="203"/>
                  </a:lnTo>
                  <a:lnTo>
                    <a:pt x="148" y="203"/>
                  </a:lnTo>
                  <a:lnTo>
                    <a:pt x="147" y="203"/>
                  </a:lnTo>
                  <a:lnTo>
                    <a:pt x="143" y="203"/>
                  </a:lnTo>
                  <a:lnTo>
                    <a:pt x="135" y="203"/>
                  </a:lnTo>
                  <a:lnTo>
                    <a:pt x="135" y="203"/>
                  </a:lnTo>
                  <a:lnTo>
                    <a:pt x="133" y="203"/>
                  </a:lnTo>
                  <a:lnTo>
                    <a:pt x="128" y="203"/>
                  </a:lnTo>
                  <a:lnTo>
                    <a:pt x="126" y="203"/>
                  </a:lnTo>
                  <a:lnTo>
                    <a:pt x="124" y="203"/>
                  </a:lnTo>
                  <a:lnTo>
                    <a:pt x="123" y="203"/>
                  </a:lnTo>
                  <a:lnTo>
                    <a:pt x="121" y="203"/>
                  </a:lnTo>
                  <a:lnTo>
                    <a:pt x="119" y="203"/>
                  </a:lnTo>
                  <a:lnTo>
                    <a:pt x="114" y="203"/>
                  </a:lnTo>
                  <a:lnTo>
                    <a:pt x="110" y="203"/>
                  </a:lnTo>
                  <a:lnTo>
                    <a:pt x="107" y="203"/>
                  </a:lnTo>
                  <a:lnTo>
                    <a:pt x="105" y="203"/>
                  </a:lnTo>
                  <a:lnTo>
                    <a:pt x="104" y="203"/>
                  </a:lnTo>
                  <a:lnTo>
                    <a:pt x="102" y="203"/>
                  </a:lnTo>
                  <a:lnTo>
                    <a:pt x="98" y="203"/>
                  </a:lnTo>
                  <a:lnTo>
                    <a:pt x="97" y="203"/>
                  </a:lnTo>
                  <a:lnTo>
                    <a:pt x="90" y="203"/>
                  </a:lnTo>
                  <a:lnTo>
                    <a:pt x="90" y="203"/>
                  </a:lnTo>
                  <a:lnTo>
                    <a:pt x="80" y="203"/>
                  </a:lnTo>
                  <a:lnTo>
                    <a:pt x="80" y="213"/>
                  </a:lnTo>
                  <a:lnTo>
                    <a:pt x="80" y="215"/>
                  </a:lnTo>
                  <a:lnTo>
                    <a:pt x="80" y="216"/>
                  </a:lnTo>
                  <a:lnTo>
                    <a:pt x="80" y="218"/>
                  </a:lnTo>
                  <a:lnTo>
                    <a:pt x="80" y="220"/>
                  </a:lnTo>
                  <a:lnTo>
                    <a:pt x="80" y="220"/>
                  </a:lnTo>
                  <a:lnTo>
                    <a:pt x="80" y="223"/>
                  </a:lnTo>
                  <a:lnTo>
                    <a:pt x="76" y="223"/>
                  </a:lnTo>
                  <a:lnTo>
                    <a:pt x="74" y="223"/>
                  </a:lnTo>
                  <a:lnTo>
                    <a:pt x="74" y="223"/>
                  </a:lnTo>
                  <a:lnTo>
                    <a:pt x="73" y="223"/>
                  </a:lnTo>
                  <a:lnTo>
                    <a:pt x="71" y="223"/>
                  </a:lnTo>
                  <a:lnTo>
                    <a:pt x="69" y="223"/>
                  </a:lnTo>
                  <a:lnTo>
                    <a:pt x="67" y="223"/>
                  </a:lnTo>
                  <a:lnTo>
                    <a:pt x="66" y="223"/>
                  </a:lnTo>
                  <a:lnTo>
                    <a:pt x="64" y="223"/>
                  </a:lnTo>
                  <a:lnTo>
                    <a:pt x="62" y="223"/>
                  </a:lnTo>
                  <a:lnTo>
                    <a:pt x="61" y="223"/>
                  </a:lnTo>
                  <a:lnTo>
                    <a:pt x="59" y="223"/>
                  </a:lnTo>
                  <a:lnTo>
                    <a:pt x="59" y="223"/>
                  </a:lnTo>
                  <a:lnTo>
                    <a:pt x="57" y="223"/>
                  </a:lnTo>
                  <a:lnTo>
                    <a:pt x="52" y="223"/>
                  </a:lnTo>
                  <a:lnTo>
                    <a:pt x="50" y="223"/>
                  </a:lnTo>
                  <a:lnTo>
                    <a:pt x="45" y="223"/>
                  </a:lnTo>
                  <a:lnTo>
                    <a:pt x="43" y="223"/>
                  </a:lnTo>
                  <a:lnTo>
                    <a:pt x="35" y="223"/>
                  </a:lnTo>
                  <a:lnTo>
                    <a:pt x="30" y="223"/>
                  </a:lnTo>
                  <a:lnTo>
                    <a:pt x="26" y="223"/>
                  </a:lnTo>
                  <a:lnTo>
                    <a:pt x="24" y="223"/>
                  </a:lnTo>
                  <a:lnTo>
                    <a:pt x="16" y="223"/>
                  </a:lnTo>
                  <a:lnTo>
                    <a:pt x="14" y="223"/>
                  </a:lnTo>
                  <a:lnTo>
                    <a:pt x="4" y="223"/>
                  </a:lnTo>
                  <a:lnTo>
                    <a:pt x="0" y="223"/>
                  </a:lnTo>
                  <a:lnTo>
                    <a:pt x="0" y="220"/>
                  </a:lnTo>
                  <a:lnTo>
                    <a:pt x="0" y="220"/>
                  </a:lnTo>
                  <a:lnTo>
                    <a:pt x="0" y="213"/>
                  </a:lnTo>
                  <a:lnTo>
                    <a:pt x="0" y="210"/>
                  </a:lnTo>
                  <a:lnTo>
                    <a:pt x="0" y="206"/>
                  </a:lnTo>
                  <a:lnTo>
                    <a:pt x="0" y="203"/>
                  </a:lnTo>
                  <a:lnTo>
                    <a:pt x="0" y="199"/>
                  </a:lnTo>
                  <a:lnTo>
                    <a:pt x="0" y="191"/>
                  </a:lnTo>
                  <a:lnTo>
                    <a:pt x="0" y="189"/>
                  </a:lnTo>
                  <a:lnTo>
                    <a:pt x="0" y="185"/>
                  </a:lnTo>
                  <a:lnTo>
                    <a:pt x="0" y="184"/>
                  </a:lnTo>
                  <a:lnTo>
                    <a:pt x="0" y="182"/>
                  </a:lnTo>
                  <a:lnTo>
                    <a:pt x="0" y="180"/>
                  </a:lnTo>
                  <a:lnTo>
                    <a:pt x="0" y="175"/>
                  </a:lnTo>
                  <a:lnTo>
                    <a:pt x="0" y="175"/>
                  </a:lnTo>
                  <a:lnTo>
                    <a:pt x="0" y="168"/>
                  </a:lnTo>
                  <a:lnTo>
                    <a:pt x="0" y="167"/>
                  </a:lnTo>
                  <a:lnTo>
                    <a:pt x="0" y="163"/>
                  </a:lnTo>
                  <a:lnTo>
                    <a:pt x="0" y="160"/>
                  </a:lnTo>
                  <a:lnTo>
                    <a:pt x="0" y="158"/>
                  </a:lnTo>
                  <a:lnTo>
                    <a:pt x="0" y="154"/>
                  </a:lnTo>
                  <a:lnTo>
                    <a:pt x="0" y="146"/>
                  </a:lnTo>
                  <a:lnTo>
                    <a:pt x="0" y="144"/>
                  </a:lnTo>
                  <a:lnTo>
                    <a:pt x="0" y="144"/>
                  </a:lnTo>
                  <a:lnTo>
                    <a:pt x="0" y="141"/>
                  </a:lnTo>
                  <a:lnTo>
                    <a:pt x="2" y="136"/>
                  </a:lnTo>
                  <a:lnTo>
                    <a:pt x="2" y="132"/>
                  </a:lnTo>
                  <a:lnTo>
                    <a:pt x="2" y="124"/>
                  </a:lnTo>
                  <a:lnTo>
                    <a:pt x="2" y="118"/>
                  </a:lnTo>
                  <a:lnTo>
                    <a:pt x="2" y="111"/>
                  </a:lnTo>
                  <a:lnTo>
                    <a:pt x="2" y="110"/>
                  </a:lnTo>
                  <a:lnTo>
                    <a:pt x="2" y="108"/>
                  </a:lnTo>
                  <a:lnTo>
                    <a:pt x="2" y="101"/>
                  </a:lnTo>
                  <a:lnTo>
                    <a:pt x="2" y="99"/>
                  </a:lnTo>
                  <a:lnTo>
                    <a:pt x="2" y="98"/>
                  </a:lnTo>
                  <a:lnTo>
                    <a:pt x="2" y="93"/>
                  </a:lnTo>
                  <a:lnTo>
                    <a:pt x="2" y="89"/>
                  </a:lnTo>
                  <a:lnTo>
                    <a:pt x="2" y="87"/>
                  </a:lnTo>
                  <a:lnTo>
                    <a:pt x="2" y="84"/>
                  </a:lnTo>
                  <a:lnTo>
                    <a:pt x="2" y="82"/>
                  </a:lnTo>
                  <a:lnTo>
                    <a:pt x="2" y="81"/>
                  </a:lnTo>
                  <a:lnTo>
                    <a:pt x="2" y="77"/>
                  </a:lnTo>
                  <a:lnTo>
                    <a:pt x="2" y="70"/>
                  </a:lnTo>
                  <a:lnTo>
                    <a:pt x="2" y="70"/>
                  </a:lnTo>
                  <a:lnTo>
                    <a:pt x="2" y="65"/>
                  </a:lnTo>
                  <a:lnTo>
                    <a:pt x="2" y="58"/>
                  </a:lnTo>
                  <a:lnTo>
                    <a:pt x="2" y="56"/>
                  </a:lnTo>
                  <a:lnTo>
                    <a:pt x="2" y="51"/>
                  </a:lnTo>
                  <a:lnTo>
                    <a:pt x="2" y="46"/>
                  </a:lnTo>
                  <a:lnTo>
                    <a:pt x="2" y="39"/>
                  </a:lnTo>
                  <a:lnTo>
                    <a:pt x="2" y="29"/>
                  </a:lnTo>
                  <a:lnTo>
                    <a:pt x="2" y="27"/>
                  </a:lnTo>
                  <a:lnTo>
                    <a:pt x="2" y="24"/>
                  </a:lnTo>
                  <a:lnTo>
                    <a:pt x="2" y="24"/>
                  </a:lnTo>
                  <a:lnTo>
                    <a:pt x="2" y="15"/>
                  </a:lnTo>
                  <a:lnTo>
                    <a:pt x="2" y="13"/>
                  </a:lnTo>
                  <a:lnTo>
                    <a:pt x="2" y="12"/>
                  </a:lnTo>
                  <a:lnTo>
                    <a:pt x="2" y="10"/>
                  </a:lnTo>
                  <a:lnTo>
                    <a:pt x="2" y="8"/>
                  </a:lnTo>
                  <a:lnTo>
                    <a:pt x="2" y="5"/>
                  </a:lnTo>
                  <a:lnTo>
                    <a:pt x="2" y="1"/>
                  </a:lnTo>
                  <a:lnTo>
                    <a:pt x="6" y="1"/>
                  </a:lnTo>
                  <a:lnTo>
                    <a:pt x="18" y="1"/>
                  </a:lnTo>
                  <a:lnTo>
                    <a:pt x="21" y="1"/>
                  </a:lnTo>
                  <a:lnTo>
                    <a:pt x="26" y="1"/>
                  </a:lnTo>
                  <a:lnTo>
                    <a:pt x="31" y="1"/>
                  </a:lnTo>
                  <a:lnTo>
                    <a:pt x="33" y="1"/>
                  </a:lnTo>
                  <a:lnTo>
                    <a:pt x="35" y="1"/>
                  </a:lnTo>
                  <a:lnTo>
                    <a:pt x="40" y="1"/>
                  </a:lnTo>
                  <a:lnTo>
                    <a:pt x="43" y="1"/>
                  </a:lnTo>
                  <a:lnTo>
                    <a:pt x="45" y="1"/>
                  </a:lnTo>
                  <a:lnTo>
                    <a:pt x="50" y="1"/>
                  </a:lnTo>
                  <a:lnTo>
                    <a:pt x="54" y="1"/>
                  </a:lnTo>
                  <a:lnTo>
                    <a:pt x="57" y="1"/>
                  </a:lnTo>
                  <a:lnTo>
                    <a:pt x="61" y="1"/>
                  </a:lnTo>
                  <a:lnTo>
                    <a:pt x="69" y="1"/>
                  </a:lnTo>
                  <a:lnTo>
                    <a:pt x="73" y="1"/>
                  </a:lnTo>
                  <a:lnTo>
                    <a:pt x="76" y="1"/>
                  </a:lnTo>
                  <a:lnTo>
                    <a:pt x="81" y="1"/>
                  </a:lnTo>
                  <a:lnTo>
                    <a:pt x="90" y="1"/>
                  </a:lnTo>
                  <a:lnTo>
                    <a:pt x="90" y="1"/>
                  </a:lnTo>
                  <a:lnTo>
                    <a:pt x="95" y="1"/>
                  </a:lnTo>
                  <a:lnTo>
                    <a:pt x="97" y="1"/>
                  </a:lnTo>
                  <a:lnTo>
                    <a:pt x="102" y="1"/>
                  </a:lnTo>
                  <a:lnTo>
                    <a:pt x="109" y="1"/>
                  </a:lnTo>
                  <a:lnTo>
                    <a:pt x="112" y="1"/>
                  </a:lnTo>
                  <a:lnTo>
                    <a:pt x="114" y="1"/>
                  </a:lnTo>
                  <a:lnTo>
                    <a:pt x="124" y="1"/>
                  </a:lnTo>
                  <a:lnTo>
                    <a:pt x="129" y="1"/>
                  </a:lnTo>
                  <a:lnTo>
                    <a:pt x="133" y="1"/>
                  </a:lnTo>
                  <a:lnTo>
                    <a:pt x="135" y="1"/>
                  </a:lnTo>
                  <a:lnTo>
                    <a:pt x="143" y="1"/>
                  </a:lnTo>
                  <a:lnTo>
                    <a:pt x="150" y="1"/>
                  </a:lnTo>
                  <a:lnTo>
                    <a:pt x="153" y="0"/>
                  </a:lnTo>
                  <a:lnTo>
                    <a:pt x="155" y="0"/>
                  </a:lnTo>
                  <a:lnTo>
                    <a:pt x="155" y="1"/>
                  </a:lnTo>
                  <a:lnTo>
                    <a:pt x="157" y="1"/>
                  </a:lnTo>
                  <a:lnTo>
                    <a:pt x="159" y="1"/>
                  </a:lnTo>
                  <a:lnTo>
                    <a:pt x="162" y="1"/>
                  </a:lnTo>
                  <a:lnTo>
                    <a:pt x="164" y="1"/>
                  </a:lnTo>
                  <a:lnTo>
                    <a:pt x="166" y="1"/>
                  </a:lnTo>
                  <a:lnTo>
                    <a:pt x="167" y="0"/>
                  </a:lnTo>
                  <a:lnTo>
                    <a:pt x="179" y="0"/>
                  </a:lnTo>
                  <a:lnTo>
                    <a:pt x="184" y="0"/>
                  </a:lnTo>
                  <a:lnTo>
                    <a:pt x="188" y="0"/>
                  </a:lnTo>
                  <a:lnTo>
                    <a:pt x="193" y="0"/>
                  </a:lnTo>
                  <a:lnTo>
                    <a:pt x="202" y="0"/>
                  </a:lnTo>
                  <a:lnTo>
                    <a:pt x="203" y="0"/>
                  </a:lnTo>
                  <a:lnTo>
                    <a:pt x="209" y="0"/>
                  </a:lnTo>
                  <a:lnTo>
                    <a:pt x="224" y="0"/>
                  </a:lnTo>
                  <a:lnTo>
                    <a:pt x="229" y="0"/>
                  </a:lnTo>
                  <a:lnTo>
                    <a:pt x="236" y="0"/>
                  </a:lnTo>
                  <a:lnTo>
                    <a:pt x="238" y="0"/>
                  </a:lnTo>
                  <a:lnTo>
                    <a:pt x="241" y="0"/>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1" name="Freeform 162"/>
            <p:cNvSpPr>
              <a:spLocks/>
            </p:cNvSpPr>
            <p:nvPr/>
          </p:nvSpPr>
          <p:spPr bwMode="auto">
            <a:xfrm>
              <a:off x="6342946" y="2001631"/>
              <a:ext cx="506413" cy="447675"/>
            </a:xfrm>
            <a:custGeom>
              <a:avLst/>
              <a:gdLst/>
              <a:ahLst/>
              <a:cxnLst>
                <a:cxn ang="0">
                  <a:pos x="0" y="16"/>
                </a:cxn>
                <a:cxn ang="0">
                  <a:pos x="18" y="4"/>
                </a:cxn>
                <a:cxn ang="0">
                  <a:pos x="34" y="4"/>
                </a:cxn>
                <a:cxn ang="0">
                  <a:pos x="48" y="4"/>
                </a:cxn>
                <a:cxn ang="0">
                  <a:pos x="68" y="4"/>
                </a:cxn>
                <a:cxn ang="0">
                  <a:pos x="82" y="4"/>
                </a:cxn>
                <a:cxn ang="0">
                  <a:pos x="104" y="2"/>
                </a:cxn>
                <a:cxn ang="0">
                  <a:pos x="120" y="2"/>
                </a:cxn>
                <a:cxn ang="0">
                  <a:pos x="130" y="2"/>
                </a:cxn>
                <a:cxn ang="0">
                  <a:pos x="151" y="2"/>
                </a:cxn>
                <a:cxn ang="0">
                  <a:pos x="175" y="2"/>
                </a:cxn>
                <a:cxn ang="0">
                  <a:pos x="184" y="0"/>
                </a:cxn>
                <a:cxn ang="0">
                  <a:pos x="192" y="0"/>
                </a:cxn>
                <a:cxn ang="0">
                  <a:pos x="211" y="0"/>
                </a:cxn>
                <a:cxn ang="0">
                  <a:pos x="223" y="0"/>
                </a:cxn>
                <a:cxn ang="0">
                  <a:pos x="242" y="0"/>
                </a:cxn>
                <a:cxn ang="0">
                  <a:pos x="247" y="7"/>
                </a:cxn>
                <a:cxn ang="0">
                  <a:pos x="258" y="12"/>
                </a:cxn>
                <a:cxn ang="0">
                  <a:pos x="266" y="21"/>
                </a:cxn>
                <a:cxn ang="0">
                  <a:pos x="271" y="29"/>
                </a:cxn>
                <a:cxn ang="0">
                  <a:pos x="280" y="36"/>
                </a:cxn>
                <a:cxn ang="0">
                  <a:pos x="285" y="45"/>
                </a:cxn>
                <a:cxn ang="0">
                  <a:pos x="295" y="52"/>
                </a:cxn>
                <a:cxn ang="0">
                  <a:pos x="302" y="55"/>
                </a:cxn>
                <a:cxn ang="0">
                  <a:pos x="313" y="59"/>
                </a:cxn>
                <a:cxn ang="0">
                  <a:pos x="319" y="66"/>
                </a:cxn>
                <a:cxn ang="0">
                  <a:pos x="304" y="67"/>
                </a:cxn>
                <a:cxn ang="0">
                  <a:pos x="290" y="76"/>
                </a:cxn>
                <a:cxn ang="0">
                  <a:pos x="271" y="91"/>
                </a:cxn>
                <a:cxn ang="0">
                  <a:pos x="256" y="103"/>
                </a:cxn>
                <a:cxn ang="0">
                  <a:pos x="237" y="119"/>
                </a:cxn>
                <a:cxn ang="0">
                  <a:pos x="220" y="131"/>
                </a:cxn>
                <a:cxn ang="0">
                  <a:pos x="204" y="143"/>
                </a:cxn>
                <a:cxn ang="0">
                  <a:pos x="194" y="150"/>
                </a:cxn>
                <a:cxn ang="0">
                  <a:pos x="178" y="162"/>
                </a:cxn>
                <a:cxn ang="0">
                  <a:pos x="159" y="177"/>
                </a:cxn>
                <a:cxn ang="0">
                  <a:pos x="156" y="196"/>
                </a:cxn>
                <a:cxn ang="0">
                  <a:pos x="159" y="226"/>
                </a:cxn>
                <a:cxn ang="0">
                  <a:pos x="165" y="262"/>
                </a:cxn>
                <a:cxn ang="0">
                  <a:pos x="163" y="282"/>
                </a:cxn>
                <a:cxn ang="0">
                  <a:pos x="141" y="282"/>
                </a:cxn>
                <a:cxn ang="0">
                  <a:pos x="129" y="281"/>
                </a:cxn>
                <a:cxn ang="0">
                  <a:pos x="101" y="281"/>
                </a:cxn>
                <a:cxn ang="0">
                  <a:pos x="77" y="281"/>
                </a:cxn>
                <a:cxn ang="0">
                  <a:pos x="53" y="281"/>
                </a:cxn>
                <a:cxn ang="0">
                  <a:pos x="12" y="281"/>
                </a:cxn>
                <a:cxn ang="0">
                  <a:pos x="1" y="258"/>
                </a:cxn>
                <a:cxn ang="0">
                  <a:pos x="1" y="236"/>
                </a:cxn>
                <a:cxn ang="0">
                  <a:pos x="1" y="201"/>
                </a:cxn>
                <a:cxn ang="0">
                  <a:pos x="3" y="174"/>
                </a:cxn>
                <a:cxn ang="0">
                  <a:pos x="3" y="152"/>
                </a:cxn>
                <a:cxn ang="0">
                  <a:pos x="3" y="131"/>
                </a:cxn>
                <a:cxn ang="0">
                  <a:pos x="3" y="114"/>
                </a:cxn>
                <a:cxn ang="0">
                  <a:pos x="3" y="91"/>
                </a:cxn>
                <a:cxn ang="0">
                  <a:pos x="3" y="69"/>
                </a:cxn>
                <a:cxn ang="0">
                  <a:pos x="0" y="50"/>
                </a:cxn>
                <a:cxn ang="0">
                  <a:pos x="0" y="29"/>
                </a:cxn>
              </a:cxnLst>
              <a:rect l="0" t="0" r="r" b="b"/>
              <a:pathLst>
                <a:path w="319" h="282">
                  <a:moveTo>
                    <a:pt x="0" y="24"/>
                  </a:moveTo>
                  <a:lnTo>
                    <a:pt x="0" y="21"/>
                  </a:lnTo>
                  <a:lnTo>
                    <a:pt x="0" y="21"/>
                  </a:lnTo>
                  <a:lnTo>
                    <a:pt x="0" y="19"/>
                  </a:lnTo>
                  <a:lnTo>
                    <a:pt x="0" y="17"/>
                  </a:lnTo>
                  <a:lnTo>
                    <a:pt x="0" y="16"/>
                  </a:lnTo>
                  <a:lnTo>
                    <a:pt x="0" y="14"/>
                  </a:lnTo>
                  <a:lnTo>
                    <a:pt x="0" y="4"/>
                  </a:lnTo>
                  <a:lnTo>
                    <a:pt x="10" y="4"/>
                  </a:lnTo>
                  <a:lnTo>
                    <a:pt x="10" y="4"/>
                  </a:lnTo>
                  <a:lnTo>
                    <a:pt x="17" y="4"/>
                  </a:lnTo>
                  <a:lnTo>
                    <a:pt x="18" y="4"/>
                  </a:lnTo>
                  <a:lnTo>
                    <a:pt x="22" y="4"/>
                  </a:lnTo>
                  <a:lnTo>
                    <a:pt x="24" y="4"/>
                  </a:lnTo>
                  <a:lnTo>
                    <a:pt x="25" y="4"/>
                  </a:lnTo>
                  <a:lnTo>
                    <a:pt x="27" y="4"/>
                  </a:lnTo>
                  <a:lnTo>
                    <a:pt x="30" y="4"/>
                  </a:lnTo>
                  <a:lnTo>
                    <a:pt x="34" y="4"/>
                  </a:lnTo>
                  <a:lnTo>
                    <a:pt x="39" y="4"/>
                  </a:lnTo>
                  <a:lnTo>
                    <a:pt x="41" y="4"/>
                  </a:lnTo>
                  <a:lnTo>
                    <a:pt x="43" y="4"/>
                  </a:lnTo>
                  <a:lnTo>
                    <a:pt x="44" y="4"/>
                  </a:lnTo>
                  <a:lnTo>
                    <a:pt x="46" y="4"/>
                  </a:lnTo>
                  <a:lnTo>
                    <a:pt x="48" y="4"/>
                  </a:lnTo>
                  <a:lnTo>
                    <a:pt x="53" y="4"/>
                  </a:lnTo>
                  <a:lnTo>
                    <a:pt x="55" y="4"/>
                  </a:lnTo>
                  <a:lnTo>
                    <a:pt x="55" y="4"/>
                  </a:lnTo>
                  <a:lnTo>
                    <a:pt x="63" y="4"/>
                  </a:lnTo>
                  <a:lnTo>
                    <a:pt x="67" y="4"/>
                  </a:lnTo>
                  <a:lnTo>
                    <a:pt x="68" y="4"/>
                  </a:lnTo>
                  <a:lnTo>
                    <a:pt x="72" y="4"/>
                  </a:lnTo>
                  <a:lnTo>
                    <a:pt x="73" y="4"/>
                  </a:lnTo>
                  <a:lnTo>
                    <a:pt x="77" y="4"/>
                  </a:lnTo>
                  <a:lnTo>
                    <a:pt x="79" y="4"/>
                  </a:lnTo>
                  <a:lnTo>
                    <a:pt x="80" y="4"/>
                  </a:lnTo>
                  <a:lnTo>
                    <a:pt x="82" y="4"/>
                  </a:lnTo>
                  <a:lnTo>
                    <a:pt x="87" y="4"/>
                  </a:lnTo>
                  <a:lnTo>
                    <a:pt x="91" y="4"/>
                  </a:lnTo>
                  <a:lnTo>
                    <a:pt x="94" y="4"/>
                  </a:lnTo>
                  <a:lnTo>
                    <a:pt x="99" y="2"/>
                  </a:lnTo>
                  <a:lnTo>
                    <a:pt x="103" y="2"/>
                  </a:lnTo>
                  <a:lnTo>
                    <a:pt x="104" y="2"/>
                  </a:lnTo>
                  <a:lnTo>
                    <a:pt x="108" y="2"/>
                  </a:lnTo>
                  <a:lnTo>
                    <a:pt x="111" y="2"/>
                  </a:lnTo>
                  <a:lnTo>
                    <a:pt x="113" y="2"/>
                  </a:lnTo>
                  <a:lnTo>
                    <a:pt x="115" y="2"/>
                  </a:lnTo>
                  <a:lnTo>
                    <a:pt x="118" y="2"/>
                  </a:lnTo>
                  <a:lnTo>
                    <a:pt x="120" y="2"/>
                  </a:lnTo>
                  <a:lnTo>
                    <a:pt x="122" y="2"/>
                  </a:lnTo>
                  <a:lnTo>
                    <a:pt x="125" y="2"/>
                  </a:lnTo>
                  <a:lnTo>
                    <a:pt x="127" y="2"/>
                  </a:lnTo>
                  <a:lnTo>
                    <a:pt x="129" y="2"/>
                  </a:lnTo>
                  <a:lnTo>
                    <a:pt x="130" y="2"/>
                  </a:lnTo>
                  <a:lnTo>
                    <a:pt x="130" y="2"/>
                  </a:lnTo>
                  <a:lnTo>
                    <a:pt x="132" y="2"/>
                  </a:lnTo>
                  <a:lnTo>
                    <a:pt x="141" y="2"/>
                  </a:lnTo>
                  <a:lnTo>
                    <a:pt x="144" y="2"/>
                  </a:lnTo>
                  <a:lnTo>
                    <a:pt x="146" y="2"/>
                  </a:lnTo>
                  <a:lnTo>
                    <a:pt x="147" y="2"/>
                  </a:lnTo>
                  <a:lnTo>
                    <a:pt x="151" y="2"/>
                  </a:lnTo>
                  <a:lnTo>
                    <a:pt x="159" y="2"/>
                  </a:lnTo>
                  <a:lnTo>
                    <a:pt x="159" y="2"/>
                  </a:lnTo>
                  <a:lnTo>
                    <a:pt x="166" y="2"/>
                  </a:lnTo>
                  <a:lnTo>
                    <a:pt x="172" y="2"/>
                  </a:lnTo>
                  <a:lnTo>
                    <a:pt x="173" y="2"/>
                  </a:lnTo>
                  <a:lnTo>
                    <a:pt x="175" y="2"/>
                  </a:lnTo>
                  <a:lnTo>
                    <a:pt x="175" y="2"/>
                  </a:lnTo>
                  <a:lnTo>
                    <a:pt x="177" y="2"/>
                  </a:lnTo>
                  <a:lnTo>
                    <a:pt x="178" y="2"/>
                  </a:lnTo>
                  <a:lnTo>
                    <a:pt x="180" y="2"/>
                  </a:lnTo>
                  <a:lnTo>
                    <a:pt x="182" y="2"/>
                  </a:lnTo>
                  <a:lnTo>
                    <a:pt x="184" y="0"/>
                  </a:lnTo>
                  <a:lnTo>
                    <a:pt x="185" y="0"/>
                  </a:lnTo>
                  <a:lnTo>
                    <a:pt x="187" y="0"/>
                  </a:lnTo>
                  <a:lnTo>
                    <a:pt x="189" y="0"/>
                  </a:lnTo>
                  <a:lnTo>
                    <a:pt x="190" y="0"/>
                  </a:lnTo>
                  <a:lnTo>
                    <a:pt x="190" y="0"/>
                  </a:lnTo>
                  <a:lnTo>
                    <a:pt x="192" y="0"/>
                  </a:lnTo>
                  <a:lnTo>
                    <a:pt x="194" y="0"/>
                  </a:lnTo>
                  <a:lnTo>
                    <a:pt x="197" y="0"/>
                  </a:lnTo>
                  <a:lnTo>
                    <a:pt x="199" y="0"/>
                  </a:lnTo>
                  <a:lnTo>
                    <a:pt x="201" y="0"/>
                  </a:lnTo>
                  <a:lnTo>
                    <a:pt x="202" y="0"/>
                  </a:lnTo>
                  <a:lnTo>
                    <a:pt x="211" y="0"/>
                  </a:lnTo>
                  <a:lnTo>
                    <a:pt x="216" y="0"/>
                  </a:lnTo>
                  <a:lnTo>
                    <a:pt x="218" y="0"/>
                  </a:lnTo>
                  <a:lnTo>
                    <a:pt x="220" y="0"/>
                  </a:lnTo>
                  <a:lnTo>
                    <a:pt x="220" y="0"/>
                  </a:lnTo>
                  <a:lnTo>
                    <a:pt x="221" y="0"/>
                  </a:lnTo>
                  <a:lnTo>
                    <a:pt x="223" y="0"/>
                  </a:lnTo>
                  <a:lnTo>
                    <a:pt x="225" y="0"/>
                  </a:lnTo>
                  <a:lnTo>
                    <a:pt x="227" y="0"/>
                  </a:lnTo>
                  <a:lnTo>
                    <a:pt x="233" y="0"/>
                  </a:lnTo>
                  <a:lnTo>
                    <a:pt x="235" y="0"/>
                  </a:lnTo>
                  <a:lnTo>
                    <a:pt x="237" y="0"/>
                  </a:lnTo>
                  <a:lnTo>
                    <a:pt x="242" y="0"/>
                  </a:lnTo>
                  <a:lnTo>
                    <a:pt x="242" y="2"/>
                  </a:lnTo>
                  <a:lnTo>
                    <a:pt x="244" y="2"/>
                  </a:lnTo>
                  <a:lnTo>
                    <a:pt x="244" y="4"/>
                  </a:lnTo>
                  <a:lnTo>
                    <a:pt x="245" y="5"/>
                  </a:lnTo>
                  <a:lnTo>
                    <a:pt x="247" y="5"/>
                  </a:lnTo>
                  <a:lnTo>
                    <a:pt x="247" y="7"/>
                  </a:lnTo>
                  <a:lnTo>
                    <a:pt x="249" y="7"/>
                  </a:lnTo>
                  <a:lnTo>
                    <a:pt x="251" y="7"/>
                  </a:lnTo>
                  <a:lnTo>
                    <a:pt x="252" y="9"/>
                  </a:lnTo>
                  <a:lnTo>
                    <a:pt x="254" y="11"/>
                  </a:lnTo>
                  <a:lnTo>
                    <a:pt x="256" y="11"/>
                  </a:lnTo>
                  <a:lnTo>
                    <a:pt x="258" y="12"/>
                  </a:lnTo>
                  <a:lnTo>
                    <a:pt x="259" y="14"/>
                  </a:lnTo>
                  <a:lnTo>
                    <a:pt x="261" y="14"/>
                  </a:lnTo>
                  <a:lnTo>
                    <a:pt x="261" y="16"/>
                  </a:lnTo>
                  <a:lnTo>
                    <a:pt x="263" y="16"/>
                  </a:lnTo>
                  <a:lnTo>
                    <a:pt x="264" y="19"/>
                  </a:lnTo>
                  <a:lnTo>
                    <a:pt x="266" y="21"/>
                  </a:lnTo>
                  <a:lnTo>
                    <a:pt x="268" y="23"/>
                  </a:lnTo>
                  <a:lnTo>
                    <a:pt x="268" y="24"/>
                  </a:lnTo>
                  <a:lnTo>
                    <a:pt x="270" y="26"/>
                  </a:lnTo>
                  <a:lnTo>
                    <a:pt x="270" y="28"/>
                  </a:lnTo>
                  <a:lnTo>
                    <a:pt x="271" y="28"/>
                  </a:lnTo>
                  <a:lnTo>
                    <a:pt x="271" y="29"/>
                  </a:lnTo>
                  <a:lnTo>
                    <a:pt x="273" y="29"/>
                  </a:lnTo>
                  <a:lnTo>
                    <a:pt x="273" y="31"/>
                  </a:lnTo>
                  <a:lnTo>
                    <a:pt x="275" y="31"/>
                  </a:lnTo>
                  <a:lnTo>
                    <a:pt x="276" y="33"/>
                  </a:lnTo>
                  <a:lnTo>
                    <a:pt x="278" y="35"/>
                  </a:lnTo>
                  <a:lnTo>
                    <a:pt x="280" y="36"/>
                  </a:lnTo>
                  <a:lnTo>
                    <a:pt x="280" y="36"/>
                  </a:lnTo>
                  <a:lnTo>
                    <a:pt x="280" y="38"/>
                  </a:lnTo>
                  <a:lnTo>
                    <a:pt x="280" y="40"/>
                  </a:lnTo>
                  <a:lnTo>
                    <a:pt x="282" y="42"/>
                  </a:lnTo>
                  <a:lnTo>
                    <a:pt x="282" y="43"/>
                  </a:lnTo>
                  <a:lnTo>
                    <a:pt x="285" y="45"/>
                  </a:lnTo>
                  <a:lnTo>
                    <a:pt x="287" y="47"/>
                  </a:lnTo>
                  <a:lnTo>
                    <a:pt x="288" y="48"/>
                  </a:lnTo>
                  <a:lnTo>
                    <a:pt x="290" y="50"/>
                  </a:lnTo>
                  <a:lnTo>
                    <a:pt x="292" y="50"/>
                  </a:lnTo>
                  <a:lnTo>
                    <a:pt x="294" y="52"/>
                  </a:lnTo>
                  <a:lnTo>
                    <a:pt x="295" y="52"/>
                  </a:lnTo>
                  <a:lnTo>
                    <a:pt x="295" y="52"/>
                  </a:lnTo>
                  <a:lnTo>
                    <a:pt x="295" y="52"/>
                  </a:lnTo>
                  <a:lnTo>
                    <a:pt x="297" y="52"/>
                  </a:lnTo>
                  <a:lnTo>
                    <a:pt x="299" y="54"/>
                  </a:lnTo>
                  <a:lnTo>
                    <a:pt x="301" y="54"/>
                  </a:lnTo>
                  <a:lnTo>
                    <a:pt x="302" y="55"/>
                  </a:lnTo>
                  <a:lnTo>
                    <a:pt x="304" y="55"/>
                  </a:lnTo>
                  <a:lnTo>
                    <a:pt x="306" y="57"/>
                  </a:lnTo>
                  <a:lnTo>
                    <a:pt x="307" y="57"/>
                  </a:lnTo>
                  <a:lnTo>
                    <a:pt x="309" y="57"/>
                  </a:lnTo>
                  <a:lnTo>
                    <a:pt x="311" y="59"/>
                  </a:lnTo>
                  <a:lnTo>
                    <a:pt x="313" y="59"/>
                  </a:lnTo>
                  <a:lnTo>
                    <a:pt x="314" y="60"/>
                  </a:lnTo>
                  <a:lnTo>
                    <a:pt x="316" y="60"/>
                  </a:lnTo>
                  <a:lnTo>
                    <a:pt x="318" y="62"/>
                  </a:lnTo>
                  <a:lnTo>
                    <a:pt x="318" y="64"/>
                  </a:lnTo>
                  <a:lnTo>
                    <a:pt x="319" y="64"/>
                  </a:lnTo>
                  <a:lnTo>
                    <a:pt x="319" y="66"/>
                  </a:lnTo>
                  <a:lnTo>
                    <a:pt x="318" y="66"/>
                  </a:lnTo>
                  <a:lnTo>
                    <a:pt x="309" y="66"/>
                  </a:lnTo>
                  <a:lnTo>
                    <a:pt x="307" y="66"/>
                  </a:lnTo>
                  <a:lnTo>
                    <a:pt x="306" y="66"/>
                  </a:lnTo>
                  <a:lnTo>
                    <a:pt x="304" y="66"/>
                  </a:lnTo>
                  <a:lnTo>
                    <a:pt x="304" y="67"/>
                  </a:lnTo>
                  <a:lnTo>
                    <a:pt x="302" y="67"/>
                  </a:lnTo>
                  <a:lnTo>
                    <a:pt x="299" y="69"/>
                  </a:lnTo>
                  <a:lnTo>
                    <a:pt x="297" y="71"/>
                  </a:lnTo>
                  <a:lnTo>
                    <a:pt x="295" y="72"/>
                  </a:lnTo>
                  <a:lnTo>
                    <a:pt x="292" y="76"/>
                  </a:lnTo>
                  <a:lnTo>
                    <a:pt x="290" y="76"/>
                  </a:lnTo>
                  <a:lnTo>
                    <a:pt x="288" y="78"/>
                  </a:lnTo>
                  <a:lnTo>
                    <a:pt x="288" y="79"/>
                  </a:lnTo>
                  <a:lnTo>
                    <a:pt x="280" y="85"/>
                  </a:lnTo>
                  <a:lnTo>
                    <a:pt x="278" y="86"/>
                  </a:lnTo>
                  <a:lnTo>
                    <a:pt x="275" y="88"/>
                  </a:lnTo>
                  <a:lnTo>
                    <a:pt x="271" y="91"/>
                  </a:lnTo>
                  <a:lnTo>
                    <a:pt x="266" y="97"/>
                  </a:lnTo>
                  <a:lnTo>
                    <a:pt x="264" y="97"/>
                  </a:lnTo>
                  <a:lnTo>
                    <a:pt x="263" y="98"/>
                  </a:lnTo>
                  <a:lnTo>
                    <a:pt x="259" y="100"/>
                  </a:lnTo>
                  <a:lnTo>
                    <a:pt x="259" y="102"/>
                  </a:lnTo>
                  <a:lnTo>
                    <a:pt x="256" y="103"/>
                  </a:lnTo>
                  <a:lnTo>
                    <a:pt x="254" y="105"/>
                  </a:lnTo>
                  <a:lnTo>
                    <a:pt x="252" y="107"/>
                  </a:lnTo>
                  <a:lnTo>
                    <a:pt x="247" y="112"/>
                  </a:lnTo>
                  <a:lnTo>
                    <a:pt x="245" y="112"/>
                  </a:lnTo>
                  <a:lnTo>
                    <a:pt x="239" y="115"/>
                  </a:lnTo>
                  <a:lnTo>
                    <a:pt x="237" y="119"/>
                  </a:lnTo>
                  <a:lnTo>
                    <a:pt x="235" y="121"/>
                  </a:lnTo>
                  <a:lnTo>
                    <a:pt x="232" y="124"/>
                  </a:lnTo>
                  <a:lnTo>
                    <a:pt x="228" y="126"/>
                  </a:lnTo>
                  <a:lnTo>
                    <a:pt x="227" y="128"/>
                  </a:lnTo>
                  <a:lnTo>
                    <a:pt x="225" y="128"/>
                  </a:lnTo>
                  <a:lnTo>
                    <a:pt x="220" y="131"/>
                  </a:lnTo>
                  <a:lnTo>
                    <a:pt x="215" y="136"/>
                  </a:lnTo>
                  <a:lnTo>
                    <a:pt x="209" y="141"/>
                  </a:lnTo>
                  <a:lnTo>
                    <a:pt x="208" y="141"/>
                  </a:lnTo>
                  <a:lnTo>
                    <a:pt x="206" y="141"/>
                  </a:lnTo>
                  <a:lnTo>
                    <a:pt x="206" y="143"/>
                  </a:lnTo>
                  <a:lnTo>
                    <a:pt x="204" y="143"/>
                  </a:lnTo>
                  <a:lnTo>
                    <a:pt x="202" y="145"/>
                  </a:lnTo>
                  <a:lnTo>
                    <a:pt x="201" y="145"/>
                  </a:lnTo>
                  <a:lnTo>
                    <a:pt x="199" y="148"/>
                  </a:lnTo>
                  <a:lnTo>
                    <a:pt x="197" y="148"/>
                  </a:lnTo>
                  <a:lnTo>
                    <a:pt x="196" y="148"/>
                  </a:lnTo>
                  <a:lnTo>
                    <a:pt x="194" y="150"/>
                  </a:lnTo>
                  <a:lnTo>
                    <a:pt x="190" y="155"/>
                  </a:lnTo>
                  <a:lnTo>
                    <a:pt x="189" y="157"/>
                  </a:lnTo>
                  <a:lnTo>
                    <a:pt x="185" y="157"/>
                  </a:lnTo>
                  <a:lnTo>
                    <a:pt x="184" y="158"/>
                  </a:lnTo>
                  <a:lnTo>
                    <a:pt x="182" y="160"/>
                  </a:lnTo>
                  <a:lnTo>
                    <a:pt x="178" y="162"/>
                  </a:lnTo>
                  <a:lnTo>
                    <a:pt x="178" y="164"/>
                  </a:lnTo>
                  <a:lnTo>
                    <a:pt x="175" y="164"/>
                  </a:lnTo>
                  <a:lnTo>
                    <a:pt x="175" y="165"/>
                  </a:lnTo>
                  <a:lnTo>
                    <a:pt x="173" y="167"/>
                  </a:lnTo>
                  <a:lnTo>
                    <a:pt x="163" y="174"/>
                  </a:lnTo>
                  <a:lnTo>
                    <a:pt x="159" y="177"/>
                  </a:lnTo>
                  <a:lnTo>
                    <a:pt x="156" y="181"/>
                  </a:lnTo>
                  <a:lnTo>
                    <a:pt x="154" y="183"/>
                  </a:lnTo>
                  <a:lnTo>
                    <a:pt x="154" y="188"/>
                  </a:lnTo>
                  <a:lnTo>
                    <a:pt x="156" y="189"/>
                  </a:lnTo>
                  <a:lnTo>
                    <a:pt x="156" y="191"/>
                  </a:lnTo>
                  <a:lnTo>
                    <a:pt x="156" y="196"/>
                  </a:lnTo>
                  <a:lnTo>
                    <a:pt x="156" y="200"/>
                  </a:lnTo>
                  <a:lnTo>
                    <a:pt x="158" y="203"/>
                  </a:lnTo>
                  <a:lnTo>
                    <a:pt x="158" y="205"/>
                  </a:lnTo>
                  <a:lnTo>
                    <a:pt x="159" y="215"/>
                  </a:lnTo>
                  <a:lnTo>
                    <a:pt x="159" y="217"/>
                  </a:lnTo>
                  <a:lnTo>
                    <a:pt x="159" y="226"/>
                  </a:lnTo>
                  <a:lnTo>
                    <a:pt x="159" y="227"/>
                  </a:lnTo>
                  <a:lnTo>
                    <a:pt x="161" y="238"/>
                  </a:lnTo>
                  <a:lnTo>
                    <a:pt x="161" y="239"/>
                  </a:lnTo>
                  <a:lnTo>
                    <a:pt x="163" y="243"/>
                  </a:lnTo>
                  <a:lnTo>
                    <a:pt x="163" y="248"/>
                  </a:lnTo>
                  <a:lnTo>
                    <a:pt x="165" y="262"/>
                  </a:lnTo>
                  <a:lnTo>
                    <a:pt x="166" y="262"/>
                  </a:lnTo>
                  <a:lnTo>
                    <a:pt x="166" y="272"/>
                  </a:lnTo>
                  <a:lnTo>
                    <a:pt x="168" y="275"/>
                  </a:lnTo>
                  <a:lnTo>
                    <a:pt x="168" y="277"/>
                  </a:lnTo>
                  <a:lnTo>
                    <a:pt x="168" y="282"/>
                  </a:lnTo>
                  <a:lnTo>
                    <a:pt x="163" y="282"/>
                  </a:lnTo>
                  <a:lnTo>
                    <a:pt x="154" y="282"/>
                  </a:lnTo>
                  <a:lnTo>
                    <a:pt x="153" y="282"/>
                  </a:lnTo>
                  <a:lnTo>
                    <a:pt x="149" y="282"/>
                  </a:lnTo>
                  <a:lnTo>
                    <a:pt x="144" y="282"/>
                  </a:lnTo>
                  <a:lnTo>
                    <a:pt x="142" y="282"/>
                  </a:lnTo>
                  <a:lnTo>
                    <a:pt x="141" y="282"/>
                  </a:lnTo>
                  <a:lnTo>
                    <a:pt x="139" y="282"/>
                  </a:lnTo>
                  <a:lnTo>
                    <a:pt x="135" y="282"/>
                  </a:lnTo>
                  <a:lnTo>
                    <a:pt x="132" y="282"/>
                  </a:lnTo>
                  <a:lnTo>
                    <a:pt x="130" y="281"/>
                  </a:lnTo>
                  <a:lnTo>
                    <a:pt x="130" y="281"/>
                  </a:lnTo>
                  <a:lnTo>
                    <a:pt x="129" y="281"/>
                  </a:lnTo>
                  <a:lnTo>
                    <a:pt x="127" y="281"/>
                  </a:lnTo>
                  <a:lnTo>
                    <a:pt x="122" y="281"/>
                  </a:lnTo>
                  <a:lnTo>
                    <a:pt x="113" y="281"/>
                  </a:lnTo>
                  <a:lnTo>
                    <a:pt x="111" y="281"/>
                  </a:lnTo>
                  <a:lnTo>
                    <a:pt x="110" y="281"/>
                  </a:lnTo>
                  <a:lnTo>
                    <a:pt x="101" y="281"/>
                  </a:lnTo>
                  <a:lnTo>
                    <a:pt x="99" y="281"/>
                  </a:lnTo>
                  <a:lnTo>
                    <a:pt x="94" y="281"/>
                  </a:lnTo>
                  <a:lnTo>
                    <a:pt x="92" y="281"/>
                  </a:lnTo>
                  <a:lnTo>
                    <a:pt x="89" y="281"/>
                  </a:lnTo>
                  <a:lnTo>
                    <a:pt x="79" y="281"/>
                  </a:lnTo>
                  <a:lnTo>
                    <a:pt x="77" y="281"/>
                  </a:lnTo>
                  <a:lnTo>
                    <a:pt x="68" y="281"/>
                  </a:lnTo>
                  <a:lnTo>
                    <a:pt x="60" y="281"/>
                  </a:lnTo>
                  <a:lnTo>
                    <a:pt x="58" y="281"/>
                  </a:lnTo>
                  <a:lnTo>
                    <a:pt x="56" y="281"/>
                  </a:lnTo>
                  <a:lnTo>
                    <a:pt x="55" y="281"/>
                  </a:lnTo>
                  <a:lnTo>
                    <a:pt x="53" y="281"/>
                  </a:lnTo>
                  <a:lnTo>
                    <a:pt x="46" y="281"/>
                  </a:lnTo>
                  <a:lnTo>
                    <a:pt x="41" y="281"/>
                  </a:lnTo>
                  <a:lnTo>
                    <a:pt x="39" y="281"/>
                  </a:lnTo>
                  <a:lnTo>
                    <a:pt x="36" y="281"/>
                  </a:lnTo>
                  <a:lnTo>
                    <a:pt x="24" y="281"/>
                  </a:lnTo>
                  <a:lnTo>
                    <a:pt x="12" y="281"/>
                  </a:lnTo>
                  <a:lnTo>
                    <a:pt x="10" y="281"/>
                  </a:lnTo>
                  <a:lnTo>
                    <a:pt x="3" y="281"/>
                  </a:lnTo>
                  <a:lnTo>
                    <a:pt x="1" y="281"/>
                  </a:lnTo>
                  <a:lnTo>
                    <a:pt x="1" y="270"/>
                  </a:lnTo>
                  <a:lnTo>
                    <a:pt x="1" y="263"/>
                  </a:lnTo>
                  <a:lnTo>
                    <a:pt x="1" y="258"/>
                  </a:lnTo>
                  <a:lnTo>
                    <a:pt x="1" y="253"/>
                  </a:lnTo>
                  <a:lnTo>
                    <a:pt x="1" y="251"/>
                  </a:lnTo>
                  <a:lnTo>
                    <a:pt x="1" y="243"/>
                  </a:lnTo>
                  <a:lnTo>
                    <a:pt x="1" y="239"/>
                  </a:lnTo>
                  <a:lnTo>
                    <a:pt x="3" y="236"/>
                  </a:lnTo>
                  <a:lnTo>
                    <a:pt x="1" y="236"/>
                  </a:lnTo>
                  <a:lnTo>
                    <a:pt x="1" y="234"/>
                  </a:lnTo>
                  <a:lnTo>
                    <a:pt x="1" y="232"/>
                  </a:lnTo>
                  <a:lnTo>
                    <a:pt x="1" y="219"/>
                  </a:lnTo>
                  <a:lnTo>
                    <a:pt x="1" y="215"/>
                  </a:lnTo>
                  <a:lnTo>
                    <a:pt x="1" y="214"/>
                  </a:lnTo>
                  <a:lnTo>
                    <a:pt x="1" y="201"/>
                  </a:lnTo>
                  <a:lnTo>
                    <a:pt x="1" y="201"/>
                  </a:lnTo>
                  <a:lnTo>
                    <a:pt x="1" y="200"/>
                  </a:lnTo>
                  <a:lnTo>
                    <a:pt x="1" y="198"/>
                  </a:lnTo>
                  <a:lnTo>
                    <a:pt x="1" y="188"/>
                  </a:lnTo>
                  <a:lnTo>
                    <a:pt x="3" y="179"/>
                  </a:lnTo>
                  <a:lnTo>
                    <a:pt x="3" y="174"/>
                  </a:lnTo>
                  <a:lnTo>
                    <a:pt x="3" y="169"/>
                  </a:lnTo>
                  <a:lnTo>
                    <a:pt x="3" y="164"/>
                  </a:lnTo>
                  <a:lnTo>
                    <a:pt x="3" y="158"/>
                  </a:lnTo>
                  <a:lnTo>
                    <a:pt x="3" y="157"/>
                  </a:lnTo>
                  <a:lnTo>
                    <a:pt x="3" y="157"/>
                  </a:lnTo>
                  <a:lnTo>
                    <a:pt x="3" y="152"/>
                  </a:lnTo>
                  <a:lnTo>
                    <a:pt x="3" y="146"/>
                  </a:lnTo>
                  <a:lnTo>
                    <a:pt x="3" y="143"/>
                  </a:lnTo>
                  <a:lnTo>
                    <a:pt x="3" y="138"/>
                  </a:lnTo>
                  <a:lnTo>
                    <a:pt x="3" y="136"/>
                  </a:lnTo>
                  <a:lnTo>
                    <a:pt x="3" y="133"/>
                  </a:lnTo>
                  <a:lnTo>
                    <a:pt x="3" y="131"/>
                  </a:lnTo>
                  <a:lnTo>
                    <a:pt x="3" y="128"/>
                  </a:lnTo>
                  <a:lnTo>
                    <a:pt x="3" y="126"/>
                  </a:lnTo>
                  <a:lnTo>
                    <a:pt x="3" y="122"/>
                  </a:lnTo>
                  <a:lnTo>
                    <a:pt x="3" y="121"/>
                  </a:lnTo>
                  <a:lnTo>
                    <a:pt x="3" y="119"/>
                  </a:lnTo>
                  <a:lnTo>
                    <a:pt x="3" y="114"/>
                  </a:lnTo>
                  <a:lnTo>
                    <a:pt x="3" y="112"/>
                  </a:lnTo>
                  <a:lnTo>
                    <a:pt x="3" y="100"/>
                  </a:lnTo>
                  <a:lnTo>
                    <a:pt x="3" y="98"/>
                  </a:lnTo>
                  <a:lnTo>
                    <a:pt x="3" y="97"/>
                  </a:lnTo>
                  <a:lnTo>
                    <a:pt x="3" y="93"/>
                  </a:lnTo>
                  <a:lnTo>
                    <a:pt x="3" y="91"/>
                  </a:lnTo>
                  <a:lnTo>
                    <a:pt x="3" y="85"/>
                  </a:lnTo>
                  <a:lnTo>
                    <a:pt x="3" y="83"/>
                  </a:lnTo>
                  <a:lnTo>
                    <a:pt x="3" y="81"/>
                  </a:lnTo>
                  <a:lnTo>
                    <a:pt x="3" y="79"/>
                  </a:lnTo>
                  <a:lnTo>
                    <a:pt x="3" y="74"/>
                  </a:lnTo>
                  <a:lnTo>
                    <a:pt x="3" y="69"/>
                  </a:lnTo>
                  <a:lnTo>
                    <a:pt x="0" y="69"/>
                  </a:lnTo>
                  <a:lnTo>
                    <a:pt x="0" y="66"/>
                  </a:lnTo>
                  <a:lnTo>
                    <a:pt x="0" y="59"/>
                  </a:lnTo>
                  <a:lnTo>
                    <a:pt x="0" y="57"/>
                  </a:lnTo>
                  <a:lnTo>
                    <a:pt x="0" y="52"/>
                  </a:lnTo>
                  <a:lnTo>
                    <a:pt x="0" y="50"/>
                  </a:lnTo>
                  <a:lnTo>
                    <a:pt x="0" y="43"/>
                  </a:lnTo>
                  <a:lnTo>
                    <a:pt x="0" y="40"/>
                  </a:lnTo>
                  <a:lnTo>
                    <a:pt x="0" y="38"/>
                  </a:lnTo>
                  <a:lnTo>
                    <a:pt x="0" y="36"/>
                  </a:lnTo>
                  <a:lnTo>
                    <a:pt x="0" y="31"/>
                  </a:lnTo>
                  <a:lnTo>
                    <a:pt x="0" y="29"/>
                  </a:lnTo>
                  <a:lnTo>
                    <a:pt x="0" y="28"/>
                  </a:lnTo>
                  <a:lnTo>
                    <a:pt x="0" y="26"/>
                  </a:lnTo>
                  <a:lnTo>
                    <a:pt x="0" y="24"/>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2" name="Freeform 165"/>
            <p:cNvSpPr>
              <a:spLocks/>
            </p:cNvSpPr>
            <p:nvPr/>
          </p:nvSpPr>
          <p:spPr bwMode="auto">
            <a:xfrm>
              <a:off x="6587421" y="2106406"/>
              <a:ext cx="704850" cy="558800"/>
            </a:xfrm>
            <a:custGeom>
              <a:avLst/>
              <a:gdLst/>
              <a:ahLst/>
              <a:cxnLst>
                <a:cxn ang="0">
                  <a:pos x="9" y="182"/>
                </a:cxn>
                <a:cxn ang="0">
                  <a:pos x="5" y="149"/>
                </a:cxn>
                <a:cxn ang="0">
                  <a:pos x="0" y="122"/>
                </a:cxn>
                <a:cxn ang="0">
                  <a:pos x="21" y="98"/>
                </a:cxn>
                <a:cxn ang="0">
                  <a:pos x="36" y="89"/>
                </a:cxn>
                <a:cxn ang="0">
                  <a:pos x="50" y="77"/>
                </a:cxn>
                <a:cxn ang="0">
                  <a:pos x="71" y="62"/>
                </a:cxn>
                <a:cxn ang="0">
                  <a:pos x="91" y="46"/>
                </a:cxn>
                <a:cxn ang="0">
                  <a:pos x="109" y="32"/>
                </a:cxn>
                <a:cxn ang="0">
                  <a:pos x="134" y="13"/>
                </a:cxn>
                <a:cxn ang="0">
                  <a:pos x="148" y="1"/>
                </a:cxn>
                <a:cxn ang="0">
                  <a:pos x="165" y="0"/>
                </a:cxn>
                <a:cxn ang="0">
                  <a:pos x="171" y="17"/>
                </a:cxn>
                <a:cxn ang="0">
                  <a:pos x="172" y="27"/>
                </a:cxn>
                <a:cxn ang="0">
                  <a:pos x="183" y="37"/>
                </a:cxn>
                <a:cxn ang="0">
                  <a:pos x="191" y="41"/>
                </a:cxn>
                <a:cxn ang="0">
                  <a:pos x="203" y="43"/>
                </a:cxn>
                <a:cxn ang="0">
                  <a:pos x="220" y="62"/>
                </a:cxn>
                <a:cxn ang="0">
                  <a:pos x="233" y="75"/>
                </a:cxn>
                <a:cxn ang="0">
                  <a:pos x="236" y="92"/>
                </a:cxn>
                <a:cxn ang="0">
                  <a:pos x="246" y="106"/>
                </a:cxn>
                <a:cxn ang="0">
                  <a:pos x="258" y="118"/>
                </a:cxn>
                <a:cxn ang="0">
                  <a:pos x="276" y="129"/>
                </a:cxn>
                <a:cxn ang="0">
                  <a:pos x="284" y="134"/>
                </a:cxn>
                <a:cxn ang="0">
                  <a:pos x="293" y="139"/>
                </a:cxn>
                <a:cxn ang="0">
                  <a:pos x="308" y="144"/>
                </a:cxn>
                <a:cxn ang="0">
                  <a:pos x="313" y="153"/>
                </a:cxn>
                <a:cxn ang="0">
                  <a:pos x="322" y="161"/>
                </a:cxn>
                <a:cxn ang="0">
                  <a:pos x="332" y="165"/>
                </a:cxn>
                <a:cxn ang="0">
                  <a:pos x="343" y="175"/>
                </a:cxn>
                <a:cxn ang="0">
                  <a:pos x="355" y="182"/>
                </a:cxn>
                <a:cxn ang="0">
                  <a:pos x="384" y="206"/>
                </a:cxn>
                <a:cxn ang="0">
                  <a:pos x="401" y="220"/>
                </a:cxn>
                <a:cxn ang="0">
                  <a:pos x="411" y="227"/>
                </a:cxn>
                <a:cxn ang="0">
                  <a:pos x="420" y="242"/>
                </a:cxn>
                <a:cxn ang="0">
                  <a:pos x="429" y="251"/>
                </a:cxn>
                <a:cxn ang="0">
                  <a:pos x="437" y="256"/>
                </a:cxn>
                <a:cxn ang="0">
                  <a:pos x="444" y="271"/>
                </a:cxn>
                <a:cxn ang="0">
                  <a:pos x="442" y="280"/>
                </a:cxn>
                <a:cxn ang="0">
                  <a:pos x="423" y="282"/>
                </a:cxn>
                <a:cxn ang="0">
                  <a:pos x="389" y="282"/>
                </a:cxn>
                <a:cxn ang="0">
                  <a:pos x="358" y="282"/>
                </a:cxn>
                <a:cxn ang="0">
                  <a:pos x="331" y="283"/>
                </a:cxn>
                <a:cxn ang="0">
                  <a:pos x="310" y="283"/>
                </a:cxn>
                <a:cxn ang="0">
                  <a:pos x="288" y="285"/>
                </a:cxn>
                <a:cxn ang="0">
                  <a:pos x="260" y="285"/>
                </a:cxn>
                <a:cxn ang="0">
                  <a:pos x="231" y="285"/>
                </a:cxn>
                <a:cxn ang="0">
                  <a:pos x="203" y="285"/>
                </a:cxn>
                <a:cxn ang="0">
                  <a:pos x="177" y="285"/>
                </a:cxn>
                <a:cxn ang="0">
                  <a:pos x="169" y="302"/>
                </a:cxn>
                <a:cxn ang="0">
                  <a:pos x="169" y="333"/>
                </a:cxn>
                <a:cxn ang="0">
                  <a:pos x="157" y="352"/>
                </a:cxn>
                <a:cxn ang="0">
                  <a:pos x="129" y="352"/>
                </a:cxn>
                <a:cxn ang="0">
                  <a:pos x="91" y="352"/>
                </a:cxn>
                <a:cxn ang="0">
                  <a:pos x="61" y="352"/>
                </a:cxn>
                <a:cxn ang="0">
                  <a:pos x="43" y="352"/>
                </a:cxn>
                <a:cxn ang="0">
                  <a:pos x="31" y="326"/>
                </a:cxn>
                <a:cxn ang="0">
                  <a:pos x="24" y="282"/>
                </a:cxn>
                <a:cxn ang="0">
                  <a:pos x="21" y="256"/>
                </a:cxn>
                <a:cxn ang="0">
                  <a:pos x="16" y="223"/>
                </a:cxn>
              </a:cxnLst>
              <a:rect l="0" t="0" r="r" b="b"/>
              <a:pathLst>
                <a:path w="444" h="352">
                  <a:moveTo>
                    <a:pt x="14" y="216"/>
                  </a:moveTo>
                  <a:lnTo>
                    <a:pt x="14" y="211"/>
                  </a:lnTo>
                  <a:lnTo>
                    <a:pt x="14" y="209"/>
                  </a:lnTo>
                  <a:lnTo>
                    <a:pt x="12" y="206"/>
                  </a:lnTo>
                  <a:lnTo>
                    <a:pt x="12" y="196"/>
                  </a:lnTo>
                  <a:lnTo>
                    <a:pt x="11" y="196"/>
                  </a:lnTo>
                  <a:lnTo>
                    <a:pt x="9" y="182"/>
                  </a:lnTo>
                  <a:lnTo>
                    <a:pt x="9" y="177"/>
                  </a:lnTo>
                  <a:lnTo>
                    <a:pt x="7" y="173"/>
                  </a:lnTo>
                  <a:lnTo>
                    <a:pt x="7" y="172"/>
                  </a:lnTo>
                  <a:lnTo>
                    <a:pt x="5" y="161"/>
                  </a:lnTo>
                  <a:lnTo>
                    <a:pt x="5" y="160"/>
                  </a:lnTo>
                  <a:lnTo>
                    <a:pt x="5" y="151"/>
                  </a:lnTo>
                  <a:lnTo>
                    <a:pt x="5" y="149"/>
                  </a:lnTo>
                  <a:lnTo>
                    <a:pt x="4" y="139"/>
                  </a:lnTo>
                  <a:lnTo>
                    <a:pt x="4" y="137"/>
                  </a:lnTo>
                  <a:lnTo>
                    <a:pt x="2" y="134"/>
                  </a:lnTo>
                  <a:lnTo>
                    <a:pt x="2" y="130"/>
                  </a:lnTo>
                  <a:lnTo>
                    <a:pt x="2" y="125"/>
                  </a:lnTo>
                  <a:lnTo>
                    <a:pt x="2" y="123"/>
                  </a:lnTo>
                  <a:lnTo>
                    <a:pt x="0" y="122"/>
                  </a:lnTo>
                  <a:lnTo>
                    <a:pt x="0" y="117"/>
                  </a:lnTo>
                  <a:lnTo>
                    <a:pt x="2" y="115"/>
                  </a:lnTo>
                  <a:lnTo>
                    <a:pt x="5" y="111"/>
                  </a:lnTo>
                  <a:lnTo>
                    <a:pt x="9" y="108"/>
                  </a:lnTo>
                  <a:lnTo>
                    <a:pt x="19" y="101"/>
                  </a:lnTo>
                  <a:lnTo>
                    <a:pt x="21" y="99"/>
                  </a:lnTo>
                  <a:lnTo>
                    <a:pt x="21" y="98"/>
                  </a:lnTo>
                  <a:lnTo>
                    <a:pt x="24" y="98"/>
                  </a:lnTo>
                  <a:lnTo>
                    <a:pt x="24" y="96"/>
                  </a:lnTo>
                  <a:lnTo>
                    <a:pt x="28" y="94"/>
                  </a:lnTo>
                  <a:lnTo>
                    <a:pt x="30" y="92"/>
                  </a:lnTo>
                  <a:lnTo>
                    <a:pt x="31" y="91"/>
                  </a:lnTo>
                  <a:lnTo>
                    <a:pt x="35" y="91"/>
                  </a:lnTo>
                  <a:lnTo>
                    <a:pt x="36" y="89"/>
                  </a:lnTo>
                  <a:lnTo>
                    <a:pt x="40" y="84"/>
                  </a:lnTo>
                  <a:lnTo>
                    <a:pt x="42" y="82"/>
                  </a:lnTo>
                  <a:lnTo>
                    <a:pt x="43" y="82"/>
                  </a:lnTo>
                  <a:lnTo>
                    <a:pt x="45" y="82"/>
                  </a:lnTo>
                  <a:lnTo>
                    <a:pt x="47" y="79"/>
                  </a:lnTo>
                  <a:lnTo>
                    <a:pt x="48" y="79"/>
                  </a:lnTo>
                  <a:lnTo>
                    <a:pt x="50" y="77"/>
                  </a:lnTo>
                  <a:lnTo>
                    <a:pt x="52" y="77"/>
                  </a:lnTo>
                  <a:lnTo>
                    <a:pt x="52" y="75"/>
                  </a:lnTo>
                  <a:lnTo>
                    <a:pt x="54" y="75"/>
                  </a:lnTo>
                  <a:lnTo>
                    <a:pt x="55" y="75"/>
                  </a:lnTo>
                  <a:lnTo>
                    <a:pt x="61" y="70"/>
                  </a:lnTo>
                  <a:lnTo>
                    <a:pt x="66" y="65"/>
                  </a:lnTo>
                  <a:lnTo>
                    <a:pt x="71" y="62"/>
                  </a:lnTo>
                  <a:lnTo>
                    <a:pt x="73" y="62"/>
                  </a:lnTo>
                  <a:lnTo>
                    <a:pt x="74" y="60"/>
                  </a:lnTo>
                  <a:lnTo>
                    <a:pt x="78" y="58"/>
                  </a:lnTo>
                  <a:lnTo>
                    <a:pt x="81" y="55"/>
                  </a:lnTo>
                  <a:lnTo>
                    <a:pt x="83" y="53"/>
                  </a:lnTo>
                  <a:lnTo>
                    <a:pt x="85" y="49"/>
                  </a:lnTo>
                  <a:lnTo>
                    <a:pt x="91" y="46"/>
                  </a:lnTo>
                  <a:lnTo>
                    <a:pt x="93" y="46"/>
                  </a:lnTo>
                  <a:lnTo>
                    <a:pt x="98" y="41"/>
                  </a:lnTo>
                  <a:lnTo>
                    <a:pt x="100" y="39"/>
                  </a:lnTo>
                  <a:lnTo>
                    <a:pt x="102" y="37"/>
                  </a:lnTo>
                  <a:lnTo>
                    <a:pt x="105" y="36"/>
                  </a:lnTo>
                  <a:lnTo>
                    <a:pt x="105" y="34"/>
                  </a:lnTo>
                  <a:lnTo>
                    <a:pt x="109" y="32"/>
                  </a:lnTo>
                  <a:lnTo>
                    <a:pt x="110" y="31"/>
                  </a:lnTo>
                  <a:lnTo>
                    <a:pt x="112" y="31"/>
                  </a:lnTo>
                  <a:lnTo>
                    <a:pt x="117" y="25"/>
                  </a:lnTo>
                  <a:lnTo>
                    <a:pt x="121" y="22"/>
                  </a:lnTo>
                  <a:lnTo>
                    <a:pt x="124" y="20"/>
                  </a:lnTo>
                  <a:lnTo>
                    <a:pt x="126" y="19"/>
                  </a:lnTo>
                  <a:lnTo>
                    <a:pt x="134" y="13"/>
                  </a:lnTo>
                  <a:lnTo>
                    <a:pt x="134" y="12"/>
                  </a:lnTo>
                  <a:lnTo>
                    <a:pt x="136" y="10"/>
                  </a:lnTo>
                  <a:lnTo>
                    <a:pt x="138" y="10"/>
                  </a:lnTo>
                  <a:lnTo>
                    <a:pt x="141" y="6"/>
                  </a:lnTo>
                  <a:lnTo>
                    <a:pt x="143" y="5"/>
                  </a:lnTo>
                  <a:lnTo>
                    <a:pt x="145" y="3"/>
                  </a:lnTo>
                  <a:lnTo>
                    <a:pt x="148" y="1"/>
                  </a:lnTo>
                  <a:lnTo>
                    <a:pt x="150" y="1"/>
                  </a:lnTo>
                  <a:lnTo>
                    <a:pt x="150" y="0"/>
                  </a:lnTo>
                  <a:lnTo>
                    <a:pt x="152" y="0"/>
                  </a:lnTo>
                  <a:lnTo>
                    <a:pt x="153" y="0"/>
                  </a:lnTo>
                  <a:lnTo>
                    <a:pt x="155" y="0"/>
                  </a:lnTo>
                  <a:lnTo>
                    <a:pt x="164" y="0"/>
                  </a:lnTo>
                  <a:lnTo>
                    <a:pt x="165" y="0"/>
                  </a:lnTo>
                  <a:lnTo>
                    <a:pt x="167" y="1"/>
                  </a:lnTo>
                  <a:lnTo>
                    <a:pt x="167" y="1"/>
                  </a:lnTo>
                  <a:lnTo>
                    <a:pt x="169" y="3"/>
                  </a:lnTo>
                  <a:lnTo>
                    <a:pt x="169" y="6"/>
                  </a:lnTo>
                  <a:lnTo>
                    <a:pt x="171" y="12"/>
                  </a:lnTo>
                  <a:lnTo>
                    <a:pt x="171" y="15"/>
                  </a:lnTo>
                  <a:lnTo>
                    <a:pt x="171" y="17"/>
                  </a:lnTo>
                  <a:lnTo>
                    <a:pt x="172" y="19"/>
                  </a:lnTo>
                  <a:lnTo>
                    <a:pt x="172" y="20"/>
                  </a:lnTo>
                  <a:lnTo>
                    <a:pt x="172" y="22"/>
                  </a:lnTo>
                  <a:lnTo>
                    <a:pt x="172" y="24"/>
                  </a:lnTo>
                  <a:lnTo>
                    <a:pt x="172" y="25"/>
                  </a:lnTo>
                  <a:lnTo>
                    <a:pt x="172" y="25"/>
                  </a:lnTo>
                  <a:lnTo>
                    <a:pt x="172" y="27"/>
                  </a:lnTo>
                  <a:lnTo>
                    <a:pt x="174" y="31"/>
                  </a:lnTo>
                  <a:lnTo>
                    <a:pt x="176" y="31"/>
                  </a:lnTo>
                  <a:lnTo>
                    <a:pt x="176" y="31"/>
                  </a:lnTo>
                  <a:lnTo>
                    <a:pt x="177" y="34"/>
                  </a:lnTo>
                  <a:lnTo>
                    <a:pt x="179" y="36"/>
                  </a:lnTo>
                  <a:lnTo>
                    <a:pt x="181" y="37"/>
                  </a:lnTo>
                  <a:lnTo>
                    <a:pt x="183" y="37"/>
                  </a:lnTo>
                  <a:lnTo>
                    <a:pt x="183" y="39"/>
                  </a:lnTo>
                  <a:lnTo>
                    <a:pt x="184" y="39"/>
                  </a:lnTo>
                  <a:lnTo>
                    <a:pt x="186" y="39"/>
                  </a:lnTo>
                  <a:lnTo>
                    <a:pt x="188" y="39"/>
                  </a:lnTo>
                  <a:lnTo>
                    <a:pt x="188" y="41"/>
                  </a:lnTo>
                  <a:lnTo>
                    <a:pt x="190" y="41"/>
                  </a:lnTo>
                  <a:lnTo>
                    <a:pt x="191" y="41"/>
                  </a:lnTo>
                  <a:lnTo>
                    <a:pt x="193" y="41"/>
                  </a:lnTo>
                  <a:lnTo>
                    <a:pt x="195" y="41"/>
                  </a:lnTo>
                  <a:lnTo>
                    <a:pt x="196" y="43"/>
                  </a:lnTo>
                  <a:lnTo>
                    <a:pt x="198" y="43"/>
                  </a:lnTo>
                  <a:lnTo>
                    <a:pt x="200" y="43"/>
                  </a:lnTo>
                  <a:lnTo>
                    <a:pt x="202" y="43"/>
                  </a:lnTo>
                  <a:lnTo>
                    <a:pt x="203" y="43"/>
                  </a:lnTo>
                  <a:lnTo>
                    <a:pt x="207" y="44"/>
                  </a:lnTo>
                  <a:lnTo>
                    <a:pt x="212" y="44"/>
                  </a:lnTo>
                  <a:lnTo>
                    <a:pt x="214" y="44"/>
                  </a:lnTo>
                  <a:lnTo>
                    <a:pt x="215" y="46"/>
                  </a:lnTo>
                  <a:lnTo>
                    <a:pt x="217" y="51"/>
                  </a:lnTo>
                  <a:lnTo>
                    <a:pt x="219" y="56"/>
                  </a:lnTo>
                  <a:lnTo>
                    <a:pt x="220" y="62"/>
                  </a:lnTo>
                  <a:lnTo>
                    <a:pt x="224" y="65"/>
                  </a:lnTo>
                  <a:lnTo>
                    <a:pt x="226" y="67"/>
                  </a:lnTo>
                  <a:lnTo>
                    <a:pt x="227" y="68"/>
                  </a:lnTo>
                  <a:lnTo>
                    <a:pt x="229" y="72"/>
                  </a:lnTo>
                  <a:lnTo>
                    <a:pt x="231" y="74"/>
                  </a:lnTo>
                  <a:lnTo>
                    <a:pt x="233" y="75"/>
                  </a:lnTo>
                  <a:lnTo>
                    <a:pt x="233" y="75"/>
                  </a:lnTo>
                  <a:lnTo>
                    <a:pt x="234" y="77"/>
                  </a:lnTo>
                  <a:lnTo>
                    <a:pt x="234" y="79"/>
                  </a:lnTo>
                  <a:lnTo>
                    <a:pt x="236" y="86"/>
                  </a:lnTo>
                  <a:lnTo>
                    <a:pt x="236" y="87"/>
                  </a:lnTo>
                  <a:lnTo>
                    <a:pt x="236" y="89"/>
                  </a:lnTo>
                  <a:lnTo>
                    <a:pt x="236" y="91"/>
                  </a:lnTo>
                  <a:lnTo>
                    <a:pt x="236" y="92"/>
                  </a:lnTo>
                  <a:lnTo>
                    <a:pt x="238" y="94"/>
                  </a:lnTo>
                  <a:lnTo>
                    <a:pt x="238" y="98"/>
                  </a:lnTo>
                  <a:lnTo>
                    <a:pt x="239" y="99"/>
                  </a:lnTo>
                  <a:lnTo>
                    <a:pt x="243" y="103"/>
                  </a:lnTo>
                  <a:lnTo>
                    <a:pt x="245" y="105"/>
                  </a:lnTo>
                  <a:lnTo>
                    <a:pt x="245" y="106"/>
                  </a:lnTo>
                  <a:lnTo>
                    <a:pt x="246" y="106"/>
                  </a:lnTo>
                  <a:lnTo>
                    <a:pt x="248" y="110"/>
                  </a:lnTo>
                  <a:lnTo>
                    <a:pt x="251" y="113"/>
                  </a:lnTo>
                  <a:lnTo>
                    <a:pt x="253" y="115"/>
                  </a:lnTo>
                  <a:lnTo>
                    <a:pt x="255" y="115"/>
                  </a:lnTo>
                  <a:lnTo>
                    <a:pt x="257" y="117"/>
                  </a:lnTo>
                  <a:lnTo>
                    <a:pt x="257" y="118"/>
                  </a:lnTo>
                  <a:lnTo>
                    <a:pt x="258" y="118"/>
                  </a:lnTo>
                  <a:lnTo>
                    <a:pt x="260" y="120"/>
                  </a:lnTo>
                  <a:lnTo>
                    <a:pt x="263" y="122"/>
                  </a:lnTo>
                  <a:lnTo>
                    <a:pt x="267" y="123"/>
                  </a:lnTo>
                  <a:lnTo>
                    <a:pt x="270" y="127"/>
                  </a:lnTo>
                  <a:lnTo>
                    <a:pt x="272" y="129"/>
                  </a:lnTo>
                  <a:lnTo>
                    <a:pt x="274" y="129"/>
                  </a:lnTo>
                  <a:lnTo>
                    <a:pt x="276" y="129"/>
                  </a:lnTo>
                  <a:lnTo>
                    <a:pt x="276" y="130"/>
                  </a:lnTo>
                  <a:lnTo>
                    <a:pt x="277" y="130"/>
                  </a:lnTo>
                  <a:lnTo>
                    <a:pt x="277" y="132"/>
                  </a:lnTo>
                  <a:lnTo>
                    <a:pt x="279" y="132"/>
                  </a:lnTo>
                  <a:lnTo>
                    <a:pt x="281" y="132"/>
                  </a:lnTo>
                  <a:lnTo>
                    <a:pt x="282" y="134"/>
                  </a:lnTo>
                  <a:lnTo>
                    <a:pt x="284" y="134"/>
                  </a:lnTo>
                  <a:lnTo>
                    <a:pt x="286" y="134"/>
                  </a:lnTo>
                  <a:lnTo>
                    <a:pt x="288" y="135"/>
                  </a:lnTo>
                  <a:lnTo>
                    <a:pt x="289" y="135"/>
                  </a:lnTo>
                  <a:lnTo>
                    <a:pt x="289" y="135"/>
                  </a:lnTo>
                  <a:lnTo>
                    <a:pt x="291" y="135"/>
                  </a:lnTo>
                  <a:lnTo>
                    <a:pt x="291" y="137"/>
                  </a:lnTo>
                  <a:lnTo>
                    <a:pt x="293" y="139"/>
                  </a:lnTo>
                  <a:lnTo>
                    <a:pt x="294" y="141"/>
                  </a:lnTo>
                  <a:lnTo>
                    <a:pt x="296" y="141"/>
                  </a:lnTo>
                  <a:lnTo>
                    <a:pt x="300" y="142"/>
                  </a:lnTo>
                  <a:lnTo>
                    <a:pt x="303" y="142"/>
                  </a:lnTo>
                  <a:lnTo>
                    <a:pt x="305" y="142"/>
                  </a:lnTo>
                  <a:lnTo>
                    <a:pt x="306" y="142"/>
                  </a:lnTo>
                  <a:lnTo>
                    <a:pt x="308" y="144"/>
                  </a:lnTo>
                  <a:lnTo>
                    <a:pt x="308" y="144"/>
                  </a:lnTo>
                  <a:lnTo>
                    <a:pt x="310" y="146"/>
                  </a:lnTo>
                  <a:lnTo>
                    <a:pt x="312" y="148"/>
                  </a:lnTo>
                  <a:lnTo>
                    <a:pt x="312" y="149"/>
                  </a:lnTo>
                  <a:lnTo>
                    <a:pt x="313" y="151"/>
                  </a:lnTo>
                  <a:lnTo>
                    <a:pt x="313" y="151"/>
                  </a:lnTo>
                  <a:lnTo>
                    <a:pt x="313" y="153"/>
                  </a:lnTo>
                  <a:lnTo>
                    <a:pt x="315" y="154"/>
                  </a:lnTo>
                  <a:lnTo>
                    <a:pt x="315" y="156"/>
                  </a:lnTo>
                  <a:lnTo>
                    <a:pt x="317" y="156"/>
                  </a:lnTo>
                  <a:lnTo>
                    <a:pt x="319" y="158"/>
                  </a:lnTo>
                  <a:lnTo>
                    <a:pt x="319" y="160"/>
                  </a:lnTo>
                  <a:lnTo>
                    <a:pt x="320" y="160"/>
                  </a:lnTo>
                  <a:lnTo>
                    <a:pt x="322" y="161"/>
                  </a:lnTo>
                  <a:lnTo>
                    <a:pt x="322" y="161"/>
                  </a:lnTo>
                  <a:lnTo>
                    <a:pt x="324" y="161"/>
                  </a:lnTo>
                  <a:lnTo>
                    <a:pt x="325" y="163"/>
                  </a:lnTo>
                  <a:lnTo>
                    <a:pt x="327" y="163"/>
                  </a:lnTo>
                  <a:lnTo>
                    <a:pt x="329" y="163"/>
                  </a:lnTo>
                  <a:lnTo>
                    <a:pt x="331" y="163"/>
                  </a:lnTo>
                  <a:lnTo>
                    <a:pt x="332" y="165"/>
                  </a:lnTo>
                  <a:lnTo>
                    <a:pt x="334" y="166"/>
                  </a:lnTo>
                  <a:lnTo>
                    <a:pt x="334" y="166"/>
                  </a:lnTo>
                  <a:lnTo>
                    <a:pt x="336" y="168"/>
                  </a:lnTo>
                  <a:lnTo>
                    <a:pt x="337" y="172"/>
                  </a:lnTo>
                  <a:lnTo>
                    <a:pt x="337" y="173"/>
                  </a:lnTo>
                  <a:lnTo>
                    <a:pt x="341" y="175"/>
                  </a:lnTo>
                  <a:lnTo>
                    <a:pt x="343" y="175"/>
                  </a:lnTo>
                  <a:lnTo>
                    <a:pt x="346" y="177"/>
                  </a:lnTo>
                  <a:lnTo>
                    <a:pt x="348" y="179"/>
                  </a:lnTo>
                  <a:lnTo>
                    <a:pt x="349" y="180"/>
                  </a:lnTo>
                  <a:lnTo>
                    <a:pt x="351" y="180"/>
                  </a:lnTo>
                  <a:lnTo>
                    <a:pt x="353" y="182"/>
                  </a:lnTo>
                  <a:lnTo>
                    <a:pt x="353" y="182"/>
                  </a:lnTo>
                  <a:lnTo>
                    <a:pt x="355" y="182"/>
                  </a:lnTo>
                  <a:lnTo>
                    <a:pt x="360" y="184"/>
                  </a:lnTo>
                  <a:lnTo>
                    <a:pt x="365" y="187"/>
                  </a:lnTo>
                  <a:lnTo>
                    <a:pt x="368" y="189"/>
                  </a:lnTo>
                  <a:lnTo>
                    <a:pt x="370" y="192"/>
                  </a:lnTo>
                  <a:lnTo>
                    <a:pt x="370" y="194"/>
                  </a:lnTo>
                  <a:lnTo>
                    <a:pt x="375" y="196"/>
                  </a:lnTo>
                  <a:lnTo>
                    <a:pt x="384" y="206"/>
                  </a:lnTo>
                  <a:lnTo>
                    <a:pt x="386" y="208"/>
                  </a:lnTo>
                  <a:lnTo>
                    <a:pt x="387" y="209"/>
                  </a:lnTo>
                  <a:lnTo>
                    <a:pt x="391" y="211"/>
                  </a:lnTo>
                  <a:lnTo>
                    <a:pt x="398" y="213"/>
                  </a:lnTo>
                  <a:lnTo>
                    <a:pt x="399" y="216"/>
                  </a:lnTo>
                  <a:lnTo>
                    <a:pt x="401" y="218"/>
                  </a:lnTo>
                  <a:lnTo>
                    <a:pt x="401" y="220"/>
                  </a:lnTo>
                  <a:lnTo>
                    <a:pt x="401" y="222"/>
                  </a:lnTo>
                  <a:lnTo>
                    <a:pt x="403" y="223"/>
                  </a:lnTo>
                  <a:lnTo>
                    <a:pt x="405" y="225"/>
                  </a:lnTo>
                  <a:lnTo>
                    <a:pt x="406" y="227"/>
                  </a:lnTo>
                  <a:lnTo>
                    <a:pt x="408" y="227"/>
                  </a:lnTo>
                  <a:lnTo>
                    <a:pt x="410" y="227"/>
                  </a:lnTo>
                  <a:lnTo>
                    <a:pt x="411" y="227"/>
                  </a:lnTo>
                  <a:lnTo>
                    <a:pt x="411" y="228"/>
                  </a:lnTo>
                  <a:lnTo>
                    <a:pt x="413" y="230"/>
                  </a:lnTo>
                  <a:lnTo>
                    <a:pt x="413" y="234"/>
                  </a:lnTo>
                  <a:lnTo>
                    <a:pt x="415" y="237"/>
                  </a:lnTo>
                  <a:lnTo>
                    <a:pt x="415" y="239"/>
                  </a:lnTo>
                  <a:lnTo>
                    <a:pt x="417" y="240"/>
                  </a:lnTo>
                  <a:lnTo>
                    <a:pt x="420" y="242"/>
                  </a:lnTo>
                  <a:lnTo>
                    <a:pt x="422" y="244"/>
                  </a:lnTo>
                  <a:lnTo>
                    <a:pt x="423" y="246"/>
                  </a:lnTo>
                  <a:lnTo>
                    <a:pt x="423" y="247"/>
                  </a:lnTo>
                  <a:lnTo>
                    <a:pt x="425" y="249"/>
                  </a:lnTo>
                  <a:lnTo>
                    <a:pt x="427" y="249"/>
                  </a:lnTo>
                  <a:lnTo>
                    <a:pt x="427" y="251"/>
                  </a:lnTo>
                  <a:lnTo>
                    <a:pt x="429" y="251"/>
                  </a:lnTo>
                  <a:lnTo>
                    <a:pt x="429" y="251"/>
                  </a:lnTo>
                  <a:lnTo>
                    <a:pt x="430" y="251"/>
                  </a:lnTo>
                  <a:lnTo>
                    <a:pt x="432" y="252"/>
                  </a:lnTo>
                  <a:lnTo>
                    <a:pt x="434" y="252"/>
                  </a:lnTo>
                  <a:lnTo>
                    <a:pt x="435" y="254"/>
                  </a:lnTo>
                  <a:lnTo>
                    <a:pt x="437" y="254"/>
                  </a:lnTo>
                  <a:lnTo>
                    <a:pt x="437" y="256"/>
                  </a:lnTo>
                  <a:lnTo>
                    <a:pt x="439" y="256"/>
                  </a:lnTo>
                  <a:lnTo>
                    <a:pt x="441" y="258"/>
                  </a:lnTo>
                  <a:lnTo>
                    <a:pt x="441" y="259"/>
                  </a:lnTo>
                  <a:lnTo>
                    <a:pt x="441" y="261"/>
                  </a:lnTo>
                  <a:lnTo>
                    <a:pt x="442" y="263"/>
                  </a:lnTo>
                  <a:lnTo>
                    <a:pt x="444" y="270"/>
                  </a:lnTo>
                  <a:lnTo>
                    <a:pt x="444" y="271"/>
                  </a:lnTo>
                  <a:lnTo>
                    <a:pt x="444" y="273"/>
                  </a:lnTo>
                  <a:lnTo>
                    <a:pt x="444" y="275"/>
                  </a:lnTo>
                  <a:lnTo>
                    <a:pt x="444" y="277"/>
                  </a:lnTo>
                  <a:lnTo>
                    <a:pt x="444" y="278"/>
                  </a:lnTo>
                  <a:lnTo>
                    <a:pt x="444" y="280"/>
                  </a:lnTo>
                  <a:lnTo>
                    <a:pt x="444" y="280"/>
                  </a:lnTo>
                  <a:lnTo>
                    <a:pt x="442" y="280"/>
                  </a:lnTo>
                  <a:lnTo>
                    <a:pt x="442" y="282"/>
                  </a:lnTo>
                  <a:lnTo>
                    <a:pt x="437" y="282"/>
                  </a:lnTo>
                  <a:lnTo>
                    <a:pt x="435" y="282"/>
                  </a:lnTo>
                  <a:lnTo>
                    <a:pt x="432" y="282"/>
                  </a:lnTo>
                  <a:lnTo>
                    <a:pt x="430" y="282"/>
                  </a:lnTo>
                  <a:lnTo>
                    <a:pt x="429" y="282"/>
                  </a:lnTo>
                  <a:lnTo>
                    <a:pt x="423" y="282"/>
                  </a:lnTo>
                  <a:lnTo>
                    <a:pt x="422" y="282"/>
                  </a:lnTo>
                  <a:lnTo>
                    <a:pt x="415" y="282"/>
                  </a:lnTo>
                  <a:lnTo>
                    <a:pt x="413" y="282"/>
                  </a:lnTo>
                  <a:lnTo>
                    <a:pt x="410" y="282"/>
                  </a:lnTo>
                  <a:lnTo>
                    <a:pt x="405" y="282"/>
                  </a:lnTo>
                  <a:lnTo>
                    <a:pt x="396" y="282"/>
                  </a:lnTo>
                  <a:lnTo>
                    <a:pt x="389" y="282"/>
                  </a:lnTo>
                  <a:lnTo>
                    <a:pt x="384" y="282"/>
                  </a:lnTo>
                  <a:lnTo>
                    <a:pt x="379" y="282"/>
                  </a:lnTo>
                  <a:lnTo>
                    <a:pt x="375" y="282"/>
                  </a:lnTo>
                  <a:lnTo>
                    <a:pt x="372" y="282"/>
                  </a:lnTo>
                  <a:lnTo>
                    <a:pt x="370" y="282"/>
                  </a:lnTo>
                  <a:lnTo>
                    <a:pt x="365" y="282"/>
                  </a:lnTo>
                  <a:lnTo>
                    <a:pt x="358" y="282"/>
                  </a:lnTo>
                  <a:lnTo>
                    <a:pt x="353" y="283"/>
                  </a:lnTo>
                  <a:lnTo>
                    <a:pt x="346" y="283"/>
                  </a:lnTo>
                  <a:lnTo>
                    <a:pt x="343" y="283"/>
                  </a:lnTo>
                  <a:lnTo>
                    <a:pt x="339" y="283"/>
                  </a:lnTo>
                  <a:lnTo>
                    <a:pt x="337" y="283"/>
                  </a:lnTo>
                  <a:lnTo>
                    <a:pt x="336" y="283"/>
                  </a:lnTo>
                  <a:lnTo>
                    <a:pt x="331" y="283"/>
                  </a:lnTo>
                  <a:lnTo>
                    <a:pt x="327" y="283"/>
                  </a:lnTo>
                  <a:lnTo>
                    <a:pt x="324" y="283"/>
                  </a:lnTo>
                  <a:lnTo>
                    <a:pt x="322" y="283"/>
                  </a:lnTo>
                  <a:lnTo>
                    <a:pt x="320" y="283"/>
                  </a:lnTo>
                  <a:lnTo>
                    <a:pt x="319" y="283"/>
                  </a:lnTo>
                  <a:lnTo>
                    <a:pt x="313" y="283"/>
                  </a:lnTo>
                  <a:lnTo>
                    <a:pt x="310" y="283"/>
                  </a:lnTo>
                  <a:lnTo>
                    <a:pt x="308" y="283"/>
                  </a:lnTo>
                  <a:lnTo>
                    <a:pt x="308" y="283"/>
                  </a:lnTo>
                  <a:lnTo>
                    <a:pt x="306" y="283"/>
                  </a:lnTo>
                  <a:lnTo>
                    <a:pt x="301" y="283"/>
                  </a:lnTo>
                  <a:lnTo>
                    <a:pt x="294" y="283"/>
                  </a:lnTo>
                  <a:lnTo>
                    <a:pt x="293" y="283"/>
                  </a:lnTo>
                  <a:lnTo>
                    <a:pt x="288" y="285"/>
                  </a:lnTo>
                  <a:lnTo>
                    <a:pt x="281" y="285"/>
                  </a:lnTo>
                  <a:lnTo>
                    <a:pt x="277" y="285"/>
                  </a:lnTo>
                  <a:lnTo>
                    <a:pt x="276" y="285"/>
                  </a:lnTo>
                  <a:lnTo>
                    <a:pt x="272" y="285"/>
                  </a:lnTo>
                  <a:lnTo>
                    <a:pt x="269" y="285"/>
                  </a:lnTo>
                  <a:lnTo>
                    <a:pt x="265" y="285"/>
                  </a:lnTo>
                  <a:lnTo>
                    <a:pt x="260" y="285"/>
                  </a:lnTo>
                  <a:lnTo>
                    <a:pt x="255" y="285"/>
                  </a:lnTo>
                  <a:lnTo>
                    <a:pt x="248" y="285"/>
                  </a:lnTo>
                  <a:lnTo>
                    <a:pt x="245" y="285"/>
                  </a:lnTo>
                  <a:lnTo>
                    <a:pt x="239" y="285"/>
                  </a:lnTo>
                  <a:lnTo>
                    <a:pt x="238" y="285"/>
                  </a:lnTo>
                  <a:lnTo>
                    <a:pt x="234" y="285"/>
                  </a:lnTo>
                  <a:lnTo>
                    <a:pt x="231" y="285"/>
                  </a:lnTo>
                  <a:lnTo>
                    <a:pt x="229" y="285"/>
                  </a:lnTo>
                  <a:lnTo>
                    <a:pt x="227" y="285"/>
                  </a:lnTo>
                  <a:lnTo>
                    <a:pt x="217" y="285"/>
                  </a:lnTo>
                  <a:lnTo>
                    <a:pt x="215" y="285"/>
                  </a:lnTo>
                  <a:lnTo>
                    <a:pt x="214" y="285"/>
                  </a:lnTo>
                  <a:lnTo>
                    <a:pt x="208" y="285"/>
                  </a:lnTo>
                  <a:lnTo>
                    <a:pt x="203" y="285"/>
                  </a:lnTo>
                  <a:lnTo>
                    <a:pt x="202" y="285"/>
                  </a:lnTo>
                  <a:lnTo>
                    <a:pt x="200" y="285"/>
                  </a:lnTo>
                  <a:lnTo>
                    <a:pt x="196" y="285"/>
                  </a:lnTo>
                  <a:lnTo>
                    <a:pt x="193" y="285"/>
                  </a:lnTo>
                  <a:lnTo>
                    <a:pt x="188" y="285"/>
                  </a:lnTo>
                  <a:lnTo>
                    <a:pt x="188" y="285"/>
                  </a:lnTo>
                  <a:lnTo>
                    <a:pt x="177" y="285"/>
                  </a:lnTo>
                  <a:lnTo>
                    <a:pt x="176" y="285"/>
                  </a:lnTo>
                  <a:lnTo>
                    <a:pt x="174" y="285"/>
                  </a:lnTo>
                  <a:lnTo>
                    <a:pt x="169" y="285"/>
                  </a:lnTo>
                  <a:lnTo>
                    <a:pt x="169" y="292"/>
                  </a:lnTo>
                  <a:lnTo>
                    <a:pt x="169" y="295"/>
                  </a:lnTo>
                  <a:lnTo>
                    <a:pt x="169" y="302"/>
                  </a:lnTo>
                  <a:lnTo>
                    <a:pt x="169" y="302"/>
                  </a:lnTo>
                  <a:lnTo>
                    <a:pt x="169" y="306"/>
                  </a:lnTo>
                  <a:lnTo>
                    <a:pt x="169" y="314"/>
                  </a:lnTo>
                  <a:lnTo>
                    <a:pt x="169" y="316"/>
                  </a:lnTo>
                  <a:lnTo>
                    <a:pt x="169" y="318"/>
                  </a:lnTo>
                  <a:lnTo>
                    <a:pt x="169" y="330"/>
                  </a:lnTo>
                  <a:lnTo>
                    <a:pt x="169" y="332"/>
                  </a:lnTo>
                  <a:lnTo>
                    <a:pt x="169" y="333"/>
                  </a:lnTo>
                  <a:lnTo>
                    <a:pt x="169" y="335"/>
                  </a:lnTo>
                  <a:lnTo>
                    <a:pt x="169" y="342"/>
                  </a:lnTo>
                  <a:lnTo>
                    <a:pt x="169" y="347"/>
                  </a:lnTo>
                  <a:lnTo>
                    <a:pt x="169" y="352"/>
                  </a:lnTo>
                  <a:lnTo>
                    <a:pt x="162" y="352"/>
                  </a:lnTo>
                  <a:lnTo>
                    <a:pt x="159" y="352"/>
                  </a:lnTo>
                  <a:lnTo>
                    <a:pt x="157" y="352"/>
                  </a:lnTo>
                  <a:lnTo>
                    <a:pt x="147" y="352"/>
                  </a:lnTo>
                  <a:lnTo>
                    <a:pt x="141" y="352"/>
                  </a:lnTo>
                  <a:lnTo>
                    <a:pt x="140" y="352"/>
                  </a:lnTo>
                  <a:lnTo>
                    <a:pt x="138" y="352"/>
                  </a:lnTo>
                  <a:lnTo>
                    <a:pt x="136" y="352"/>
                  </a:lnTo>
                  <a:lnTo>
                    <a:pt x="134" y="352"/>
                  </a:lnTo>
                  <a:lnTo>
                    <a:pt x="129" y="352"/>
                  </a:lnTo>
                  <a:lnTo>
                    <a:pt x="126" y="352"/>
                  </a:lnTo>
                  <a:lnTo>
                    <a:pt x="124" y="352"/>
                  </a:lnTo>
                  <a:lnTo>
                    <a:pt x="121" y="352"/>
                  </a:lnTo>
                  <a:lnTo>
                    <a:pt x="112" y="352"/>
                  </a:lnTo>
                  <a:lnTo>
                    <a:pt x="112" y="352"/>
                  </a:lnTo>
                  <a:lnTo>
                    <a:pt x="98" y="352"/>
                  </a:lnTo>
                  <a:lnTo>
                    <a:pt x="91" y="352"/>
                  </a:lnTo>
                  <a:lnTo>
                    <a:pt x="81" y="352"/>
                  </a:lnTo>
                  <a:lnTo>
                    <a:pt x="74" y="352"/>
                  </a:lnTo>
                  <a:lnTo>
                    <a:pt x="71" y="352"/>
                  </a:lnTo>
                  <a:lnTo>
                    <a:pt x="69" y="352"/>
                  </a:lnTo>
                  <a:lnTo>
                    <a:pt x="66" y="352"/>
                  </a:lnTo>
                  <a:lnTo>
                    <a:pt x="62" y="352"/>
                  </a:lnTo>
                  <a:lnTo>
                    <a:pt x="61" y="352"/>
                  </a:lnTo>
                  <a:lnTo>
                    <a:pt x="55" y="352"/>
                  </a:lnTo>
                  <a:lnTo>
                    <a:pt x="54" y="352"/>
                  </a:lnTo>
                  <a:lnTo>
                    <a:pt x="52" y="352"/>
                  </a:lnTo>
                  <a:lnTo>
                    <a:pt x="50" y="352"/>
                  </a:lnTo>
                  <a:lnTo>
                    <a:pt x="47" y="352"/>
                  </a:lnTo>
                  <a:lnTo>
                    <a:pt x="45" y="352"/>
                  </a:lnTo>
                  <a:lnTo>
                    <a:pt x="43" y="352"/>
                  </a:lnTo>
                  <a:lnTo>
                    <a:pt x="36" y="352"/>
                  </a:lnTo>
                  <a:lnTo>
                    <a:pt x="36" y="352"/>
                  </a:lnTo>
                  <a:lnTo>
                    <a:pt x="35" y="352"/>
                  </a:lnTo>
                  <a:lnTo>
                    <a:pt x="35" y="345"/>
                  </a:lnTo>
                  <a:lnTo>
                    <a:pt x="33" y="340"/>
                  </a:lnTo>
                  <a:lnTo>
                    <a:pt x="31" y="330"/>
                  </a:lnTo>
                  <a:lnTo>
                    <a:pt x="31" y="326"/>
                  </a:lnTo>
                  <a:lnTo>
                    <a:pt x="30" y="318"/>
                  </a:lnTo>
                  <a:lnTo>
                    <a:pt x="30" y="314"/>
                  </a:lnTo>
                  <a:lnTo>
                    <a:pt x="28" y="304"/>
                  </a:lnTo>
                  <a:lnTo>
                    <a:pt x="28" y="302"/>
                  </a:lnTo>
                  <a:lnTo>
                    <a:pt x="28" y="302"/>
                  </a:lnTo>
                  <a:lnTo>
                    <a:pt x="24" y="285"/>
                  </a:lnTo>
                  <a:lnTo>
                    <a:pt x="24" y="282"/>
                  </a:lnTo>
                  <a:lnTo>
                    <a:pt x="23" y="271"/>
                  </a:lnTo>
                  <a:lnTo>
                    <a:pt x="23" y="270"/>
                  </a:lnTo>
                  <a:lnTo>
                    <a:pt x="21" y="270"/>
                  </a:lnTo>
                  <a:lnTo>
                    <a:pt x="21" y="268"/>
                  </a:lnTo>
                  <a:lnTo>
                    <a:pt x="21" y="263"/>
                  </a:lnTo>
                  <a:lnTo>
                    <a:pt x="21" y="261"/>
                  </a:lnTo>
                  <a:lnTo>
                    <a:pt x="21" y="256"/>
                  </a:lnTo>
                  <a:lnTo>
                    <a:pt x="21" y="251"/>
                  </a:lnTo>
                  <a:lnTo>
                    <a:pt x="19" y="242"/>
                  </a:lnTo>
                  <a:lnTo>
                    <a:pt x="19" y="240"/>
                  </a:lnTo>
                  <a:lnTo>
                    <a:pt x="18" y="232"/>
                  </a:lnTo>
                  <a:lnTo>
                    <a:pt x="18" y="230"/>
                  </a:lnTo>
                  <a:lnTo>
                    <a:pt x="18" y="227"/>
                  </a:lnTo>
                  <a:lnTo>
                    <a:pt x="16" y="223"/>
                  </a:lnTo>
                  <a:lnTo>
                    <a:pt x="14" y="216"/>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3" name="Freeform 166"/>
            <p:cNvSpPr>
              <a:spLocks/>
            </p:cNvSpPr>
            <p:nvPr/>
          </p:nvSpPr>
          <p:spPr bwMode="auto">
            <a:xfrm>
              <a:off x="5407909" y="2107994"/>
              <a:ext cx="382588" cy="439738"/>
            </a:xfrm>
            <a:custGeom>
              <a:avLst/>
              <a:gdLst/>
              <a:ahLst/>
              <a:cxnLst>
                <a:cxn ang="0">
                  <a:pos x="241" y="18"/>
                </a:cxn>
                <a:cxn ang="0">
                  <a:pos x="239" y="43"/>
                </a:cxn>
                <a:cxn ang="0">
                  <a:pos x="239" y="76"/>
                </a:cxn>
                <a:cxn ang="0">
                  <a:pos x="239" y="91"/>
                </a:cxn>
                <a:cxn ang="0">
                  <a:pos x="238" y="121"/>
                </a:cxn>
                <a:cxn ang="0">
                  <a:pos x="238" y="138"/>
                </a:cxn>
                <a:cxn ang="0">
                  <a:pos x="238" y="155"/>
                </a:cxn>
                <a:cxn ang="0">
                  <a:pos x="238" y="178"/>
                </a:cxn>
                <a:cxn ang="0">
                  <a:pos x="238" y="188"/>
                </a:cxn>
                <a:cxn ang="0">
                  <a:pos x="236" y="200"/>
                </a:cxn>
                <a:cxn ang="0">
                  <a:pos x="236" y="224"/>
                </a:cxn>
                <a:cxn ang="0">
                  <a:pos x="236" y="246"/>
                </a:cxn>
                <a:cxn ang="0">
                  <a:pos x="236" y="258"/>
                </a:cxn>
                <a:cxn ang="0">
                  <a:pos x="236" y="276"/>
                </a:cxn>
                <a:cxn ang="0">
                  <a:pos x="220" y="277"/>
                </a:cxn>
                <a:cxn ang="0">
                  <a:pos x="202" y="277"/>
                </a:cxn>
                <a:cxn ang="0">
                  <a:pos x="191" y="277"/>
                </a:cxn>
                <a:cxn ang="0">
                  <a:pos x="181" y="277"/>
                </a:cxn>
                <a:cxn ang="0">
                  <a:pos x="165" y="277"/>
                </a:cxn>
                <a:cxn ang="0">
                  <a:pos x="146" y="270"/>
                </a:cxn>
                <a:cxn ang="0">
                  <a:pos x="134" y="267"/>
                </a:cxn>
                <a:cxn ang="0">
                  <a:pos x="114" y="258"/>
                </a:cxn>
                <a:cxn ang="0">
                  <a:pos x="90" y="251"/>
                </a:cxn>
                <a:cxn ang="0">
                  <a:pos x="76" y="246"/>
                </a:cxn>
                <a:cxn ang="0">
                  <a:pos x="60" y="241"/>
                </a:cxn>
                <a:cxn ang="0">
                  <a:pos x="36" y="233"/>
                </a:cxn>
                <a:cxn ang="0">
                  <a:pos x="21" y="227"/>
                </a:cxn>
                <a:cxn ang="0">
                  <a:pos x="0" y="222"/>
                </a:cxn>
                <a:cxn ang="0">
                  <a:pos x="0" y="203"/>
                </a:cxn>
                <a:cxn ang="0">
                  <a:pos x="2" y="186"/>
                </a:cxn>
                <a:cxn ang="0">
                  <a:pos x="2" y="160"/>
                </a:cxn>
                <a:cxn ang="0">
                  <a:pos x="2" y="147"/>
                </a:cxn>
                <a:cxn ang="0">
                  <a:pos x="4" y="112"/>
                </a:cxn>
                <a:cxn ang="0">
                  <a:pos x="4" y="97"/>
                </a:cxn>
                <a:cxn ang="0">
                  <a:pos x="4" y="83"/>
                </a:cxn>
                <a:cxn ang="0">
                  <a:pos x="4" y="73"/>
                </a:cxn>
                <a:cxn ang="0">
                  <a:pos x="4" y="52"/>
                </a:cxn>
                <a:cxn ang="0">
                  <a:pos x="5" y="40"/>
                </a:cxn>
                <a:cxn ang="0">
                  <a:pos x="5" y="30"/>
                </a:cxn>
                <a:cxn ang="0">
                  <a:pos x="5" y="0"/>
                </a:cxn>
                <a:cxn ang="0">
                  <a:pos x="19" y="0"/>
                </a:cxn>
                <a:cxn ang="0">
                  <a:pos x="35" y="0"/>
                </a:cxn>
                <a:cxn ang="0">
                  <a:pos x="42" y="0"/>
                </a:cxn>
                <a:cxn ang="0">
                  <a:pos x="60" y="0"/>
                </a:cxn>
                <a:cxn ang="0">
                  <a:pos x="85" y="0"/>
                </a:cxn>
                <a:cxn ang="0">
                  <a:pos x="109" y="0"/>
                </a:cxn>
                <a:cxn ang="0">
                  <a:pos x="122" y="0"/>
                </a:cxn>
                <a:cxn ang="0">
                  <a:pos x="148" y="0"/>
                </a:cxn>
                <a:cxn ang="0">
                  <a:pos x="159" y="0"/>
                </a:cxn>
                <a:cxn ang="0">
                  <a:pos x="176" y="0"/>
                </a:cxn>
                <a:cxn ang="0">
                  <a:pos x="189" y="0"/>
                </a:cxn>
                <a:cxn ang="0">
                  <a:pos x="208" y="2"/>
                </a:cxn>
                <a:cxn ang="0">
                  <a:pos x="234" y="2"/>
                </a:cxn>
              </a:cxnLst>
              <a:rect l="0" t="0" r="r" b="b"/>
              <a:pathLst>
                <a:path w="241" h="277">
                  <a:moveTo>
                    <a:pt x="241" y="2"/>
                  </a:moveTo>
                  <a:lnTo>
                    <a:pt x="241" y="9"/>
                  </a:lnTo>
                  <a:lnTo>
                    <a:pt x="241" y="14"/>
                  </a:lnTo>
                  <a:lnTo>
                    <a:pt x="241" y="14"/>
                  </a:lnTo>
                  <a:lnTo>
                    <a:pt x="241" y="18"/>
                  </a:lnTo>
                  <a:lnTo>
                    <a:pt x="241" y="23"/>
                  </a:lnTo>
                  <a:lnTo>
                    <a:pt x="239" y="30"/>
                  </a:lnTo>
                  <a:lnTo>
                    <a:pt x="241" y="31"/>
                  </a:lnTo>
                  <a:lnTo>
                    <a:pt x="239" y="35"/>
                  </a:lnTo>
                  <a:lnTo>
                    <a:pt x="239" y="43"/>
                  </a:lnTo>
                  <a:lnTo>
                    <a:pt x="239" y="48"/>
                  </a:lnTo>
                  <a:lnTo>
                    <a:pt x="239" y="54"/>
                  </a:lnTo>
                  <a:lnTo>
                    <a:pt x="239" y="61"/>
                  </a:lnTo>
                  <a:lnTo>
                    <a:pt x="239" y="71"/>
                  </a:lnTo>
                  <a:lnTo>
                    <a:pt x="239" y="76"/>
                  </a:lnTo>
                  <a:lnTo>
                    <a:pt x="239" y="83"/>
                  </a:lnTo>
                  <a:lnTo>
                    <a:pt x="239" y="85"/>
                  </a:lnTo>
                  <a:lnTo>
                    <a:pt x="239" y="88"/>
                  </a:lnTo>
                  <a:lnTo>
                    <a:pt x="239" y="90"/>
                  </a:lnTo>
                  <a:lnTo>
                    <a:pt x="239" y="91"/>
                  </a:lnTo>
                  <a:lnTo>
                    <a:pt x="239" y="93"/>
                  </a:lnTo>
                  <a:lnTo>
                    <a:pt x="239" y="105"/>
                  </a:lnTo>
                  <a:lnTo>
                    <a:pt x="239" y="109"/>
                  </a:lnTo>
                  <a:lnTo>
                    <a:pt x="238" y="116"/>
                  </a:lnTo>
                  <a:lnTo>
                    <a:pt x="238" y="121"/>
                  </a:lnTo>
                  <a:lnTo>
                    <a:pt x="238" y="124"/>
                  </a:lnTo>
                  <a:lnTo>
                    <a:pt x="238" y="126"/>
                  </a:lnTo>
                  <a:lnTo>
                    <a:pt x="238" y="128"/>
                  </a:lnTo>
                  <a:lnTo>
                    <a:pt x="238" y="136"/>
                  </a:lnTo>
                  <a:lnTo>
                    <a:pt x="238" y="138"/>
                  </a:lnTo>
                  <a:lnTo>
                    <a:pt x="238" y="140"/>
                  </a:lnTo>
                  <a:lnTo>
                    <a:pt x="238" y="143"/>
                  </a:lnTo>
                  <a:lnTo>
                    <a:pt x="238" y="150"/>
                  </a:lnTo>
                  <a:lnTo>
                    <a:pt x="238" y="152"/>
                  </a:lnTo>
                  <a:lnTo>
                    <a:pt x="238" y="155"/>
                  </a:lnTo>
                  <a:lnTo>
                    <a:pt x="238" y="165"/>
                  </a:lnTo>
                  <a:lnTo>
                    <a:pt x="238" y="169"/>
                  </a:lnTo>
                  <a:lnTo>
                    <a:pt x="238" y="171"/>
                  </a:lnTo>
                  <a:lnTo>
                    <a:pt x="238" y="172"/>
                  </a:lnTo>
                  <a:lnTo>
                    <a:pt x="238" y="178"/>
                  </a:lnTo>
                  <a:lnTo>
                    <a:pt x="238" y="179"/>
                  </a:lnTo>
                  <a:lnTo>
                    <a:pt x="238" y="181"/>
                  </a:lnTo>
                  <a:lnTo>
                    <a:pt x="238" y="183"/>
                  </a:lnTo>
                  <a:lnTo>
                    <a:pt x="238" y="184"/>
                  </a:lnTo>
                  <a:lnTo>
                    <a:pt x="238" y="188"/>
                  </a:lnTo>
                  <a:lnTo>
                    <a:pt x="238" y="190"/>
                  </a:lnTo>
                  <a:lnTo>
                    <a:pt x="236" y="191"/>
                  </a:lnTo>
                  <a:lnTo>
                    <a:pt x="236" y="196"/>
                  </a:lnTo>
                  <a:lnTo>
                    <a:pt x="236" y="198"/>
                  </a:lnTo>
                  <a:lnTo>
                    <a:pt x="236" y="200"/>
                  </a:lnTo>
                  <a:lnTo>
                    <a:pt x="236" y="205"/>
                  </a:lnTo>
                  <a:lnTo>
                    <a:pt x="236" y="210"/>
                  </a:lnTo>
                  <a:lnTo>
                    <a:pt x="236" y="215"/>
                  </a:lnTo>
                  <a:lnTo>
                    <a:pt x="236" y="222"/>
                  </a:lnTo>
                  <a:lnTo>
                    <a:pt x="236" y="224"/>
                  </a:lnTo>
                  <a:lnTo>
                    <a:pt x="236" y="226"/>
                  </a:lnTo>
                  <a:lnTo>
                    <a:pt x="236" y="236"/>
                  </a:lnTo>
                  <a:lnTo>
                    <a:pt x="236" y="238"/>
                  </a:lnTo>
                  <a:lnTo>
                    <a:pt x="236" y="239"/>
                  </a:lnTo>
                  <a:lnTo>
                    <a:pt x="236" y="246"/>
                  </a:lnTo>
                  <a:lnTo>
                    <a:pt x="236" y="251"/>
                  </a:lnTo>
                  <a:lnTo>
                    <a:pt x="236" y="253"/>
                  </a:lnTo>
                  <a:lnTo>
                    <a:pt x="236" y="255"/>
                  </a:lnTo>
                  <a:lnTo>
                    <a:pt x="236" y="257"/>
                  </a:lnTo>
                  <a:lnTo>
                    <a:pt x="236" y="258"/>
                  </a:lnTo>
                  <a:lnTo>
                    <a:pt x="236" y="260"/>
                  </a:lnTo>
                  <a:lnTo>
                    <a:pt x="236" y="264"/>
                  </a:lnTo>
                  <a:lnTo>
                    <a:pt x="236" y="270"/>
                  </a:lnTo>
                  <a:lnTo>
                    <a:pt x="236" y="272"/>
                  </a:lnTo>
                  <a:lnTo>
                    <a:pt x="236" y="276"/>
                  </a:lnTo>
                  <a:lnTo>
                    <a:pt x="236" y="277"/>
                  </a:lnTo>
                  <a:lnTo>
                    <a:pt x="231" y="277"/>
                  </a:lnTo>
                  <a:lnTo>
                    <a:pt x="229" y="277"/>
                  </a:lnTo>
                  <a:lnTo>
                    <a:pt x="222" y="277"/>
                  </a:lnTo>
                  <a:lnTo>
                    <a:pt x="220" y="277"/>
                  </a:lnTo>
                  <a:lnTo>
                    <a:pt x="219" y="277"/>
                  </a:lnTo>
                  <a:lnTo>
                    <a:pt x="214" y="277"/>
                  </a:lnTo>
                  <a:lnTo>
                    <a:pt x="205" y="277"/>
                  </a:lnTo>
                  <a:lnTo>
                    <a:pt x="203" y="277"/>
                  </a:lnTo>
                  <a:lnTo>
                    <a:pt x="202" y="277"/>
                  </a:lnTo>
                  <a:lnTo>
                    <a:pt x="200" y="277"/>
                  </a:lnTo>
                  <a:lnTo>
                    <a:pt x="198" y="277"/>
                  </a:lnTo>
                  <a:lnTo>
                    <a:pt x="196" y="277"/>
                  </a:lnTo>
                  <a:lnTo>
                    <a:pt x="193" y="277"/>
                  </a:lnTo>
                  <a:lnTo>
                    <a:pt x="191" y="277"/>
                  </a:lnTo>
                  <a:lnTo>
                    <a:pt x="189" y="277"/>
                  </a:lnTo>
                  <a:lnTo>
                    <a:pt x="188" y="277"/>
                  </a:lnTo>
                  <a:lnTo>
                    <a:pt x="186" y="277"/>
                  </a:lnTo>
                  <a:lnTo>
                    <a:pt x="183" y="277"/>
                  </a:lnTo>
                  <a:lnTo>
                    <a:pt x="181" y="277"/>
                  </a:lnTo>
                  <a:lnTo>
                    <a:pt x="177" y="277"/>
                  </a:lnTo>
                  <a:lnTo>
                    <a:pt x="176" y="277"/>
                  </a:lnTo>
                  <a:lnTo>
                    <a:pt x="174" y="277"/>
                  </a:lnTo>
                  <a:lnTo>
                    <a:pt x="169" y="277"/>
                  </a:lnTo>
                  <a:lnTo>
                    <a:pt x="165" y="277"/>
                  </a:lnTo>
                  <a:lnTo>
                    <a:pt x="162" y="276"/>
                  </a:lnTo>
                  <a:lnTo>
                    <a:pt x="160" y="274"/>
                  </a:lnTo>
                  <a:lnTo>
                    <a:pt x="155" y="272"/>
                  </a:lnTo>
                  <a:lnTo>
                    <a:pt x="153" y="272"/>
                  </a:lnTo>
                  <a:lnTo>
                    <a:pt x="146" y="270"/>
                  </a:lnTo>
                  <a:lnTo>
                    <a:pt x="145" y="270"/>
                  </a:lnTo>
                  <a:lnTo>
                    <a:pt x="143" y="270"/>
                  </a:lnTo>
                  <a:lnTo>
                    <a:pt x="138" y="269"/>
                  </a:lnTo>
                  <a:lnTo>
                    <a:pt x="136" y="267"/>
                  </a:lnTo>
                  <a:lnTo>
                    <a:pt x="134" y="267"/>
                  </a:lnTo>
                  <a:lnTo>
                    <a:pt x="133" y="265"/>
                  </a:lnTo>
                  <a:lnTo>
                    <a:pt x="128" y="264"/>
                  </a:lnTo>
                  <a:lnTo>
                    <a:pt x="124" y="262"/>
                  </a:lnTo>
                  <a:lnTo>
                    <a:pt x="121" y="262"/>
                  </a:lnTo>
                  <a:lnTo>
                    <a:pt x="114" y="258"/>
                  </a:lnTo>
                  <a:lnTo>
                    <a:pt x="110" y="257"/>
                  </a:lnTo>
                  <a:lnTo>
                    <a:pt x="107" y="257"/>
                  </a:lnTo>
                  <a:lnTo>
                    <a:pt x="105" y="255"/>
                  </a:lnTo>
                  <a:lnTo>
                    <a:pt x="100" y="255"/>
                  </a:lnTo>
                  <a:lnTo>
                    <a:pt x="90" y="251"/>
                  </a:lnTo>
                  <a:lnTo>
                    <a:pt x="88" y="251"/>
                  </a:lnTo>
                  <a:lnTo>
                    <a:pt x="86" y="250"/>
                  </a:lnTo>
                  <a:lnTo>
                    <a:pt x="85" y="250"/>
                  </a:lnTo>
                  <a:lnTo>
                    <a:pt x="81" y="248"/>
                  </a:lnTo>
                  <a:lnTo>
                    <a:pt x="76" y="246"/>
                  </a:lnTo>
                  <a:lnTo>
                    <a:pt x="73" y="245"/>
                  </a:lnTo>
                  <a:lnTo>
                    <a:pt x="71" y="245"/>
                  </a:lnTo>
                  <a:lnTo>
                    <a:pt x="71" y="245"/>
                  </a:lnTo>
                  <a:lnTo>
                    <a:pt x="62" y="241"/>
                  </a:lnTo>
                  <a:lnTo>
                    <a:pt x="60" y="241"/>
                  </a:lnTo>
                  <a:lnTo>
                    <a:pt x="54" y="239"/>
                  </a:lnTo>
                  <a:lnTo>
                    <a:pt x="52" y="239"/>
                  </a:lnTo>
                  <a:lnTo>
                    <a:pt x="50" y="238"/>
                  </a:lnTo>
                  <a:lnTo>
                    <a:pt x="45" y="236"/>
                  </a:lnTo>
                  <a:lnTo>
                    <a:pt x="36" y="233"/>
                  </a:lnTo>
                  <a:lnTo>
                    <a:pt x="33" y="233"/>
                  </a:lnTo>
                  <a:lnTo>
                    <a:pt x="30" y="231"/>
                  </a:lnTo>
                  <a:lnTo>
                    <a:pt x="28" y="231"/>
                  </a:lnTo>
                  <a:lnTo>
                    <a:pt x="23" y="229"/>
                  </a:lnTo>
                  <a:lnTo>
                    <a:pt x="21" y="227"/>
                  </a:lnTo>
                  <a:lnTo>
                    <a:pt x="14" y="226"/>
                  </a:lnTo>
                  <a:lnTo>
                    <a:pt x="11" y="226"/>
                  </a:lnTo>
                  <a:lnTo>
                    <a:pt x="11" y="226"/>
                  </a:lnTo>
                  <a:lnTo>
                    <a:pt x="2" y="222"/>
                  </a:lnTo>
                  <a:lnTo>
                    <a:pt x="0" y="222"/>
                  </a:lnTo>
                  <a:lnTo>
                    <a:pt x="0" y="214"/>
                  </a:lnTo>
                  <a:lnTo>
                    <a:pt x="0" y="208"/>
                  </a:lnTo>
                  <a:lnTo>
                    <a:pt x="0" y="207"/>
                  </a:lnTo>
                  <a:lnTo>
                    <a:pt x="0" y="205"/>
                  </a:lnTo>
                  <a:lnTo>
                    <a:pt x="0" y="203"/>
                  </a:lnTo>
                  <a:lnTo>
                    <a:pt x="0" y="198"/>
                  </a:lnTo>
                  <a:lnTo>
                    <a:pt x="0" y="195"/>
                  </a:lnTo>
                  <a:lnTo>
                    <a:pt x="2" y="190"/>
                  </a:lnTo>
                  <a:lnTo>
                    <a:pt x="2" y="188"/>
                  </a:lnTo>
                  <a:lnTo>
                    <a:pt x="2" y="186"/>
                  </a:lnTo>
                  <a:lnTo>
                    <a:pt x="2" y="183"/>
                  </a:lnTo>
                  <a:lnTo>
                    <a:pt x="2" y="181"/>
                  </a:lnTo>
                  <a:lnTo>
                    <a:pt x="2" y="169"/>
                  </a:lnTo>
                  <a:lnTo>
                    <a:pt x="2" y="165"/>
                  </a:lnTo>
                  <a:lnTo>
                    <a:pt x="2" y="160"/>
                  </a:lnTo>
                  <a:lnTo>
                    <a:pt x="2" y="155"/>
                  </a:lnTo>
                  <a:lnTo>
                    <a:pt x="2" y="152"/>
                  </a:lnTo>
                  <a:lnTo>
                    <a:pt x="2" y="150"/>
                  </a:lnTo>
                  <a:lnTo>
                    <a:pt x="2" y="148"/>
                  </a:lnTo>
                  <a:lnTo>
                    <a:pt x="2" y="147"/>
                  </a:lnTo>
                  <a:lnTo>
                    <a:pt x="2" y="138"/>
                  </a:lnTo>
                  <a:lnTo>
                    <a:pt x="2" y="133"/>
                  </a:lnTo>
                  <a:lnTo>
                    <a:pt x="2" y="126"/>
                  </a:lnTo>
                  <a:lnTo>
                    <a:pt x="4" y="117"/>
                  </a:lnTo>
                  <a:lnTo>
                    <a:pt x="4" y="112"/>
                  </a:lnTo>
                  <a:lnTo>
                    <a:pt x="4" y="107"/>
                  </a:lnTo>
                  <a:lnTo>
                    <a:pt x="4" y="105"/>
                  </a:lnTo>
                  <a:lnTo>
                    <a:pt x="4" y="100"/>
                  </a:lnTo>
                  <a:lnTo>
                    <a:pt x="4" y="98"/>
                  </a:lnTo>
                  <a:lnTo>
                    <a:pt x="4" y="97"/>
                  </a:lnTo>
                  <a:lnTo>
                    <a:pt x="4" y="95"/>
                  </a:lnTo>
                  <a:lnTo>
                    <a:pt x="4" y="93"/>
                  </a:lnTo>
                  <a:lnTo>
                    <a:pt x="4" y="91"/>
                  </a:lnTo>
                  <a:lnTo>
                    <a:pt x="4" y="85"/>
                  </a:lnTo>
                  <a:lnTo>
                    <a:pt x="4" y="83"/>
                  </a:lnTo>
                  <a:lnTo>
                    <a:pt x="4" y="78"/>
                  </a:lnTo>
                  <a:lnTo>
                    <a:pt x="4" y="76"/>
                  </a:lnTo>
                  <a:lnTo>
                    <a:pt x="4" y="74"/>
                  </a:lnTo>
                  <a:lnTo>
                    <a:pt x="5" y="74"/>
                  </a:lnTo>
                  <a:lnTo>
                    <a:pt x="4" y="73"/>
                  </a:lnTo>
                  <a:lnTo>
                    <a:pt x="4" y="71"/>
                  </a:lnTo>
                  <a:lnTo>
                    <a:pt x="4" y="66"/>
                  </a:lnTo>
                  <a:lnTo>
                    <a:pt x="4" y="59"/>
                  </a:lnTo>
                  <a:lnTo>
                    <a:pt x="4" y="54"/>
                  </a:lnTo>
                  <a:lnTo>
                    <a:pt x="4" y="52"/>
                  </a:lnTo>
                  <a:lnTo>
                    <a:pt x="5" y="50"/>
                  </a:lnTo>
                  <a:lnTo>
                    <a:pt x="5" y="48"/>
                  </a:lnTo>
                  <a:lnTo>
                    <a:pt x="5" y="45"/>
                  </a:lnTo>
                  <a:lnTo>
                    <a:pt x="5" y="45"/>
                  </a:lnTo>
                  <a:lnTo>
                    <a:pt x="5" y="40"/>
                  </a:lnTo>
                  <a:lnTo>
                    <a:pt x="5" y="38"/>
                  </a:lnTo>
                  <a:lnTo>
                    <a:pt x="5" y="36"/>
                  </a:lnTo>
                  <a:lnTo>
                    <a:pt x="5" y="35"/>
                  </a:lnTo>
                  <a:lnTo>
                    <a:pt x="5" y="31"/>
                  </a:lnTo>
                  <a:lnTo>
                    <a:pt x="5" y="30"/>
                  </a:lnTo>
                  <a:lnTo>
                    <a:pt x="5" y="26"/>
                  </a:lnTo>
                  <a:lnTo>
                    <a:pt x="5" y="19"/>
                  </a:lnTo>
                  <a:lnTo>
                    <a:pt x="5" y="14"/>
                  </a:lnTo>
                  <a:lnTo>
                    <a:pt x="5" y="9"/>
                  </a:lnTo>
                  <a:lnTo>
                    <a:pt x="5" y="0"/>
                  </a:lnTo>
                  <a:lnTo>
                    <a:pt x="7" y="0"/>
                  </a:lnTo>
                  <a:lnTo>
                    <a:pt x="9" y="0"/>
                  </a:lnTo>
                  <a:lnTo>
                    <a:pt x="11" y="0"/>
                  </a:lnTo>
                  <a:lnTo>
                    <a:pt x="11" y="0"/>
                  </a:lnTo>
                  <a:lnTo>
                    <a:pt x="19" y="0"/>
                  </a:lnTo>
                  <a:lnTo>
                    <a:pt x="21" y="0"/>
                  </a:lnTo>
                  <a:lnTo>
                    <a:pt x="26" y="0"/>
                  </a:lnTo>
                  <a:lnTo>
                    <a:pt x="28" y="0"/>
                  </a:lnTo>
                  <a:lnTo>
                    <a:pt x="31" y="0"/>
                  </a:lnTo>
                  <a:lnTo>
                    <a:pt x="35" y="0"/>
                  </a:lnTo>
                  <a:lnTo>
                    <a:pt x="36" y="0"/>
                  </a:lnTo>
                  <a:lnTo>
                    <a:pt x="38" y="0"/>
                  </a:lnTo>
                  <a:lnTo>
                    <a:pt x="40" y="0"/>
                  </a:lnTo>
                  <a:lnTo>
                    <a:pt x="40" y="0"/>
                  </a:lnTo>
                  <a:lnTo>
                    <a:pt x="42" y="0"/>
                  </a:lnTo>
                  <a:lnTo>
                    <a:pt x="48" y="0"/>
                  </a:lnTo>
                  <a:lnTo>
                    <a:pt x="52" y="0"/>
                  </a:lnTo>
                  <a:lnTo>
                    <a:pt x="54" y="0"/>
                  </a:lnTo>
                  <a:lnTo>
                    <a:pt x="57" y="0"/>
                  </a:lnTo>
                  <a:lnTo>
                    <a:pt x="60" y="0"/>
                  </a:lnTo>
                  <a:lnTo>
                    <a:pt x="62" y="0"/>
                  </a:lnTo>
                  <a:lnTo>
                    <a:pt x="71" y="0"/>
                  </a:lnTo>
                  <a:lnTo>
                    <a:pt x="78" y="0"/>
                  </a:lnTo>
                  <a:lnTo>
                    <a:pt x="79" y="0"/>
                  </a:lnTo>
                  <a:lnTo>
                    <a:pt x="85" y="0"/>
                  </a:lnTo>
                  <a:lnTo>
                    <a:pt x="97" y="0"/>
                  </a:lnTo>
                  <a:lnTo>
                    <a:pt x="103" y="0"/>
                  </a:lnTo>
                  <a:lnTo>
                    <a:pt x="105" y="0"/>
                  </a:lnTo>
                  <a:lnTo>
                    <a:pt x="107" y="0"/>
                  </a:lnTo>
                  <a:lnTo>
                    <a:pt x="109" y="0"/>
                  </a:lnTo>
                  <a:lnTo>
                    <a:pt x="110" y="0"/>
                  </a:lnTo>
                  <a:lnTo>
                    <a:pt x="114" y="0"/>
                  </a:lnTo>
                  <a:lnTo>
                    <a:pt x="116" y="0"/>
                  </a:lnTo>
                  <a:lnTo>
                    <a:pt x="117" y="0"/>
                  </a:lnTo>
                  <a:lnTo>
                    <a:pt x="122" y="0"/>
                  </a:lnTo>
                  <a:lnTo>
                    <a:pt x="126" y="0"/>
                  </a:lnTo>
                  <a:lnTo>
                    <a:pt x="131" y="0"/>
                  </a:lnTo>
                  <a:lnTo>
                    <a:pt x="133" y="0"/>
                  </a:lnTo>
                  <a:lnTo>
                    <a:pt x="140" y="0"/>
                  </a:lnTo>
                  <a:lnTo>
                    <a:pt x="148" y="0"/>
                  </a:lnTo>
                  <a:lnTo>
                    <a:pt x="150" y="0"/>
                  </a:lnTo>
                  <a:lnTo>
                    <a:pt x="153" y="0"/>
                  </a:lnTo>
                  <a:lnTo>
                    <a:pt x="155" y="0"/>
                  </a:lnTo>
                  <a:lnTo>
                    <a:pt x="157" y="0"/>
                  </a:lnTo>
                  <a:lnTo>
                    <a:pt x="159" y="0"/>
                  </a:lnTo>
                  <a:lnTo>
                    <a:pt x="164" y="0"/>
                  </a:lnTo>
                  <a:lnTo>
                    <a:pt x="165" y="0"/>
                  </a:lnTo>
                  <a:lnTo>
                    <a:pt x="167" y="0"/>
                  </a:lnTo>
                  <a:lnTo>
                    <a:pt x="172" y="0"/>
                  </a:lnTo>
                  <a:lnTo>
                    <a:pt x="176" y="0"/>
                  </a:lnTo>
                  <a:lnTo>
                    <a:pt x="176" y="0"/>
                  </a:lnTo>
                  <a:lnTo>
                    <a:pt x="177" y="0"/>
                  </a:lnTo>
                  <a:lnTo>
                    <a:pt x="179" y="0"/>
                  </a:lnTo>
                  <a:lnTo>
                    <a:pt x="184" y="0"/>
                  </a:lnTo>
                  <a:lnTo>
                    <a:pt x="189" y="0"/>
                  </a:lnTo>
                  <a:lnTo>
                    <a:pt x="191" y="0"/>
                  </a:lnTo>
                  <a:lnTo>
                    <a:pt x="191" y="0"/>
                  </a:lnTo>
                  <a:lnTo>
                    <a:pt x="196" y="0"/>
                  </a:lnTo>
                  <a:lnTo>
                    <a:pt x="202" y="2"/>
                  </a:lnTo>
                  <a:lnTo>
                    <a:pt x="208" y="2"/>
                  </a:lnTo>
                  <a:lnTo>
                    <a:pt x="212" y="2"/>
                  </a:lnTo>
                  <a:lnTo>
                    <a:pt x="219" y="2"/>
                  </a:lnTo>
                  <a:lnTo>
                    <a:pt x="220" y="2"/>
                  </a:lnTo>
                  <a:lnTo>
                    <a:pt x="229" y="2"/>
                  </a:lnTo>
                  <a:lnTo>
                    <a:pt x="234" y="2"/>
                  </a:lnTo>
                  <a:lnTo>
                    <a:pt x="236" y="2"/>
                  </a:lnTo>
                  <a:lnTo>
                    <a:pt x="241" y="2"/>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4" name="Freeform 171"/>
            <p:cNvSpPr>
              <a:spLocks/>
            </p:cNvSpPr>
            <p:nvPr/>
          </p:nvSpPr>
          <p:spPr bwMode="auto">
            <a:xfrm>
              <a:off x="5782559" y="2425494"/>
              <a:ext cx="860425" cy="346075"/>
            </a:xfrm>
            <a:custGeom>
              <a:avLst/>
              <a:gdLst/>
              <a:ahLst/>
              <a:cxnLst>
                <a:cxn ang="0">
                  <a:pos x="34" y="2"/>
                </a:cxn>
                <a:cxn ang="0">
                  <a:pos x="65" y="2"/>
                </a:cxn>
                <a:cxn ang="0">
                  <a:pos x="88" y="3"/>
                </a:cxn>
                <a:cxn ang="0">
                  <a:pos x="115" y="3"/>
                </a:cxn>
                <a:cxn ang="0">
                  <a:pos x="150" y="5"/>
                </a:cxn>
                <a:cxn ang="0">
                  <a:pos x="181" y="5"/>
                </a:cxn>
                <a:cxn ang="0">
                  <a:pos x="196" y="5"/>
                </a:cxn>
                <a:cxn ang="0">
                  <a:pos x="217" y="5"/>
                </a:cxn>
                <a:cxn ang="0">
                  <a:pos x="249" y="5"/>
                </a:cxn>
                <a:cxn ang="0">
                  <a:pos x="280" y="5"/>
                </a:cxn>
                <a:cxn ang="0">
                  <a:pos x="310" y="5"/>
                </a:cxn>
                <a:cxn ang="0">
                  <a:pos x="342" y="3"/>
                </a:cxn>
                <a:cxn ang="0">
                  <a:pos x="363" y="14"/>
                </a:cxn>
                <a:cxn ang="0">
                  <a:pos x="406" y="14"/>
                </a:cxn>
                <a:cxn ang="0">
                  <a:pos x="432" y="14"/>
                </a:cxn>
                <a:cxn ang="0">
                  <a:pos x="464" y="14"/>
                </a:cxn>
                <a:cxn ang="0">
                  <a:pos x="485" y="15"/>
                </a:cxn>
                <a:cxn ang="0">
                  <a:pos x="506" y="15"/>
                </a:cxn>
                <a:cxn ang="0">
                  <a:pos x="525" y="31"/>
                </a:cxn>
                <a:cxn ang="0">
                  <a:pos x="528" y="67"/>
                </a:cxn>
                <a:cxn ang="0">
                  <a:pos x="535" y="101"/>
                </a:cxn>
                <a:cxn ang="0">
                  <a:pos x="542" y="144"/>
                </a:cxn>
                <a:cxn ang="0">
                  <a:pos x="511" y="150"/>
                </a:cxn>
                <a:cxn ang="0">
                  <a:pos x="485" y="150"/>
                </a:cxn>
                <a:cxn ang="0">
                  <a:pos x="454" y="150"/>
                </a:cxn>
                <a:cxn ang="0">
                  <a:pos x="432" y="150"/>
                </a:cxn>
                <a:cxn ang="0">
                  <a:pos x="409" y="162"/>
                </a:cxn>
                <a:cxn ang="0">
                  <a:pos x="408" y="187"/>
                </a:cxn>
                <a:cxn ang="0">
                  <a:pos x="408" y="211"/>
                </a:cxn>
                <a:cxn ang="0">
                  <a:pos x="397" y="218"/>
                </a:cxn>
                <a:cxn ang="0">
                  <a:pos x="373" y="218"/>
                </a:cxn>
                <a:cxn ang="0">
                  <a:pos x="359" y="218"/>
                </a:cxn>
                <a:cxn ang="0">
                  <a:pos x="342" y="218"/>
                </a:cxn>
                <a:cxn ang="0">
                  <a:pos x="332" y="218"/>
                </a:cxn>
                <a:cxn ang="0">
                  <a:pos x="306" y="218"/>
                </a:cxn>
                <a:cxn ang="0">
                  <a:pos x="265" y="218"/>
                </a:cxn>
                <a:cxn ang="0">
                  <a:pos x="242" y="218"/>
                </a:cxn>
                <a:cxn ang="0">
                  <a:pos x="206" y="218"/>
                </a:cxn>
                <a:cxn ang="0">
                  <a:pos x="189" y="218"/>
                </a:cxn>
                <a:cxn ang="0">
                  <a:pos x="170" y="218"/>
                </a:cxn>
                <a:cxn ang="0">
                  <a:pos x="150" y="217"/>
                </a:cxn>
                <a:cxn ang="0">
                  <a:pos x="122" y="217"/>
                </a:cxn>
                <a:cxn ang="0">
                  <a:pos x="122" y="186"/>
                </a:cxn>
                <a:cxn ang="0">
                  <a:pos x="124" y="158"/>
                </a:cxn>
                <a:cxn ang="0">
                  <a:pos x="124" y="144"/>
                </a:cxn>
                <a:cxn ang="0">
                  <a:pos x="124" y="127"/>
                </a:cxn>
                <a:cxn ang="0">
                  <a:pos x="124" y="101"/>
                </a:cxn>
                <a:cxn ang="0">
                  <a:pos x="108" y="82"/>
                </a:cxn>
                <a:cxn ang="0">
                  <a:pos x="86" y="81"/>
                </a:cxn>
                <a:cxn ang="0">
                  <a:pos x="60" y="81"/>
                </a:cxn>
                <a:cxn ang="0">
                  <a:pos x="48" y="81"/>
                </a:cxn>
                <a:cxn ang="0">
                  <a:pos x="24" y="79"/>
                </a:cxn>
                <a:cxn ang="0">
                  <a:pos x="0" y="77"/>
                </a:cxn>
                <a:cxn ang="0">
                  <a:pos x="0" y="57"/>
                </a:cxn>
                <a:cxn ang="0">
                  <a:pos x="0" y="36"/>
                </a:cxn>
                <a:cxn ang="0">
                  <a:pos x="0" y="0"/>
                </a:cxn>
              </a:cxnLst>
              <a:rect l="0" t="0" r="r" b="b"/>
              <a:pathLst>
                <a:path w="542" h="218">
                  <a:moveTo>
                    <a:pt x="0" y="0"/>
                  </a:moveTo>
                  <a:lnTo>
                    <a:pt x="9" y="0"/>
                  </a:lnTo>
                  <a:lnTo>
                    <a:pt x="19" y="0"/>
                  </a:lnTo>
                  <a:lnTo>
                    <a:pt x="26" y="0"/>
                  </a:lnTo>
                  <a:lnTo>
                    <a:pt x="31" y="2"/>
                  </a:lnTo>
                  <a:lnTo>
                    <a:pt x="33" y="2"/>
                  </a:lnTo>
                  <a:lnTo>
                    <a:pt x="34" y="2"/>
                  </a:lnTo>
                  <a:lnTo>
                    <a:pt x="36" y="2"/>
                  </a:lnTo>
                  <a:lnTo>
                    <a:pt x="38" y="2"/>
                  </a:lnTo>
                  <a:lnTo>
                    <a:pt x="39" y="2"/>
                  </a:lnTo>
                  <a:lnTo>
                    <a:pt x="41" y="2"/>
                  </a:lnTo>
                  <a:lnTo>
                    <a:pt x="50" y="2"/>
                  </a:lnTo>
                  <a:lnTo>
                    <a:pt x="64" y="2"/>
                  </a:lnTo>
                  <a:lnTo>
                    <a:pt x="65" y="2"/>
                  </a:lnTo>
                  <a:lnTo>
                    <a:pt x="70" y="3"/>
                  </a:lnTo>
                  <a:lnTo>
                    <a:pt x="76" y="3"/>
                  </a:lnTo>
                  <a:lnTo>
                    <a:pt x="76" y="3"/>
                  </a:lnTo>
                  <a:lnTo>
                    <a:pt x="77" y="3"/>
                  </a:lnTo>
                  <a:lnTo>
                    <a:pt x="79" y="3"/>
                  </a:lnTo>
                  <a:lnTo>
                    <a:pt x="81" y="3"/>
                  </a:lnTo>
                  <a:lnTo>
                    <a:pt x="88" y="3"/>
                  </a:lnTo>
                  <a:lnTo>
                    <a:pt x="91" y="3"/>
                  </a:lnTo>
                  <a:lnTo>
                    <a:pt x="93" y="3"/>
                  </a:lnTo>
                  <a:lnTo>
                    <a:pt x="98" y="3"/>
                  </a:lnTo>
                  <a:lnTo>
                    <a:pt x="101" y="3"/>
                  </a:lnTo>
                  <a:lnTo>
                    <a:pt x="103" y="3"/>
                  </a:lnTo>
                  <a:lnTo>
                    <a:pt x="112" y="3"/>
                  </a:lnTo>
                  <a:lnTo>
                    <a:pt x="115" y="3"/>
                  </a:lnTo>
                  <a:lnTo>
                    <a:pt x="125" y="5"/>
                  </a:lnTo>
                  <a:lnTo>
                    <a:pt x="129" y="5"/>
                  </a:lnTo>
                  <a:lnTo>
                    <a:pt x="132" y="5"/>
                  </a:lnTo>
                  <a:lnTo>
                    <a:pt x="134" y="5"/>
                  </a:lnTo>
                  <a:lnTo>
                    <a:pt x="136" y="5"/>
                  </a:lnTo>
                  <a:lnTo>
                    <a:pt x="138" y="5"/>
                  </a:lnTo>
                  <a:lnTo>
                    <a:pt x="150" y="5"/>
                  </a:lnTo>
                  <a:lnTo>
                    <a:pt x="153" y="5"/>
                  </a:lnTo>
                  <a:lnTo>
                    <a:pt x="158" y="5"/>
                  </a:lnTo>
                  <a:lnTo>
                    <a:pt x="160" y="5"/>
                  </a:lnTo>
                  <a:lnTo>
                    <a:pt x="170" y="5"/>
                  </a:lnTo>
                  <a:lnTo>
                    <a:pt x="172" y="5"/>
                  </a:lnTo>
                  <a:lnTo>
                    <a:pt x="179" y="5"/>
                  </a:lnTo>
                  <a:lnTo>
                    <a:pt x="181" y="5"/>
                  </a:lnTo>
                  <a:lnTo>
                    <a:pt x="182" y="5"/>
                  </a:lnTo>
                  <a:lnTo>
                    <a:pt x="186" y="5"/>
                  </a:lnTo>
                  <a:lnTo>
                    <a:pt x="189" y="5"/>
                  </a:lnTo>
                  <a:lnTo>
                    <a:pt x="191" y="5"/>
                  </a:lnTo>
                  <a:lnTo>
                    <a:pt x="193" y="5"/>
                  </a:lnTo>
                  <a:lnTo>
                    <a:pt x="194" y="5"/>
                  </a:lnTo>
                  <a:lnTo>
                    <a:pt x="196" y="5"/>
                  </a:lnTo>
                  <a:lnTo>
                    <a:pt x="203" y="5"/>
                  </a:lnTo>
                  <a:lnTo>
                    <a:pt x="205" y="5"/>
                  </a:lnTo>
                  <a:lnTo>
                    <a:pt x="206" y="5"/>
                  </a:lnTo>
                  <a:lnTo>
                    <a:pt x="208" y="5"/>
                  </a:lnTo>
                  <a:lnTo>
                    <a:pt x="210" y="5"/>
                  </a:lnTo>
                  <a:lnTo>
                    <a:pt x="215" y="5"/>
                  </a:lnTo>
                  <a:lnTo>
                    <a:pt x="217" y="5"/>
                  </a:lnTo>
                  <a:lnTo>
                    <a:pt x="227" y="5"/>
                  </a:lnTo>
                  <a:lnTo>
                    <a:pt x="230" y="5"/>
                  </a:lnTo>
                  <a:lnTo>
                    <a:pt x="239" y="5"/>
                  </a:lnTo>
                  <a:lnTo>
                    <a:pt x="242" y="5"/>
                  </a:lnTo>
                  <a:lnTo>
                    <a:pt x="242" y="5"/>
                  </a:lnTo>
                  <a:lnTo>
                    <a:pt x="248" y="5"/>
                  </a:lnTo>
                  <a:lnTo>
                    <a:pt x="249" y="5"/>
                  </a:lnTo>
                  <a:lnTo>
                    <a:pt x="251" y="5"/>
                  </a:lnTo>
                  <a:lnTo>
                    <a:pt x="260" y="5"/>
                  </a:lnTo>
                  <a:lnTo>
                    <a:pt x="261" y="5"/>
                  </a:lnTo>
                  <a:lnTo>
                    <a:pt x="263" y="5"/>
                  </a:lnTo>
                  <a:lnTo>
                    <a:pt x="267" y="5"/>
                  </a:lnTo>
                  <a:lnTo>
                    <a:pt x="272" y="5"/>
                  </a:lnTo>
                  <a:lnTo>
                    <a:pt x="280" y="5"/>
                  </a:lnTo>
                  <a:lnTo>
                    <a:pt x="287" y="5"/>
                  </a:lnTo>
                  <a:lnTo>
                    <a:pt x="291" y="5"/>
                  </a:lnTo>
                  <a:lnTo>
                    <a:pt x="296" y="5"/>
                  </a:lnTo>
                  <a:lnTo>
                    <a:pt x="297" y="5"/>
                  </a:lnTo>
                  <a:lnTo>
                    <a:pt x="299" y="5"/>
                  </a:lnTo>
                  <a:lnTo>
                    <a:pt x="306" y="5"/>
                  </a:lnTo>
                  <a:lnTo>
                    <a:pt x="310" y="5"/>
                  </a:lnTo>
                  <a:lnTo>
                    <a:pt x="323" y="3"/>
                  </a:lnTo>
                  <a:lnTo>
                    <a:pt x="332" y="3"/>
                  </a:lnTo>
                  <a:lnTo>
                    <a:pt x="332" y="3"/>
                  </a:lnTo>
                  <a:lnTo>
                    <a:pt x="335" y="3"/>
                  </a:lnTo>
                  <a:lnTo>
                    <a:pt x="339" y="3"/>
                  </a:lnTo>
                  <a:lnTo>
                    <a:pt x="340" y="3"/>
                  </a:lnTo>
                  <a:lnTo>
                    <a:pt x="342" y="3"/>
                  </a:lnTo>
                  <a:lnTo>
                    <a:pt x="344" y="3"/>
                  </a:lnTo>
                  <a:lnTo>
                    <a:pt x="346" y="3"/>
                  </a:lnTo>
                  <a:lnTo>
                    <a:pt x="351" y="3"/>
                  </a:lnTo>
                  <a:lnTo>
                    <a:pt x="354" y="3"/>
                  </a:lnTo>
                  <a:lnTo>
                    <a:pt x="354" y="14"/>
                  </a:lnTo>
                  <a:lnTo>
                    <a:pt x="356" y="14"/>
                  </a:lnTo>
                  <a:lnTo>
                    <a:pt x="363" y="14"/>
                  </a:lnTo>
                  <a:lnTo>
                    <a:pt x="365" y="14"/>
                  </a:lnTo>
                  <a:lnTo>
                    <a:pt x="377" y="14"/>
                  </a:lnTo>
                  <a:lnTo>
                    <a:pt x="389" y="14"/>
                  </a:lnTo>
                  <a:lnTo>
                    <a:pt x="392" y="14"/>
                  </a:lnTo>
                  <a:lnTo>
                    <a:pt x="394" y="14"/>
                  </a:lnTo>
                  <a:lnTo>
                    <a:pt x="399" y="14"/>
                  </a:lnTo>
                  <a:lnTo>
                    <a:pt x="406" y="14"/>
                  </a:lnTo>
                  <a:lnTo>
                    <a:pt x="408" y="14"/>
                  </a:lnTo>
                  <a:lnTo>
                    <a:pt x="409" y="14"/>
                  </a:lnTo>
                  <a:lnTo>
                    <a:pt x="411" y="14"/>
                  </a:lnTo>
                  <a:lnTo>
                    <a:pt x="413" y="14"/>
                  </a:lnTo>
                  <a:lnTo>
                    <a:pt x="421" y="14"/>
                  </a:lnTo>
                  <a:lnTo>
                    <a:pt x="430" y="14"/>
                  </a:lnTo>
                  <a:lnTo>
                    <a:pt x="432" y="14"/>
                  </a:lnTo>
                  <a:lnTo>
                    <a:pt x="442" y="14"/>
                  </a:lnTo>
                  <a:lnTo>
                    <a:pt x="445" y="14"/>
                  </a:lnTo>
                  <a:lnTo>
                    <a:pt x="447" y="14"/>
                  </a:lnTo>
                  <a:lnTo>
                    <a:pt x="452" y="14"/>
                  </a:lnTo>
                  <a:lnTo>
                    <a:pt x="454" y="14"/>
                  </a:lnTo>
                  <a:lnTo>
                    <a:pt x="463" y="14"/>
                  </a:lnTo>
                  <a:lnTo>
                    <a:pt x="464" y="14"/>
                  </a:lnTo>
                  <a:lnTo>
                    <a:pt x="466" y="14"/>
                  </a:lnTo>
                  <a:lnTo>
                    <a:pt x="475" y="14"/>
                  </a:lnTo>
                  <a:lnTo>
                    <a:pt x="480" y="14"/>
                  </a:lnTo>
                  <a:lnTo>
                    <a:pt x="482" y="14"/>
                  </a:lnTo>
                  <a:lnTo>
                    <a:pt x="483" y="14"/>
                  </a:lnTo>
                  <a:lnTo>
                    <a:pt x="483" y="14"/>
                  </a:lnTo>
                  <a:lnTo>
                    <a:pt x="485" y="15"/>
                  </a:lnTo>
                  <a:lnTo>
                    <a:pt x="488" y="15"/>
                  </a:lnTo>
                  <a:lnTo>
                    <a:pt x="492" y="15"/>
                  </a:lnTo>
                  <a:lnTo>
                    <a:pt x="494" y="15"/>
                  </a:lnTo>
                  <a:lnTo>
                    <a:pt x="495" y="15"/>
                  </a:lnTo>
                  <a:lnTo>
                    <a:pt x="497" y="15"/>
                  </a:lnTo>
                  <a:lnTo>
                    <a:pt x="502" y="15"/>
                  </a:lnTo>
                  <a:lnTo>
                    <a:pt x="506" y="15"/>
                  </a:lnTo>
                  <a:lnTo>
                    <a:pt x="507" y="15"/>
                  </a:lnTo>
                  <a:lnTo>
                    <a:pt x="516" y="15"/>
                  </a:lnTo>
                  <a:lnTo>
                    <a:pt x="521" y="15"/>
                  </a:lnTo>
                  <a:lnTo>
                    <a:pt x="523" y="22"/>
                  </a:lnTo>
                  <a:lnTo>
                    <a:pt x="525" y="26"/>
                  </a:lnTo>
                  <a:lnTo>
                    <a:pt x="525" y="29"/>
                  </a:lnTo>
                  <a:lnTo>
                    <a:pt x="525" y="31"/>
                  </a:lnTo>
                  <a:lnTo>
                    <a:pt x="526" y="39"/>
                  </a:lnTo>
                  <a:lnTo>
                    <a:pt x="526" y="41"/>
                  </a:lnTo>
                  <a:lnTo>
                    <a:pt x="528" y="50"/>
                  </a:lnTo>
                  <a:lnTo>
                    <a:pt x="528" y="55"/>
                  </a:lnTo>
                  <a:lnTo>
                    <a:pt x="528" y="60"/>
                  </a:lnTo>
                  <a:lnTo>
                    <a:pt x="528" y="62"/>
                  </a:lnTo>
                  <a:lnTo>
                    <a:pt x="528" y="67"/>
                  </a:lnTo>
                  <a:lnTo>
                    <a:pt x="528" y="69"/>
                  </a:lnTo>
                  <a:lnTo>
                    <a:pt x="530" y="69"/>
                  </a:lnTo>
                  <a:lnTo>
                    <a:pt x="530" y="70"/>
                  </a:lnTo>
                  <a:lnTo>
                    <a:pt x="531" y="81"/>
                  </a:lnTo>
                  <a:lnTo>
                    <a:pt x="531" y="84"/>
                  </a:lnTo>
                  <a:lnTo>
                    <a:pt x="535" y="101"/>
                  </a:lnTo>
                  <a:lnTo>
                    <a:pt x="535" y="101"/>
                  </a:lnTo>
                  <a:lnTo>
                    <a:pt x="535" y="103"/>
                  </a:lnTo>
                  <a:lnTo>
                    <a:pt x="537" y="113"/>
                  </a:lnTo>
                  <a:lnTo>
                    <a:pt x="537" y="117"/>
                  </a:lnTo>
                  <a:lnTo>
                    <a:pt x="538" y="125"/>
                  </a:lnTo>
                  <a:lnTo>
                    <a:pt x="538" y="129"/>
                  </a:lnTo>
                  <a:lnTo>
                    <a:pt x="540" y="139"/>
                  </a:lnTo>
                  <a:lnTo>
                    <a:pt x="542" y="144"/>
                  </a:lnTo>
                  <a:lnTo>
                    <a:pt x="542" y="151"/>
                  </a:lnTo>
                  <a:lnTo>
                    <a:pt x="535" y="151"/>
                  </a:lnTo>
                  <a:lnTo>
                    <a:pt x="533" y="151"/>
                  </a:lnTo>
                  <a:lnTo>
                    <a:pt x="531" y="151"/>
                  </a:lnTo>
                  <a:lnTo>
                    <a:pt x="516" y="150"/>
                  </a:lnTo>
                  <a:lnTo>
                    <a:pt x="512" y="150"/>
                  </a:lnTo>
                  <a:lnTo>
                    <a:pt x="511" y="150"/>
                  </a:lnTo>
                  <a:lnTo>
                    <a:pt x="509" y="150"/>
                  </a:lnTo>
                  <a:lnTo>
                    <a:pt x="507" y="150"/>
                  </a:lnTo>
                  <a:lnTo>
                    <a:pt x="506" y="150"/>
                  </a:lnTo>
                  <a:lnTo>
                    <a:pt x="504" y="150"/>
                  </a:lnTo>
                  <a:lnTo>
                    <a:pt x="497" y="150"/>
                  </a:lnTo>
                  <a:lnTo>
                    <a:pt x="487" y="150"/>
                  </a:lnTo>
                  <a:lnTo>
                    <a:pt x="485" y="150"/>
                  </a:lnTo>
                  <a:lnTo>
                    <a:pt x="482" y="150"/>
                  </a:lnTo>
                  <a:lnTo>
                    <a:pt x="475" y="150"/>
                  </a:lnTo>
                  <a:lnTo>
                    <a:pt x="471" y="150"/>
                  </a:lnTo>
                  <a:lnTo>
                    <a:pt x="469" y="150"/>
                  </a:lnTo>
                  <a:lnTo>
                    <a:pt x="468" y="150"/>
                  </a:lnTo>
                  <a:lnTo>
                    <a:pt x="464" y="150"/>
                  </a:lnTo>
                  <a:lnTo>
                    <a:pt x="454" y="150"/>
                  </a:lnTo>
                  <a:lnTo>
                    <a:pt x="452" y="150"/>
                  </a:lnTo>
                  <a:lnTo>
                    <a:pt x="452" y="150"/>
                  </a:lnTo>
                  <a:lnTo>
                    <a:pt x="449" y="150"/>
                  </a:lnTo>
                  <a:lnTo>
                    <a:pt x="447" y="150"/>
                  </a:lnTo>
                  <a:lnTo>
                    <a:pt x="442" y="150"/>
                  </a:lnTo>
                  <a:lnTo>
                    <a:pt x="437" y="150"/>
                  </a:lnTo>
                  <a:lnTo>
                    <a:pt x="432" y="150"/>
                  </a:lnTo>
                  <a:lnTo>
                    <a:pt x="426" y="150"/>
                  </a:lnTo>
                  <a:lnTo>
                    <a:pt x="421" y="150"/>
                  </a:lnTo>
                  <a:lnTo>
                    <a:pt x="420" y="150"/>
                  </a:lnTo>
                  <a:lnTo>
                    <a:pt x="413" y="150"/>
                  </a:lnTo>
                  <a:lnTo>
                    <a:pt x="409" y="150"/>
                  </a:lnTo>
                  <a:lnTo>
                    <a:pt x="409" y="151"/>
                  </a:lnTo>
                  <a:lnTo>
                    <a:pt x="409" y="162"/>
                  </a:lnTo>
                  <a:lnTo>
                    <a:pt x="408" y="165"/>
                  </a:lnTo>
                  <a:lnTo>
                    <a:pt x="408" y="167"/>
                  </a:lnTo>
                  <a:lnTo>
                    <a:pt x="408" y="174"/>
                  </a:lnTo>
                  <a:lnTo>
                    <a:pt x="408" y="181"/>
                  </a:lnTo>
                  <a:lnTo>
                    <a:pt x="408" y="182"/>
                  </a:lnTo>
                  <a:lnTo>
                    <a:pt x="408" y="184"/>
                  </a:lnTo>
                  <a:lnTo>
                    <a:pt x="408" y="187"/>
                  </a:lnTo>
                  <a:lnTo>
                    <a:pt x="408" y="189"/>
                  </a:lnTo>
                  <a:lnTo>
                    <a:pt x="408" y="199"/>
                  </a:lnTo>
                  <a:lnTo>
                    <a:pt x="408" y="203"/>
                  </a:lnTo>
                  <a:lnTo>
                    <a:pt x="408" y="206"/>
                  </a:lnTo>
                  <a:lnTo>
                    <a:pt x="408" y="206"/>
                  </a:lnTo>
                  <a:lnTo>
                    <a:pt x="408" y="208"/>
                  </a:lnTo>
                  <a:lnTo>
                    <a:pt x="408" y="211"/>
                  </a:lnTo>
                  <a:lnTo>
                    <a:pt x="408" y="218"/>
                  </a:lnTo>
                  <a:lnTo>
                    <a:pt x="406" y="218"/>
                  </a:lnTo>
                  <a:lnTo>
                    <a:pt x="404" y="218"/>
                  </a:lnTo>
                  <a:lnTo>
                    <a:pt x="402" y="218"/>
                  </a:lnTo>
                  <a:lnTo>
                    <a:pt x="401" y="218"/>
                  </a:lnTo>
                  <a:lnTo>
                    <a:pt x="399" y="218"/>
                  </a:lnTo>
                  <a:lnTo>
                    <a:pt x="397" y="218"/>
                  </a:lnTo>
                  <a:lnTo>
                    <a:pt x="394" y="218"/>
                  </a:lnTo>
                  <a:lnTo>
                    <a:pt x="392" y="218"/>
                  </a:lnTo>
                  <a:lnTo>
                    <a:pt x="387" y="218"/>
                  </a:lnTo>
                  <a:lnTo>
                    <a:pt x="385" y="218"/>
                  </a:lnTo>
                  <a:lnTo>
                    <a:pt x="383" y="218"/>
                  </a:lnTo>
                  <a:lnTo>
                    <a:pt x="378" y="218"/>
                  </a:lnTo>
                  <a:lnTo>
                    <a:pt x="373" y="218"/>
                  </a:lnTo>
                  <a:lnTo>
                    <a:pt x="368" y="218"/>
                  </a:lnTo>
                  <a:lnTo>
                    <a:pt x="366" y="218"/>
                  </a:lnTo>
                  <a:lnTo>
                    <a:pt x="365" y="218"/>
                  </a:lnTo>
                  <a:lnTo>
                    <a:pt x="363" y="218"/>
                  </a:lnTo>
                  <a:lnTo>
                    <a:pt x="363" y="218"/>
                  </a:lnTo>
                  <a:lnTo>
                    <a:pt x="361" y="218"/>
                  </a:lnTo>
                  <a:lnTo>
                    <a:pt x="359" y="218"/>
                  </a:lnTo>
                  <a:lnTo>
                    <a:pt x="358" y="218"/>
                  </a:lnTo>
                  <a:lnTo>
                    <a:pt x="356" y="218"/>
                  </a:lnTo>
                  <a:lnTo>
                    <a:pt x="354" y="218"/>
                  </a:lnTo>
                  <a:lnTo>
                    <a:pt x="351" y="218"/>
                  </a:lnTo>
                  <a:lnTo>
                    <a:pt x="347" y="218"/>
                  </a:lnTo>
                  <a:lnTo>
                    <a:pt x="344" y="218"/>
                  </a:lnTo>
                  <a:lnTo>
                    <a:pt x="342" y="218"/>
                  </a:lnTo>
                  <a:lnTo>
                    <a:pt x="340" y="218"/>
                  </a:lnTo>
                  <a:lnTo>
                    <a:pt x="339" y="218"/>
                  </a:lnTo>
                  <a:lnTo>
                    <a:pt x="337" y="218"/>
                  </a:lnTo>
                  <a:lnTo>
                    <a:pt x="335" y="218"/>
                  </a:lnTo>
                  <a:lnTo>
                    <a:pt x="334" y="218"/>
                  </a:lnTo>
                  <a:lnTo>
                    <a:pt x="332" y="218"/>
                  </a:lnTo>
                  <a:lnTo>
                    <a:pt x="332" y="218"/>
                  </a:lnTo>
                  <a:lnTo>
                    <a:pt x="330" y="218"/>
                  </a:lnTo>
                  <a:lnTo>
                    <a:pt x="328" y="218"/>
                  </a:lnTo>
                  <a:lnTo>
                    <a:pt x="323" y="218"/>
                  </a:lnTo>
                  <a:lnTo>
                    <a:pt x="322" y="218"/>
                  </a:lnTo>
                  <a:lnTo>
                    <a:pt x="320" y="218"/>
                  </a:lnTo>
                  <a:lnTo>
                    <a:pt x="313" y="218"/>
                  </a:lnTo>
                  <a:lnTo>
                    <a:pt x="306" y="218"/>
                  </a:lnTo>
                  <a:lnTo>
                    <a:pt x="301" y="218"/>
                  </a:lnTo>
                  <a:lnTo>
                    <a:pt x="287" y="218"/>
                  </a:lnTo>
                  <a:lnTo>
                    <a:pt x="287" y="218"/>
                  </a:lnTo>
                  <a:lnTo>
                    <a:pt x="282" y="218"/>
                  </a:lnTo>
                  <a:lnTo>
                    <a:pt x="279" y="218"/>
                  </a:lnTo>
                  <a:lnTo>
                    <a:pt x="272" y="218"/>
                  </a:lnTo>
                  <a:lnTo>
                    <a:pt x="265" y="218"/>
                  </a:lnTo>
                  <a:lnTo>
                    <a:pt x="263" y="218"/>
                  </a:lnTo>
                  <a:lnTo>
                    <a:pt x="260" y="218"/>
                  </a:lnTo>
                  <a:lnTo>
                    <a:pt x="256" y="218"/>
                  </a:lnTo>
                  <a:lnTo>
                    <a:pt x="251" y="218"/>
                  </a:lnTo>
                  <a:lnTo>
                    <a:pt x="249" y="218"/>
                  </a:lnTo>
                  <a:lnTo>
                    <a:pt x="248" y="218"/>
                  </a:lnTo>
                  <a:lnTo>
                    <a:pt x="242" y="218"/>
                  </a:lnTo>
                  <a:lnTo>
                    <a:pt x="241" y="218"/>
                  </a:lnTo>
                  <a:lnTo>
                    <a:pt x="234" y="218"/>
                  </a:lnTo>
                  <a:lnTo>
                    <a:pt x="230" y="218"/>
                  </a:lnTo>
                  <a:lnTo>
                    <a:pt x="227" y="218"/>
                  </a:lnTo>
                  <a:lnTo>
                    <a:pt x="211" y="218"/>
                  </a:lnTo>
                  <a:lnTo>
                    <a:pt x="210" y="218"/>
                  </a:lnTo>
                  <a:lnTo>
                    <a:pt x="206" y="218"/>
                  </a:lnTo>
                  <a:lnTo>
                    <a:pt x="203" y="218"/>
                  </a:lnTo>
                  <a:lnTo>
                    <a:pt x="201" y="218"/>
                  </a:lnTo>
                  <a:lnTo>
                    <a:pt x="196" y="218"/>
                  </a:lnTo>
                  <a:lnTo>
                    <a:pt x="194" y="218"/>
                  </a:lnTo>
                  <a:lnTo>
                    <a:pt x="193" y="218"/>
                  </a:lnTo>
                  <a:lnTo>
                    <a:pt x="191" y="218"/>
                  </a:lnTo>
                  <a:lnTo>
                    <a:pt x="189" y="218"/>
                  </a:lnTo>
                  <a:lnTo>
                    <a:pt x="187" y="218"/>
                  </a:lnTo>
                  <a:lnTo>
                    <a:pt x="184" y="218"/>
                  </a:lnTo>
                  <a:lnTo>
                    <a:pt x="182" y="218"/>
                  </a:lnTo>
                  <a:lnTo>
                    <a:pt x="181" y="218"/>
                  </a:lnTo>
                  <a:lnTo>
                    <a:pt x="179" y="218"/>
                  </a:lnTo>
                  <a:lnTo>
                    <a:pt x="177" y="218"/>
                  </a:lnTo>
                  <a:lnTo>
                    <a:pt x="170" y="218"/>
                  </a:lnTo>
                  <a:lnTo>
                    <a:pt x="168" y="218"/>
                  </a:lnTo>
                  <a:lnTo>
                    <a:pt x="167" y="218"/>
                  </a:lnTo>
                  <a:lnTo>
                    <a:pt x="160" y="218"/>
                  </a:lnTo>
                  <a:lnTo>
                    <a:pt x="158" y="218"/>
                  </a:lnTo>
                  <a:lnTo>
                    <a:pt x="155" y="218"/>
                  </a:lnTo>
                  <a:lnTo>
                    <a:pt x="151" y="218"/>
                  </a:lnTo>
                  <a:lnTo>
                    <a:pt x="150" y="217"/>
                  </a:lnTo>
                  <a:lnTo>
                    <a:pt x="146" y="217"/>
                  </a:lnTo>
                  <a:lnTo>
                    <a:pt x="143" y="217"/>
                  </a:lnTo>
                  <a:lnTo>
                    <a:pt x="138" y="217"/>
                  </a:lnTo>
                  <a:lnTo>
                    <a:pt x="136" y="217"/>
                  </a:lnTo>
                  <a:lnTo>
                    <a:pt x="134" y="217"/>
                  </a:lnTo>
                  <a:lnTo>
                    <a:pt x="132" y="217"/>
                  </a:lnTo>
                  <a:lnTo>
                    <a:pt x="122" y="217"/>
                  </a:lnTo>
                  <a:lnTo>
                    <a:pt x="122" y="213"/>
                  </a:lnTo>
                  <a:lnTo>
                    <a:pt x="122" y="211"/>
                  </a:lnTo>
                  <a:lnTo>
                    <a:pt x="122" y="208"/>
                  </a:lnTo>
                  <a:lnTo>
                    <a:pt x="122" y="203"/>
                  </a:lnTo>
                  <a:lnTo>
                    <a:pt x="122" y="199"/>
                  </a:lnTo>
                  <a:lnTo>
                    <a:pt x="122" y="194"/>
                  </a:lnTo>
                  <a:lnTo>
                    <a:pt x="122" y="186"/>
                  </a:lnTo>
                  <a:lnTo>
                    <a:pt x="122" y="181"/>
                  </a:lnTo>
                  <a:lnTo>
                    <a:pt x="122" y="175"/>
                  </a:lnTo>
                  <a:lnTo>
                    <a:pt x="122" y="170"/>
                  </a:lnTo>
                  <a:lnTo>
                    <a:pt x="122" y="168"/>
                  </a:lnTo>
                  <a:lnTo>
                    <a:pt x="122" y="167"/>
                  </a:lnTo>
                  <a:lnTo>
                    <a:pt x="122" y="165"/>
                  </a:lnTo>
                  <a:lnTo>
                    <a:pt x="124" y="158"/>
                  </a:lnTo>
                  <a:lnTo>
                    <a:pt x="124" y="155"/>
                  </a:lnTo>
                  <a:lnTo>
                    <a:pt x="124" y="151"/>
                  </a:lnTo>
                  <a:lnTo>
                    <a:pt x="124" y="150"/>
                  </a:lnTo>
                  <a:lnTo>
                    <a:pt x="124" y="148"/>
                  </a:lnTo>
                  <a:lnTo>
                    <a:pt x="124" y="146"/>
                  </a:lnTo>
                  <a:lnTo>
                    <a:pt x="124" y="146"/>
                  </a:lnTo>
                  <a:lnTo>
                    <a:pt x="124" y="144"/>
                  </a:lnTo>
                  <a:lnTo>
                    <a:pt x="124" y="141"/>
                  </a:lnTo>
                  <a:lnTo>
                    <a:pt x="124" y="137"/>
                  </a:lnTo>
                  <a:lnTo>
                    <a:pt x="124" y="136"/>
                  </a:lnTo>
                  <a:lnTo>
                    <a:pt x="124" y="134"/>
                  </a:lnTo>
                  <a:lnTo>
                    <a:pt x="124" y="132"/>
                  </a:lnTo>
                  <a:lnTo>
                    <a:pt x="124" y="131"/>
                  </a:lnTo>
                  <a:lnTo>
                    <a:pt x="124" y="127"/>
                  </a:lnTo>
                  <a:lnTo>
                    <a:pt x="124" y="124"/>
                  </a:lnTo>
                  <a:lnTo>
                    <a:pt x="124" y="120"/>
                  </a:lnTo>
                  <a:lnTo>
                    <a:pt x="124" y="117"/>
                  </a:lnTo>
                  <a:lnTo>
                    <a:pt x="124" y="117"/>
                  </a:lnTo>
                  <a:lnTo>
                    <a:pt x="124" y="113"/>
                  </a:lnTo>
                  <a:lnTo>
                    <a:pt x="124" y="107"/>
                  </a:lnTo>
                  <a:lnTo>
                    <a:pt x="124" y="101"/>
                  </a:lnTo>
                  <a:lnTo>
                    <a:pt x="124" y="100"/>
                  </a:lnTo>
                  <a:lnTo>
                    <a:pt x="124" y="93"/>
                  </a:lnTo>
                  <a:lnTo>
                    <a:pt x="124" y="86"/>
                  </a:lnTo>
                  <a:lnTo>
                    <a:pt x="124" y="82"/>
                  </a:lnTo>
                  <a:lnTo>
                    <a:pt x="115" y="82"/>
                  </a:lnTo>
                  <a:lnTo>
                    <a:pt x="112" y="82"/>
                  </a:lnTo>
                  <a:lnTo>
                    <a:pt x="108" y="82"/>
                  </a:lnTo>
                  <a:lnTo>
                    <a:pt x="107" y="82"/>
                  </a:lnTo>
                  <a:lnTo>
                    <a:pt x="107" y="82"/>
                  </a:lnTo>
                  <a:lnTo>
                    <a:pt x="103" y="82"/>
                  </a:lnTo>
                  <a:lnTo>
                    <a:pt x="101" y="82"/>
                  </a:lnTo>
                  <a:lnTo>
                    <a:pt x="96" y="81"/>
                  </a:lnTo>
                  <a:lnTo>
                    <a:pt x="91" y="81"/>
                  </a:lnTo>
                  <a:lnTo>
                    <a:pt x="86" y="81"/>
                  </a:lnTo>
                  <a:lnTo>
                    <a:pt x="79" y="81"/>
                  </a:lnTo>
                  <a:lnTo>
                    <a:pt x="76" y="81"/>
                  </a:lnTo>
                  <a:lnTo>
                    <a:pt x="69" y="81"/>
                  </a:lnTo>
                  <a:lnTo>
                    <a:pt x="65" y="81"/>
                  </a:lnTo>
                  <a:lnTo>
                    <a:pt x="64" y="81"/>
                  </a:lnTo>
                  <a:lnTo>
                    <a:pt x="62" y="81"/>
                  </a:lnTo>
                  <a:lnTo>
                    <a:pt x="60" y="81"/>
                  </a:lnTo>
                  <a:lnTo>
                    <a:pt x="60" y="81"/>
                  </a:lnTo>
                  <a:lnTo>
                    <a:pt x="58" y="81"/>
                  </a:lnTo>
                  <a:lnTo>
                    <a:pt x="55" y="81"/>
                  </a:lnTo>
                  <a:lnTo>
                    <a:pt x="53" y="81"/>
                  </a:lnTo>
                  <a:lnTo>
                    <a:pt x="52" y="81"/>
                  </a:lnTo>
                  <a:lnTo>
                    <a:pt x="50" y="81"/>
                  </a:lnTo>
                  <a:lnTo>
                    <a:pt x="48" y="81"/>
                  </a:lnTo>
                  <a:lnTo>
                    <a:pt x="46" y="79"/>
                  </a:lnTo>
                  <a:lnTo>
                    <a:pt x="46" y="79"/>
                  </a:lnTo>
                  <a:lnTo>
                    <a:pt x="45" y="79"/>
                  </a:lnTo>
                  <a:lnTo>
                    <a:pt x="43" y="79"/>
                  </a:lnTo>
                  <a:lnTo>
                    <a:pt x="38" y="79"/>
                  </a:lnTo>
                  <a:lnTo>
                    <a:pt x="34" y="79"/>
                  </a:lnTo>
                  <a:lnTo>
                    <a:pt x="24" y="79"/>
                  </a:lnTo>
                  <a:lnTo>
                    <a:pt x="22" y="79"/>
                  </a:lnTo>
                  <a:lnTo>
                    <a:pt x="15" y="79"/>
                  </a:lnTo>
                  <a:lnTo>
                    <a:pt x="12" y="79"/>
                  </a:lnTo>
                  <a:lnTo>
                    <a:pt x="9" y="79"/>
                  </a:lnTo>
                  <a:lnTo>
                    <a:pt x="7" y="77"/>
                  </a:lnTo>
                  <a:lnTo>
                    <a:pt x="5" y="77"/>
                  </a:lnTo>
                  <a:lnTo>
                    <a:pt x="0" y="77"/>
                  </a:lnTo>
                  <a:lnTo>
                    <a:pt x="0" y="76"/>
                  </a:lnTo>
                  <a:lnTo>
                    <a:pt x="0" y="72"/>
                  </a:lnTo>
                  <a:lnTo>
                    <a:pt x="0" y="70"/>
                  </a:lnTo>
                  <a:lnTo>
                    <a:pt x="0" y="64"/>
                  </a:lnTo>
                  <a:lnTo>
                    <a:pt x="0" y="60"/>
                  </a:lnTo>
                  <a:lnTo>
                    <a:pt x="0" y="58"/>
                  </a:lnTo>
                  <a:lnTo>
                    <a:pt x="0" y="57"/>
                  </a:lnTo>
                  <a:lnTo>
                    <a:pt x="0" y="55"/>
                  </a:lnTo>
                  <a:lnTo>
                    <a:pt x="0" y="53"/>
                  </a:lnTo>
                  <a:lnTo>
                    <a:pt x="0" y="51"/>
                  </a:lnTo>
                  <a:lnTo>
                    <a:pt x="0" y="46"/>
                  </a:lnTo>
                  <a:lnTo>
                    <a:pt x="0" y="39"/>
                  </a:lnTo>
                  <a:lnTo>
                    <a:pt x="0" y="38"/>
                  </a:lnTo>
                  <a:lnTo>
                    <a:pt x="0" y="36"/>
                  </a:lnTo>
                  <a:lnTo>
                    <a:pt x="0" y="26"/>
                  </a:lnTo>
                  <a:lnTo>
                    <a:pt x="0" y="24"/>
                  </a:lnTo>
                  <a:lnTo>
                    <a:pt x="0" y="22"/>
                  </a:lnTo>
                  <a:lnTo>
                    <a:pt x="0" y="15"/>
                  </a:lnTo>
                  <a:lnTo>
                    <a:pt x="0" y="10"/>
                  </a:lnTo>
                  <a:lnTo>
                    <a:pt x="0" y="5"/>
                  </a:lnTo>
                  <a:lnTo>
                    <a:pt x="0" y="0"/>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5" name="Freeform 175"/>
            <p:cNvSpPr>
              <a:spLocks/>
            </p:cNvSpPr>
            <p:nvPr/>
          </p:nvSpPr>
          <p:spPr bwMode="auto">
            <a:xfrm>
              <a:off x="6784271" y="2550906"/>
              <a:ext cx="571500" cy="439738"/>
            </a:xfrm>
            <a:custGeom>
              <a:avLst/>
              <a:gdLst/>
              <a:ahLst/>
              <a:cxnLst>
                <a:cxn ang="0">
                  <a:pos x="324" y="17"/>
                </a:cxn>
                <a:cxn ang="0">
                  <a:pos x="329" y="38"/>
                </a:cxn>
                <a:cxn ang="0">
                  <a:pos x="332" y="64"/>
                </a:cxn>
                <a:cxn ang="0">
                  <a:pos x="342" y="81"/>
                </a:cxn>
                <a:cxn ang="0">
                  <a:pos x="336" y="117"/>
                </a:cxn>
                <a:cxn ang="0">
                  <a:pos x="330" y="138"/>
                </a:cxn>
                <a:cxn ang="0">
                  <a:pos x="346" y="169"/>
                </a:cxn>
                <a:cxn ang="0">
                  <a:pos x="351" y="181"/>
                </a:cxn>
                <a:cxn ang="0">
                  <a:pos x="351" y="193"/>
                </a:cxn>
                <a:cxn ang="0">
                  <a:pos x="354" y="208"/>
                </a:cxn>
                <a:cxn ang="0">
                  <a:pos x="348" y="222"/>
                </a:cxn>
                <a:cxn ang="0">
                  <a:pos x="344" y="231"/>
                </a:cxn>
                <a:cxn ang="0">
                  <a:pos x="346" y="236"/>
                </a:cxn>
                <a:cxn ang="0">
                  <a:pos x="337" y="232"/>
                </a:cxn>
                <a:cxn ang="0">
                  <a:pos x="330" y="241"/>
                </a:cxn>
                <a:cxn ang="0">
                  <a:pos x="339" y="244"/>
                </a:cxn>
                <a:cxn ang="0">
                  <a:pos x="334" y="243"/>
                </a:cxn>
                <a:cxn ang="0">
                  <a:pos x="324" y="237"/>
                </a:cxn>
                <a:cxn ang="0">
                  <a:pos x="320" y="234"/>
                </a:cxn>
                <a:cxn ang="0">
                  <a:pos x="322" y="227"/>
                </a:cxn>
                <a:cxn ang="0">
                  <a:pos x="310" y="232"/>
                </a:cxn>
                <a:cxn ang="0">
                  <a:pos x="298" y="232"/>
                </a:cxn>
                <a:cxn ang="0">
                  <a:pos x="287" y="236"/>
                </a:cxn>
                <a:cxn ang="0">
                  <a:pos x="277" y="243"/>
                </a:cxn>
                <a:cxn ang="0">
                  <a:pos x="275" y="249"/>
                </a:cxn>
                <a:cxn ang="0">
                  <a:pos x="274" y="261"/>
                </a:cxn>
                <a:cxn ang="0">
                  <a:pos x="274" y="267"/>
                </a:cxn>
                <a:cxn ang="0">
                  <a:pos x="262" y="267"/>
                </a:cxn>
                <a:cxn ang="0">
                  <a:pos x="260" y="267"/>
                </a:cxn>
                <a:cxn ang="0">
                  <a:pos x="250" y="265"/>
                </a:cxn>
                <a:cxn ang="0">
                  <a:pos x="244" y="263"/>
                </a:cxn>
                <a:cxn ang="0">
                  <a:pos x="231" y="261"/>
                </a:cxn>
                <a:cxn ang="0">
                  <a:pos x="219" y="261"/>
                </a:cxn>
                <a:cxn ang="0">
                  <a:pos x="207" y="263"/>
                </a:cxn>
                <a:cxn ang="0">
                  <a:pos x="198" y="263"/>
                </a:cxn>
                <a:cxn ang="0">
                  <a:pos x="189" y="258"/>
                </a:cxn>
                <a:cxn ang="0">
                  <a:pos x="184" y="272"/>
                </a:cxn>
                <a:cxn ang="0">
                  <a:pos x="160" y="275"/>
                </a:cxn>
                <a:cxn ang="0">
                  <a:pos x="129" y="275"/>
                </a:cxn>
                <a:cxn ang="0">
                  <a:pos x="109" y="277"/>
                </a:cxn>
                <a:cxn ang="0">
                  <a:pos x="93" y="253"/>
                </a:cxn>
                <a:cxn ang="0">
                  <a:pos x="93" y="231"/>
                </a:cxn>
                <a:cxn ang="0">
                  <a:pos x="64" y="232"/>
                </a:cxn>
                <a:cxn ang="0">
                  <a:pos x="45" y="217"/>
                </a:cxn>
                <a:cxn ang="0">
                  <a:pos x="45" y="191"/>
                </a:cxn>
                <a:cxn ang="0">
                  <a:pos x="35" y="186"/>
                </a:cxn>
                <a:cxn ang="0">
                  <a:pos x="2" y="186"/>
                </a:cxn>
                <a:cxn ang="0">
                  <a:pos x="0" y="151"/>
                </a:cxn>
                <a:cxn ang="0">
                  <a:pos x="0" y="98"/>
                </a:cxn>
                <a:cxn ang="0">
                  <a:pos x="5" y="72"/>
                </a:cxn>
                <a:cxn ang="0">
                  <a:pos x="38" y="72"/>
                </a:cxn>
                <a:cxn ang="0">
                  <a:pos x="45" y="36"/>
                </a:cxn>
                <a:cxn ang="0">
                  <a:pos x="52" y="5"/>
                </a:cxn>
                <a:cxn ang="0">
                  <a:pos x="84" y="5"/>
                </a:cxn>
                <a:cxn ang="0">
                  <a:pos x="115" y="5"/>
                </a:cxn>
                <a:cxn ang="0">
                  <a:pos x="153" y="5"/>
                </a:cxn>
                <a:cxn ang="0">
                  <a:pos x="186" y="3"/>
                </a:cxn>
                <a:cxn ang="0">
                  <a:pos x="213" y="3"/>
                </a:cxn>
                <a:cxn ang="0">
                  <a:pos x="251" y="2"/>
                </a:cxn>
                <a:cxn ang="0">
                  <a:pos x="298" y="2"/>
                </a:cxn>
                <a:cxn ang="0">
                  <a:pos x="320" y="0"/>
                </a:cxn>
              </a:cxnLst>
              <a:rect l="0" t="0" r="r" b="b"/>
              <a:pathLst>
                <a:path w="360" h="277">
                  <a:moveTo>
                    <a:pt x="320" y="0"/>
                  </a:moveTo>
                  <a:lnTo>
                    <a:pt x="320" y="2"/>
                  </a:lnTo>
                  <a:lnTo>
                    <a:pt x="320" y="3"/>
                  </a:lnTo>
                  <a:lnTo>
                    <a:pt x="322" y="5"/>
                  </a:lnTo>
                  <a:lnTo>
                    <a:pt x="322" y="7"/>
                  </a:lnTo>
                  <a:lnTo>
                    <a:pt x="324" y="7"/>
                  </a:lnTo>
                  <a:lnTo>
                    <a:pt x="324" y="10"/>
                  </a:lnTo>
                  <a:lnTo>
                    <a:pt x="324" y="14"/>
                  </a:lnTo>
                  <a:lnTo>
                    <a:pt x="324" y="17"/>
                  </a:lnTo>
                  <a:lnTo>
                    <a:pt x="324" y="19"/>
                  </a:lnTo>
                  <a:lnTo>
                    <a:pt x="324" y="22"/>
                  </a:lnTo>
                  <a:lnTo>
                    <a:pt x="324" y="24"/>
                  </a:lnTo>
                  <a:lnTo>
                    <a:pt x="324" y="26"/>
                  </a:lnTo>
                  <a:lnTo>
                    <a:pt x="325" y="31"/>
                  </a:lnTo>
                  <a:lnTo>
                    <a:pt x="325" y="33"/>
                  </a:lnTo>
                  <a:lnTo>
                    <a:pt x="327" y="34"/>
                  </a:lnTo>
                  <a:lnTo>
                    <a:pt x="327" y="36"/>
                  </a:lnTo>
                  <a:lnTo>
                    <a:pt x="329" y="38"/>
                  </a:lnTo>
                  <a:lnTo>
                    <a:pt x="329" y="40"/>
                  </a:lnTo>
                  <a:lnTo>
                    <a:pt x="329" y="45"/>
                  </a:lnTo>
                  <a:lnTo>
                    <a:pt x="329" y="50"/>
                  </a:lnTo>
                  <a:lnTo>
                    <a:pt x="329" y="52"/>
                  </a:lnTo>
                  <a:lnTo>
                    <a:pt x="329" y="53"/>
                  </a:lnTo>
                  <a:lnTo>
                    <a:pt x="330" y="55"/>
                  </a:lnTo>
                  <a:lnTo>
                    <a:pt x="330" y="57"/>
                  </a:lnTo>
                  <a:lnTo>
                    <a:pt x="330" y="58"/>
                  </a:lnTo>
                  <a:lnTo>
                    <a:pt x="332" y="64"/>
                  </a:lnTo>
                  <a:lnTo>
                    <a:pt x="334" y="67"/>
                  </a:lnTo>
                  <a:lnTo>
                    <a:pt x="334" y="67"/>
                  </a:lnTo>
                  <a:lnTo>
                    <a:pt x="336" y="71"/>
                  </a:lnTo>
                  <a:lnTo>
                    <a:pt x="337" y="71"/>
                  </a:lnTo>
                  <a:lnTo>
                    <a:pt x="337" y="72"/>
                  </a:lnTo>
                  <a:lnTo>
                    <a:pt x="339" y="74"/>
                  </a:lnTo>
                  <a:lnTo>
                    <a:pt x="339" y="76"/>
                  </a:lnTo>
                  <a:lnTo>
                    <a:pt x="341" y="79"/>
                  </a:lnTo>
                  <a:lnTo>
                    <a:pt x="342" y="81"/>
                  </a:lnTo>
                  <a:lnTo>
                    <a:pt x="344" y="83"/>
                  </a:lnTo>
                  <a:lnTo>
                    <a:pt x="344" y="83"/>
                  </a:lnTo>
                  <a:lnTo>
                    <a:pt x="346" y="84"/>
                  </a:lnTo>
                  <a:lnTo>
                    <a:pt x="348" y="96"/>
                  </a:lnTo>
                  <a:lnTo>
                    <a:pt x="348" y="103"/>
                  </a:lnTo>
                  <a:lnTo>
                    <a:pt x="348" y="105"/>
                  </a:lnTo>
                  <a:lnTo>
                    <a:pt x="346" y="107"/>
                  </a:lnTo>
                  <a:lnTo>
                    <a:pt x="337" y="114"/>
                  </a:lnTo>
                  <a:lnTo>
                    <a:pt x="336" y="117"/>
                  </a:lnTo>
                  <a:lnTo>
                    <a:pt x="336" y="119"/>
                  </a:lnTo>
                  <a:lnTo>
                    <a:pt x="334" y="120"/>
                  </a:lnTo>
                  <a:lnTo>
                    <a:pt x="334" y="122"/>
                  </a:lnTo>
                  <a:lnTo>
                    <a:pt x="334" y="124"/>
                  </a:lnTo>
                  <a:lnTo>
                    <a:pt x="332" y="127"/>
                  </a:lnTo>
                  <a:lnTo>
                    <a:pt x="329" y="129"/>
                  </a:lnTo>
                  <a:lnTo>
                    <a:pt x="329" y="131"/>
                  </a:lnTo>
                  <a:lnTo>
                    <a:pt x="329" y="134"/>
                  </a:lnTo>
                  <a:lnTo>
                    <a:pt x="330" y="138"/>
                  </a:lnTo>
                  <a:lnTo>
                    <a:pt x="332" y="141"/>
                  </a:lnTo>
                  <a:lnTo>
                    <a:pt x="334" y="141"/>
                  </a:lnTo>
                  <a:lnTo>
                    <a:pt x="334" y="143"/>
                  </a:lnTo>
                  <a:lnTo>
                    <a:pt x="336" y="150"/>
                  </a:lnTo>
                  <a:lnTo>
                    <a:pt x="342" y="158"/>
                  </a:lnTo>
                  <a:lnTo>
                    <a:pt x="344" y="163"/>
                  </a:lnTo>
                  <a:lnTo>
                    <a:pt x="344" y="165"/>
                  </a:lnTo>
                  <a:lnTo>
                    <a:pt x="344" y="167"/>
                  </a:lnTo>
                  <a:lnTo>
                    <a:pt x="346" y="169"/>
                  </a:lnTo>
                  <a:lnTo>
                    <a:pt x="348" y="172"/>
                  </a:lnTo>
                  <a:lnTo>
                    <a:pt x="348" y="172"/>
                  </a:lnTo>
                  <a:lnTo>
                    <a:pt x="349" y="172"/>
                  </a:lnTo>
                  <a:lnTo>
                    <a:pt x="349" y="174"/>
                  </a:lnTo>
                  <a:lnTo>
                    <a:pt x="349" y="174"/>
                  </a:lnTo>
                  <a:lnTo>
                    <a:pt x="349" y="175"/>
                  </a:lnTo>
                  <a:lnTo>
                    <a:pt x="349" y="177"/>
                  </a:lnTo>
                  <a:lnTo>
                    <a:pt x="351" y="179"/>
                  </a:lnTo>
                  <a:lnTo>
                    <a:pt x="351" y="181"/>
                  </a:lnTo>
                  <a:lnTo>
                    <a:pt x="351" y="182"/>
                  </a:lnTo>
                  <a:lnTo>
                    <a:pt x="351" y="184"/>
                  </a:lnTo>
                  <a:lnTo>
                    <a:pt x="351" y="186"/>
                  </a:lnTo>
                  <a:lnTo>
                    <a:pt x="353" y="188"/>
                  </a:lnTo>
                  <a:lnTo>
                    <a:pt x="353" y="188"/>
                  </a:lnTo>
                  <a:lnTo>
                    <a:pt x="351" y="188"/>
                  </a:lnTo>
                  <a:lnTo>
                    <a:pt x="351" y="189"/>
                  </a:lnTo>
                  <a:lnTo>
                    <a:pt x="351" y="191"/>
                  </a:lnTo>
                  <a:lnTo>
                    <a:pt x="351" y="193"/>
                  </a:lnTo>
                  <a:lnTo>
                    <a:pt x="353" y="194"/>
                  </a:lnTo>
                  <a:lnTo>
                    <a:pt x="353" y="196"/>
                  </a:lnTo>
                  <a:lnTo>
                    <a:pt x="353" y="198"/>
                  </a:lnTo>
                  <a:lnTo>
                    <a:pt x="353" y="200"/>
                  </a:lnTo>
                  <a:lnTo>
                    <a:pt x="353" y="201"/>
                  </a:lnTo>
                  <a:lnTo>
                    <a:pt x="353" y="203"/>
                  </a:lnTo>
                  <a:lnTo>
                    <a:pt x="353" y="205"/>
                  </a:lnTo>
                  <a:lnTo>
                    <a:pt x="354" y="206"/>
                  </a:lnTo>
                  <a:lnTo>
                    <a:pt x="354" y="208"/>
                  </a:lnTo>
                  <a:lnTo>
                    <a:pt x="356" y="210"/>
                  </a:lnTo>
                  <a:lnTo>
                    <a:pt x="358" y="212"/>
                  </a:lnTo>
                  <a:lnTo>
                    <a:pt x="358" y="217"/>
                  </a:lnTo>
                  <a:lnTo>
                    <a:pt x="360" y="218"/>
                  </a:lnTo>
                  <a:lnTo>
                    <a:pt x="360" y="222"/>
                  </a:lnTo>
                  <a:lnTo>
                    <a:pt x="358" y="222"/>
                  </a:lnTo>
                  <a:lnTo>
                    <a:pt x="354" y="222"/>
                  </a:lnTo>
                  <a:lnTo>
                    <a:pt x="348" y="224"/>
                  </a:lnTo>
                  <a:lnTo>
                    <a:pt x="348" y="222"/>
                  </a:lnTo>
                  <a:lnTo>
                    <a:pt x="346" y="222"/>
                  </a:lnTo>
                  <a:lnTo>
                    <a:pt x="344" y="222"/>
                  </a:lnTo>
                  <a:lnTo>
                    <a:pt x="342" y="224"/>
                  </a:lnTo>
                  <a:lnTo>
                    <a:pt x="341" y="224"/>
                  </a:lnTo>
                  <a:lnTo>
                    <a:pt x="341" y="225"/>
                  </a:lnTo>
                  <a:lnTo>
                    <a:pt x="341" y="227"/>
                  </a:lnTo>
                  <a:lnTo>
                    <a:pt x="341" y="229"/>
                  </a:lnTo>
                  <a:lnTo>
                    <a:pt x="342" y="229"/>
                  </a:lnTo>
                  <a:lnTo>
                    <a:pt x="344" y="231"/>
                  </a:lnTo>
                  <a:lnTo>
                    <a:pt x="346" y="231"/>
                  </a:lnTo>
                  <a:lnTo>
                    <a:pt x="346" y="232"/>
                  </a:lnTo>
                  <a:lnTo>
                    <a:pt x="348" y="232"/>
                  </a:lnTo>
                  <a:lnTo>
                    <a:pt x="348" y="234"/>
                  </a:lnTo>
                  <a:lnTo>
                    <a:pt x="349" y="234"/>
                  </a:lnTo>
                  <a:lnTo>
                    <a:pt x="349" y="236"/>
                  </a:lnTo>
                  <a:lnTo>
                    <a:pt x="349" y="237"/>
                  </a:lnTo>
                  <a:lnTo>
                    <a:pt x="348" y="236"/>
                  </a:lnTo>
                  <a:lnTo>
                    <a:pt x="346" y="236"/>
                  </a:lnTo>
                  <a:lnTo>
                    <a:pt x="344" y="236"/>
                  </a:lnTo>
                  <a:lnTo>
                    <a:pt x="344" y="237"/>
                  </a:lnTo>
                  <a:lnTo>
                    <a:pt x="342" y="237"/>
                  </a:lnTo>
                  <a:lnTo>
                    <a:pt x="341" y="237"/>
                  </a:lnTo>
                  <a:lnTo>
                    <a:pt x="341" y="236"/>
                  </a:lnTo>
                  <a:lnTo>
                    <a:pt x="339" y="236"/>
                  </a:lnTo>
                  <a:lnTo>
                    <a:pt x="339" y="234"/>
                  </a:lnTo>
                  <a:lnTo>
                    <a:pt x="337" y="234"/>
                  </a:lnTo>
                  <a:lnTo>
                    <a:pt x="337" y="232"/>
                  </a:lnTo>
                  <a:lnTo>
                    <a:pt x="336" y="232"/>
                  </a:lnTo>
                  <a:lnTo>
                    <a:pt x="334" y="232"/>
                  </a:lnTo>
                  <a:lnTo>
                    <a:pt x="334" y="232"/>
                  </a:lnTo>
                  <a:lnTo>
                    <a:pt x="332" y="234"/>
                  </a:lnTo>
                  <a:lnTo>
                    <a:pt x="330" y="236"/>
                  </a:lnTo>
                  <a:lnTo>
                    <a:pt x="330" y="237"/>
                  </a:lnTo>
                  <a:lnTo>
                    <a:pt x="329" y="237"/>
                  </a:lnTo>
                  <a:lnTo>
                    <a:pt x="329" y="239"/>
                  </a:lnTo>
                  <a:lnTo>
                    <a:pt x="330" y="241"/>
                  </a:lnTo>
                  <a:lnTo>
                    <a:pt x="332" y="241"/>
                  </a:lnTo>
                  <a:lnTo>
                    <a:pt x="332" y="239"/>
                  </a:lnTo>
                  <a:lnTo>
                    <a:pt x="334" y="239"/>
                  </a:lnTo>
                  <a:lnTo>
                    <a:pt x="334" y="239"/>
                  </a:lnTo>
                  <a:lnTo>
                    <a:pt x="336" y="239"/>
                  </a:lnTo>
                  <a:lnTo>
                    <a:pt x="337" y="241"/>
                  </a:lnTo>
                  <a:lnTo>
                    <a:pt x="339" y="241"/>
                  </a:lnTo>
                  <a:lnTo>
                    <a:pt x="339" y="243"/>
                  </a:lnTo>
                  <a:lnTo>
                    <a:pt x="339" y="244"/>
                  </a:lnTo>
                  <a:lnTo>
                    <a:pt x="337" y="244"/>
                  </a:lnTo>
                  <a:lnTo>
                    <a:pt x="337" y="246"/>
                  </a:lnTo>
                  <a:lnTo>
                    <a:pt x="336" y="246"/>
                  </a:lnTo>
                  <a:lnTo>
                    <a:pt x="336" y="248"/>
                  </a:lnTo>
                  <a:lnTo>
                    <a:pt x="334" y="248"/>
                  </a:lnTo>
                  <a:lnTo>
                    <a:pt x="334" y="248"/>
                  </a:lnTo>
                  <a:lnTo>
                    <a:pt x="334" y="246"/>
                  </a:lnTo>
                  <a:lnTo>
                    <a:pt x="334" y="244"/>
                  </a:lnTo>
                  <a:lnTo>
                    <a:pt x="334" y="243"/>
                  </a:lnTo>
                  <a:lnTo>
                    <a:pt x="332" y="243"/>
                  </a:lnTo>
                  <a:lnTo>
                    <a:pt x="330" y="243"/>
                  </a:lnTo>
                  <a:lnTo>
                    <a:pt x="329" y="243"/>
                  </a:lnTo>
                  <a:lnTo>
                    <a:pt x="327" y="243"/>
                  </a:lnTo>
                  <a:lnTo>
                    <a:pt x="325" y="243"/>
                  </a:lnTo>
                  <a:lnTo>
                    <a:pt x="325" y="241"/>
                  </a:lnTo>
                  <a:lnTo>
                    <a:pt x="325" y="239"/>
                  </a:lnTo>
                  <a:lnTo>
                    <a:pt x="325" y="237"/>
                  </a:lnTo>
                  <a:lnTo>
                    <a:pt x="324" y="237"/>
                  </a:lnTo>
                  <a:lnTo>
                    <a:pt x="322" y="237"/>
                  </a:lnTo>
                  <a:lnTo>
                    <a:pt x="322" y="239"/>
                  </a:lnTo>
                  <a:lnTo>
                    <a:pt x="320" y="239"/>
                  </a:lnTo>
                  <a:lnTo>
                    <a:pt x="320" y="239"/>
                  </a:lnTo>
                  <a:lnTo>
                    <a:pt x="318" y="237"/>
                  </a:lnTo>
                  <a:lnTo>
                    <a:pt x="318" y="236"/>
                  </a:lnTo>
                  <a:lnTo>
                    <a:pt x="318" y="234"/>
                  </a:lnTo>
                  <a:lnTo>
                    <a:pt x="320" y="234"/>
                  </a:lnTo>
                  <a:lnTo>
                    <a:pt x="320" y="234"/>
                  </a:lnTo>
                  <a:lnTo>
                    <a:pt x="320" y="232"/>
                  </a:lnTo>
                  <a:lnTo>
                    <a:pt x="322" y="232"/>
                  </a:lnTo>
                  <a:lnTo>
                    <a:pt x="324" y="232"/>
                  </a:lnTo>
                  <a:lnTo>
                    <a:pt x="325" y="232"/>
                  </a:lnTo>
                  <a:lnTo>
                    <a:pt x="325" y="231"/>
                  </a:lnTo>
                  <a:lnTo>
                    <a:pt x="324" y="231"/>
                  </a:lnTo>
                  <a:lnTo>
                    <a:pt x="324" y="229"/>
                  </a:lnTo>
                  <a:lnTo>
                    <a:pt x="324" y="227"/>
                  </a:lnTo>
                  <a:lnTo>
                    <a:pt x="322" y="227"/>
                  </a:lnTo>
                  <a:lnTo>
                    <a:pt x="320" y="225"/>
                  </a:lnTo>
                  <a:lnTo>
                    <a:pt x="320" y="225"/>
                  </a:lnTo>
                  <a:lnTo>
                    <a:pt x="317" y="225"/>
                  </a:lnTo>
                  <a:lnTo>
                    <a:pt x="315" y="227"/>
                  </a:lnTo>
                  <a:lnTo>
                    <a:pt x="313" y="227"/>
                  </a:lnTo>
                  <a:lnTo>
                    <a:pt x="311" y="227"/>
                  </a:lnTo>
                  <a:lnTo>
                    <a:pt x="311" y="229"/>
                  </a:lnTo>
                  <a:lnTo>
                    <a:pt x="310" y="231"/>
                  </a:lnTo>
                  <a:lnTo>
                    <a:pt x="310" y="232"/>
                  </a:lnTo>
                  <a:lnTo>
                    <a:pt x="308" y="232"/>
                  </a:lnTo>
                  <a:lnTo>
                    <a:pt x="308" y="232"/>
                  </a:lnTo>
                  <a:lnTo>
                    <a:pt x="306" y="232"/>
                  </a:lnTo>
                  <a:lnTo>
                    <a:pt x="306" y="234"/>
                  </a:lnTo>
                  <a:lnTo>
                    <a:pt x="305" y="234"/>
                  </a:lnTo>
                  <a:lnTo>
                    <a:pt x="305" y="234"/>
                  </a:lnTo>
                  <a:lnTo>
                    <a:pt x="303" y="234"/>
                  </a:lnTo>
                  <a:lnTo>
                    <a:pt x="299" y="232"/>
                  </a:lnTo>
                  <a:lnTo>
                    <a:pt x="298" y="232"/>
                  </a:lnTo>
                  <a:lnTo>
                    <a:pt x="296" y="232"/>
                  </a:lnTo>
                  <a:lnTo>
                    <a:pt x="294" y="232"/>
                  </a:lnTo>
                  <a:lnTo>
                    <a:pt x="293" y="232"/>
                  </a:lnTo>
                  <a:lnTo>
                    <a:pt x="291" y="232"/>
                  </a:lnTo>
                  <a:lnTo>
                    <a:pt x="291" y="234"/>
                  </a:lnTo>
                  <a:lnTo>
                    <a:pt x="291" y="236"/>
                  </a:lnTo>
                  <a:lnTo>
                    <a:pt x="289" y="236"/>
                  </a:lnTo>
                  <a:lnTo>
                    <a:pt x="289" y="236"/>
                  </a:lnTo>
                  <a:lnTo>
                    <a:pt x="287" y="236"/>
                  </a:lnTo>
                  <a:lnTo>
                    <a:pt x="286" y="236"/>
                  </a:lnTo>
                  <a:lnTo>
                    <a:pt x="284" y="237"/>
                  </a:lnTo>
                  <a:lnTo>
                    <a:pt x="282" y="237"/>
                  </a:lnTo>
                  <a:lnTo>
                    <a:pt x="281" y="239"/>
                  </a:lnTo>
                  <a:lnTo>
                    <a:pt x="279" y="241"/>
                  </a:lnTo>
                  <a:lnTo>
                    <a:pt x="277" y="241"/>
                  </a:lnTo>
                  <a:lnTo>
                    <a:pt x="277" y="243"/>
                  </a:lnTo>
                  <a:lnTo>
                    <a:pt x="275" y="243"/>
                  </a:lnTo>
                  <a:lnTo>
                    <a:pt x="277" y="243"/>
                  </a:lnTo>
                  <a:lnTo>
                    <a:pt x="277" y="244"/>
                  </a:lnTo>
                  <a:lnTo>
                    <a:pt x="279" y="246"/>
                  </a:lnTo>
                  <a:lnTo>
                    <a:pt x="281" y="246"/>
                  </a:lnTo>
                  <a:lnTo>
                    <a:pt x="281" y="248"/>
                  </a:lnTo>
                  <a:lnTo>
                    <a:pt x="281" y="248"/>
                  </a:lnTo>
                  <a:lnTo>
                    <a:pt x="281" y="249"/>
                  </a:lnTo>
                  <a:lnTo>
                    <a:pt x="279" y="249"/>
                  </a:lnTo>
                  <a:lnTo>
                    <a:pt x="277" y="249"/>
                  </a:lnTo>
                  <a:lnTo>
                    <a:pt x="275" y="249"/>
                  </a:lnTo>
                  <a:lnTo>
                    <a:pt x="274" y="249"/>
                  </a:lnTo>
                  <a:lnTo>
                    <a:pt x="274" y="251"/>
                  </a:lnTo>
                  <a:lnTo>
                    <a:pt x="274" y="253"/>
                  </a:lnTo>
                  <a:lnTo>
                    <a:pt x="275" y="255"/>
                  </a:lnTo>
                  <a:lnTo>
                    <a:pt x="275" y="256"/>
                  </a:lnTo>
                  <a:lnTo>
                    <a:pt x="274" y="258"/>
                  </a:lnTo>
                  <a:lnTo>
                    <a:pt x="274" y="260"/>
                  </a:lnTo>
                  <a:lnTo>
                    <a:pt x="274" y="260"/>
                  </a:lnTo>
                  <a:lnTo>
                    <a:pt x="274" y="261"/>
                  </a:lnTo>
                  <a:lnTo>
                    <a:pt x="274" y="263"/>
                  </a:lnTo>
                  <a:lnTo>
                    <a:pt x="274" y="263"/>
                  </a:lnTo>
                  <a:lnTo>
                    <a:pt x="274" y="263"/>
                  </a:lnTo>
                  <a:lnTo>
                    <a:pt x="274" y="265"/>
                  </a:lnTo>
                  <a:lnTo>
                    <a:pt x="275" y="265"/>
                  </a:lnTo>
                  <a:lnTo>
                    <a:pt x="275" y="267"/>
                  </a:lnTo>
                  <a:lnTo>
                    <a:pt x="275" y="268"/>
                  </a:lnTo>
                  <a:lnTo>
                    <a:pt x="274" y="268"/>
                  </a:lnTo>
                  <a:lnTo>
                    <a:pt x="274" y="267"/>
                  </a:lnTo>
                  <a:lnTo>
                    <a:pt x="272" y="267"/>
                  </a:lnTo>
                  <a:lnTo>
                    <a:pt x="272" y="268"/>
                  </a:lnTo>
                  <a:lnTo>
                    <a:pt x="270" y="268"/>
                  </a:lnTo>
                  <a:lnTo>
                    <a:pt x="270" y="270"/>
                  </a:lnTo>
                  <a:lnTo>
                    <a:pt x="268" y="270"/>
                  </a:lnTo>
                  <a:lnTo>
                    <a:pt x="267" y="270"/>
                  </a:lnTo>
                  <a:lnTo>
                    <a:pt x="265" y="268"/>
                  </a:lnTo>
                  <a:lnTo>
                    <a:pt x="263" y="267"/>
                  </a:lnTo>
                  <a:lnTo>
                    <a:pt x="262" y="267"/>
                  </a:lnTo>
                  <a:lnTo>
                    <a:pt x="262" y="268"/>
                  </a:lnTo>
                  <a:lnTo>
                    <a:pt x="260" y="267"/>
                  </a:lnTo>
                  <a:lnTo>
                    <a:pt x="260" y="265"/>
                  </a:lnTo>
                  <a:lnTo>
                    <a:pt x="260" y="265"/>
                  </a:lnTo>
                  <a:lnTo>
                    <a:pt x="260" y="263"/>
                  </a:lnTo>
                  <a:lnTo>
                    <a:pt x="258" y="263"/>
                  </a:lnTo>
                  <a:lnTo>
                    <a:pt x="258" y="265"/>
                  </a:lnTo>
                  <a:lnTo>
                    <a:pt x="260" y="265"/>
                  </a:lnTo>
                  <a:lnTo>
                    <a:pt x="260" y="267"/>
                  </a:lnTo>
                  <a:lnTo>
                    <a:pt x="258" y="267"/>
                  </a:lnTo>
                  <a:lnTo>
                    <a:pt x="256" y="267"/>
                  </a:lnTo>
                  <a:lnTo>
                    <a:pt x="256" y="265"/>
                  </a:lnTo>
                  <a:lnTo>
                    <a:pt x="255" y="265"/>
                  </a:lnTo>
                  <a:lnTo>
                    <a:pt x="255" y="263"/>
                  </a:lnTo>
                  <a:lnTo>
                    <a:pt x="253" y="263"/>
                  </a:lnTo>
                  <a:lnTo>
                    <a:pt x="251" y="263"/>
                  </a:lnTo>
                  <a:lnTo>
                    <a:pt x="250" y="263"/>
                  </a:lnTo>
                  <a:lnTo>
                    <a:pt x="250" y="265"/>
                  </a:lnTo>
                  <a:lnTo>
                    <a:pt x="250" y="267"/>
                  </a:lnTo>
                  <a:lnTo>
                    <a:pt x="248" y="267"/>
                  </a:lnTo>
                  <a:lnTo>
                    <a:pt x="248" y="265"/>
                  </a:lnTo>
                  <a:lnTo>
                    <a:pt x="248" y="263"/>
                  </a:lnTo>
                  <a:lnTo>
                    <a:pt x="246" y="263"/>
                  </a:lnTo>
                  <a:lnTo>
                    <a:pt x="244" y="263"/>
                  </a:lnTo>
                  <a:lnTo>
                    <a:pt x="244" y="265"/>
                  </a:lnTo>
                  <a:lnTo>
                    <a:pt x="244" y="265"/>
                  </a:lnTo>
                  <a:lnTo>
                    <a:pt x="244" y="263"/>
                  </a:lnTo>
                  <a:lnTo>
                    <a:pt x="244" y="263"/>
                  </a:lnTo>
                  <a:lnTo>
                    <a:pt x="243" y="263"/>
                  </a:lnTo>
                  <a:lnTo>
                    <a:pt x="243" y="261"/>
                  </a:lnTo>
                  <a:lnTo>
                    <a:pt x="241" y="261"/>
                  </a:lnTo>
                  <a:lnTo>
                    <a:pt x="238" y="261"/>
                  </a:lnTo>
                  <a:lnTo>
                    <a:pt x="236" y="261"/>
                  </a:lnTo>
                  <a:lnTo>
                    <a:pt x="234" y="261"/>
                  </a:lnTo>
                  <a:lnTo>
                    <a:pt x="232" y="261"/>
                  </a:lnTo>
                  <a:lnTo>
                    <a:pt x="231" y="261"/>
                  </a:lnTo>
                  <a:lnTo>
                    <a:pt x="229" y="263"/>
                  </a:lnTo>
                  <a:lnTo>
                    <a:pt x="229" y="263"/>
                  </a:lnTo>
                  <a:lnTo>
                    <a:pt x="227" y="263"/>
                  </a:lnTo>
                  <a:lnTo>
                    <a:pt x="225" y="263"/>
                  </a:lnTo>
                  <a:lnTo>
                    <a:pt x="224" y="263"/>
                  </a:lnTo>
                  <a:lnTo>
                    <a:pt x="222" y="263"/>
                  </a:lnTo>
                  <a:lnTo>
                    <a:pt x="220" y="263"/>
                  </a:lnTo>
                  <a:lnTo>
                    <a:pt x="219" y="263"/>
                  </a:lnTo>
                  <a:lnTo>
                    <a:pt x="219" y="261"/>
                  </a:lnTo>
                  <a:lnTo>
                    <a:pt x="219" y="260"/>
                  </a:lnTo>
                  <a:lnTo>
                    <a:pt x="217" y="260"/>
                  </a:lnTo>
                  <a:lnTo>
                    <a:pt x="215" y="260"/>
                  </a:lnTo>
                  <a:lnTo>
                    <a:pt x="213" y="260"/>
                  </a:lnTo>
                  <a:lnTo>
                    <a:pt x="213" y="260"/>
                  </a:lnTo>
                  <a:lnTo>
                    <a:pt x="212" y="261"/>
                  </a:lnTo>
                  <a:lnTo>
                    <a:pt x="210" y="263"/>
                  </a:lnTo>
                  <a:lnTo>
                    <a:pt x="208" y="263"/>
                  </a:lnTo>
                  <a:lnTo>
                    <a:pt x="207" y="263"/>
                  </a:lnTo>
                  <a:lnTo>
                    <a:pt x="205" y="261"/>
                  </a:lnTo>
                  <a:lnTo>
                    <a:pt x="203" y="263"/>
                  </a:lnTo>
                  <a:lnTo>
                    <a:pt x="205" y="263"/>
                  </a:lnTo>
                  <a:lnTo>
                    <a:pt x="203" y="263"/>
                  </a:lnTo>
                  <a:lnTo>
                    <a:pt x="201" y="263"/>
                  </a:lnTo>
                  <a:lnTo>
                    <a:pt x="200" y="263"/>
                  </a:lnTo>
                  <a:lnTo>
                    <a:pt x="200" y="263"/>
                  </a:lnTo>
                  <a:lnTo>
                    <a:pt x="198" y="263"/>
                  </a:lnTo>
                  <a:lnTo>
                    <a:pt x="198" y="263"/>
                  </a:lnTo>
                  <a:lnTo>
                    <a:pt x="198" y="263"/>
                  </a:lnTo>
                  <a:lnTo>
                    <a:pt x="196" y="263"/>
                  </a:lnTo>
                  <a:lnTo>
                    <a:pt x="195" y="263"/>
                  </a:lnTo>
                  <a:lnTo>
                    <a:pt x="195" y="261"/>
                  </a:lnTo>
                  <a:lnTo>
                    <a:pt x="193" y="261"/>
                  </a:lnTo>
                  <a:lnTo>
                    <a:pt x="193" y="260"/>
                  </a:lnTo>
                  <a:lnTo>
                    <a:pt x="191" y="260"/>
                  </a:lnTo>
                  <a:lnTo>
                    <a:pt x="191" y="258"/>
                  </a:lnTo>
                  <a:lnTo>
                    <a:pt x="189" y="258"/>
                  </a:lnTo>
                  <a:lnTo>
                    <a:pt x="189" y="256"/>
                  </a:lnTo>
                  <a:lnTo>
                    <a:pt x="189" y="258"/>
                  </a:lnTo>
                  <a:lnTo>
                    <a:pt x="188" y="258"/>
                  </a:lnTo>
                  <a:lnTo>
                    <a:pt x="186" y="258"/>
                  </a:lnTo>
                  <a:lnTo>
                    <a:pt x="184" y="258"/>
                  </a:lnTo>
                  <a:lnTo>
                    <a:pt x="184" y="263"/>
                  </a:lnTo>
                  <a:lnTo>
                    <a:pt x="184" y="267"/>
                  </a:lnTo>
                  <a:lnTo>
                    <a:pt x="184" y="268"/>
                  </a:lnTo>
                  <a:lnTo>
                    <a:pt x="184" y="272"/>
                  </a:lnTo>
                  <a:lnTo>
                    <a:pt x="184" y="274"/>
                  </a:lnTo>
                  <a:lnTo>
                    <a:pt x="184" y="275"/>
                  </a:lnTo>
                  <a:lnTo>
                    <a:pt x="182" y="275"/>
                  </a:lnTo>
                  <a:lnTo>
                    <a:pt x="177" y="275"/>
                  </a:lnTo>
                  <a:lnTo>
                    <a:pt x="174" y="275"/>
                  </a:lnTo>
                  <a:lnTo>
                    <a:pt x="172" y="275"/>
                  </a:lnTo>
                  <a:lnTo>
                    <a:pt x="167" y="275"/>
                  </a:lnTo>
                  <a:lnTo>
                    <a:pt x="165" y="275"/>
                  </a:lnTo>
                  <a:lnTo>
                    <a:pt x="160" y="275"/>
                  </a:lnTo>
                  <a:lnTo>
                    <a:pt x="155" y="275"/>
                  </a:lnTo>
                  <a:lnTo>
                    <a:pt x="153" y="275"/>
                  </a:lnTo>
                  <a:lnTo>
                    <a:pt x="152" y="275"/>
                  </a:lnTo>
                  <a:lnTo>
                    <a:pt x="145" y="275"/>
                  </a:lnTo>
                  <a:lnTo>
                    <a:pt x="143" y="275"/>
                  </a:lnTo>
                  <a:lnTo>
                    <a:pt x="138" y="275"/>
                  </a:lnTo>
                  <a:lnTo>
                    <a:pt x="136" y="275"/>
                  </a:lnTo>
                  <a:lnTo>
                    <a:pt x="134" y="275"/>
                  </a:lnTo>
                  <a:lnTo>
                    <a:pt x="129" y="275"/>
                  </a:lnTo>
                  <a:lnTo>
                    <a:pt x="126" y="275"/>
                  </a:lnTo>
                  <a:lnTo>
                    <a:pt x="124" y="275"/>
                  </a:lnTo>
                  <a:lnTo>
                    <a:pt x="122" y="275"/>
                  </a:lnTo>
                  <a:lnTo>
                    <a:pt x="117" y="275"/>
                  </a:lnTo>
                  <a:lnTo>
                    <a:pt x="115" y="277"/>
                  </a:lnTo>
                  <a:lnTo>
                    <a:pt x="114" y="277"/>
                  </a:lnTo>
                  <a:lnTo>
                    <a:pt x="110" y="277"/>
                  </a:lnTo>
                  <a:lnTo>
                    <a:pt x="109" y="277"/>
                  </a:lnTo>
                  <a:lnTo>
                    <a:pt x="109" y="277"/>
                  </a:lnTo>
                  <a:lnTo>
                    <a:pt x="107" y="277"/>
                  </a:lnTo>
                  <a:lnTo>
                    <a:pt x="102" y="277"/>
                  </a:lnTo>
                  <a:lnTo>
                    <a:pt x="96" y="277"/>
                  </a:lnTo>
                  <a:lnTo>
                    <a:pt x="93" y="277"/>
                  </a:lnTo>
                  <a:lnTo>
                    <a:pt x="93" y="275"/>
                  </a:lnTo>
                  <a:lnTo>
                    <a:pt x="93" y="267"/>
                  </a:lnTo>
                  <a:lnTo>
                    <a:pt x="93" y="261"/>
                  </a:lnTo>
                  <a:lnTo>
                    <a:pt x="93" y="256"/>
                  </a:lnTo>
                  <a:lnTo>
                    <a:pt x="93" y="253"/>
                  </a:lnTo>
                  <a:lnTo>
                    <a:pt x="93" y="249"/>
                  </a:lnTo>
                  <a:lnTo>
                    <a:pt x="93" y="248"/>
                  </a:lnTo>
                  <a:lnTo>
                    <a:pt x="93" y="248"/>
                  </a:lnTo>
                  <a:lnTo>
                    <a:pt x="93" y="246"/>
                  </a:lnTo>
                  <a:lnTo>
                    <a:pt x="93" y="243"/>
                  </a:lnTo>
                  <a:lnTo>
                    <a:pt x="93" y="241"/>
                  </a:lnTo>
                  <a:lnTo>
                    <a:pt x="93" y="236"/>
                  </a:lnTo>
                  <a:lnTo>
                    <a:pt x="93" y="234"/>
                  </a:lnTo>
                  <a:lnTo>
                    <a:pt x="93" y="231"/>
                  </a:lnTo>
                  <a:lnTo>
                    <a:pt x="84" y="231"/>
                  </a:lnTo>
                  <a:lnTo>
                    <a:pt x="83" y="231"/>
                  </a:lnTo>
                  <a:lnTo>
                    <a:pt x="81" y="231"/>
                  </a:lnTo>
                  <a:lnTo>
                    <a:pt x="79" y="231"/>
                  </a:lnTo>
                  <a:lnTo>
                    <a:pt x="78" y="231"/>
                  </a:lnTo>
                  <a:lnTo>
                    <a:pt x="78" y="232"/>
                  </a:lnTo>
                  <a:lnTo>
                    <a:pt x="72" y="232"/>
                  </a:lnTo>
                  <a:lnTo>
                    <a:pt x="66" y="232"/>
                  </a:lnTo>
                  <a:lnTo>
                    <a:pt x="64" y="232"/>
                  </a:lnTo>
                  <a:lnTo>
                    <a:pt x="59" y="232"/>
                  </a:lnTo>
                  <a:lnTo>
                    <a:pt x="55" y="232"/>
                  </a:lnTo>
                  <a:lnTo>
                    <a:pt x="53" y="232"/>
                  </a:lnTo>
                  <a:lnTo>
                    <a:pt x="48" y="232"/>
                  </a:lnTo>
                  <a:lnTo>
                    <a:pt x="47" y="232"/>
                  </a:lnTo>
                  <a:lnTo>
                    <a:pt x="47" y="225"/>
                  </a:lnTo>
                  <a:lnTo>
                    <a:pt x="45" y="224"/>
                  </a:lnTo>
                  <a:lnTo>
                    <a:pt x="45" y="218"/>
                  </a:lnTo>
                  <a:lnTo>
                    <a:pt x="45" y="217"/>
                  </a:lnTo>
                  <a:lnTo>
                    <a:pt x="45" y="215"/>
                  </a:lnTo>
                  <a:lnTo>
                    <a:pt x="45" y="213"/>
                  </a:lnTo>
                  <a:lnTo>
                    <a:pt x="45" y="212"/>
                  </a:lnTo>
                  <a:lnTo>
                    <a:pt x="45" y="208"/>
                  </a:lnTo>
                  <a:lnTo>
                    <a:pt x="45" y="201"/>
                  </a:lnTo>
                  <a:lnTo>
                    <a:pt x="45" y="200"/>
                  </a:lnTo>
                  <a:lnTo>
                    <a:pt x="45" y="198"/>
                  </a:lnTo>
                  <a:lnTo>
                    <a:pt x="45" y="196"/>
                  </a:lnTo>
                  <a:lnTo>
                    <a:pt x="45" y="191"/>
                  </a:lnTo>
                  <a:lnTo>
                    <a:pt x="45" y="189"/>
                  </a:lnTo>
                  <a:lnTo>
                    <a:pt x="45" y="188"/>
                  </a:lnTo>
                  <a:lnTo>
                    <a:pt x="45" y="186"/>
                  </a:lnTo>
                  <a:lnTo>
                    <a:pt x="43" y="186"/>
                  </a:lnTo>
                  <a:lnTo>
                    <a:pt x="41" y="186"/>
                  </a:lnTo>
                  <a:lnTo>
                    <a:pt x="40" y="186"/>
                  </a:lnTo>
                  <a:lnTo>
                    <a:pt x="38" y="186"/>
                  </a:lnTo>
                  <a:lnTo>
                    <a:pt x="36" y="186"/>
                  </a:lnTo>
                  <a:lnTo>
                    <a:pt x="35" y="186"/>
                  </a:lnTo>
                  <a:lnTo>
                    <a:pt x="33" y="186"/>
                  </a:lnTo>
                  <a:lnTo>
                    <a:pt x="29" y="186"/>
                  </a:lnTo>
                  <a:lnTo>
                    <a:pt x="28" y="186"/>
                  </a:lnTo>
                  <a:lnTo>
                    <a:pt x="23" y="186"/>
                  </a:lnTo>
                  <a:lnTo>
                    <a:pt x="17" y="186"/>
                  </a:lnTo>
                  <a:lnTo>
                    <a:pt x="14" y="186"/>
                  </a:lnTo>
                  <a:lnTo>
                    <a:pt x="9" y="186"/>
                  </a:lnTo>
                  <a:lnTo>
                    <a:pt x="7" y="186"/>
                  </a:lnTo>
                  <a:lnTo>
                    <a:pt x="2" y="186"/>
                  </a:lnTo>
                  <a:lnTo>
                    <a:pt x="0" y="186"/>
                  </a:lnTo>
                  <a:lnTo>
                    <a:pt x="0" y="182"/>
                  </a:lnTo>
                  <a:lnTo>
                    <a:pt x="0" y="181"/>
                  </a:lnTo>
                  <a:lnTo>
                    <a:pt x="0" y="174"/>
                  </a:lnTo>
                  <a:lnTo>
                    <a:pt x="0" y="169"/>
                  </a:lnTo>
                  <a:lnTo>
                    <a:pt x="0" y="165"/>
                  </a:lnTo>
                  <a:lnTo>
                    <a:pt x="0" y="163"/>
                  </a:lnTo>
                  <a:lnTo>
                    <a:pt x="0" y="158"/>
                  </a:lnTo>
                  <a:lnTo>
                    <a:pt x="0" y="151"/>
                  </a:lnTo>
                  <a:lnTo>
                    <a:pt x="0" y="150"/>
                  </a:lnTo>
                  <a:lnTo>
                    <a:pt x="0" y="139"/>
                  </a:lnTo>
                  <a:lnTo>
                    <a:pt x="0" y="138"/>
                  </a:lnTo>
                  <a:lnTo>
                    <a:pt x="0" y="127"/>
                  </a:lnTo>
                  <a:lnTo>
                    <a:pt x="0" y="127"/>
                  </a:lnTo>
                  <a:lnTo>
                    <a:pt x="0" y="114"/>
                  </a:lnTo>
                  <a:lnTo>
                    <a:pt x="0" y="112"/>
                  </a:lnTo>
                  <a:lnTo>
                    <a:pt x="0" y="105"/>
                  </a:lnTo>
                  <a:lnTo>
                    <a:pt x="0" y="98"/>
                  </a:lnTo>
                  <a:lnTo>
                    <a:pt x="0" y="93"/>
                  </a:lnTo>
                  <a:lnTo>
                    <a:pt x="0" y="91"/>
                  </a:lnTo>
                  <a:lnTo>
                    <a:pt x="0" y="88"/>
                  </a:lnTo>
                  <a:lnTo>
                    <a:pt x="0" y="86"/>
                  </a:lnTo>
                  <a:lnTo>
                    <a:pt x="0" y="83"/>
                  </a:lnTo>
                  <a:lnTo>
                    <a:pt x="0" y="77"/>
                  </a:lnTo>
                  <a:lnTo>
                    <a:pt x="0" y="72"/>
                  </a:lnTo>
                  <a:lnTo>
                    <a:pt x="2" y="72"/>
                  </a:lnTo>
                  <a:lnTo>
                    <a:pt x="5" y="72"/>
                  </a:lnTo>
                  <a:lnTo>
                    <a:pt x="10" y="72"/>
                  </a:lnTo>
                  <a:lnTo>
                    <a:pt x="12" y="72"/>
                  </a:lnTo>
                  <a:lnTo>
                    <a:pt x="14" y="72"/>
                  </a:lnTo>
                  <a:lnTo>
                    <a:pt x="16" y="72"/>
                  </a:lnTo>
                  <a:lnTo>
                    <a:pt x="17" y="72"/>
                  </a:lnTo>
                  <a:lnTo>
                    <a:pt x="23" y="72"/>
                  </a:lnTo>
                  <a:lnTo>
                    <a:pt x="33" y="72"/>
                  </a:lnTo>
                  <a:lnTo>
                    <a:pt x="35" y="72"/>
                  </a:lnTo>
                  <a:lnTo>
                    <a:pt x="38" y="72"/>
                  </a:lnTo>
                  <a:lnTo>
                    <a:pt x="45" y="72"/>
                  </a:lnTo>
                  <a:lnTo>
                    <a:pt x="45" y="67"/>
                  </a:lnTo>
                  <a:lnTo>
                    <a:pt x="45" y="62"/>
                  </a:lnTo>
                  <a:lnTo>
                    <a:pt x="45" y="55"/>
                  </a:lnTo>
                  <a:lnTo>
                    <a:pt x="45" y="53"/>
                  </a:lnTo>
                  <a:lnTo>
                    <a:pt x="45" y="52"/>
                  </a:lnTo>
                  <a:lnTo>
                    <a:pt x="45" y="50"/>
                  </a:lnTo>
                  <a:lnTo>
                    <a:pt x="45" y="38"/>
                  </a:lnTo>
                  <a:lnTo>
                    <a:pt x="45" y="36"/>
                  </a:lnTo>
                  <a:lnTo>
                    <a:pt x="45" y="34"/>
                  </a:lnTo>
                  <a:lnTo>
                    <a:pt x="45" y="26"/>
                  </a:lnTo>
                  <a:lnTo>
                    <a:pt x="45" y="22"/>
                  </a:lnTo>
                  <a:lnTo>
                    <a:pt x="45" y="22"/>
                  </a:lnTo>
                  <a:lnTo>
                    <a:pt x="45" y="15"/>
                  </a:lnTo>
                  <a:lnTo>
                    <a:pt x="45" y="12"/>
                  </a:lnTo>
                  <a:lnTo>
                    <a:pt x="45" y="5"/>
                  </a:lnTo>
                  <a:lnTo>
                    <a:pt x="50" y="5"/>
                  </a:lnTo>
                  <a:lnTo>
                    <a:pt x="52" y="5"/>
                  </a:lnTo>
                  <a:lnTo>
                    <a:pt x="53" y="5"/>
                  </a:lnTo>
                  <a:lnTo>
                    <a:pt x="64" y="5"/>
                  </a:lnTo>
                  <a:lnTo>
                    <a:pt x="64" y="5"/>
                  </a:lnTo>
                  <a:lnTo>
                    <a:pt x="69" y="5"/>
                  </a:lnTo>
                  <a:lnTo>
                    <a:pt x="72" y="5"/>
                  </a:lnTo>
                  <a:lnTo>
                    <a:pt x="76" y="5"/>
                  </a:lnTo>
                  <a:lnTo>
                    <a:pt x="78" y="5"/>
                  </a:lnTo>
                  <a:lnTo>
                    <a:pt x="79" y="5"/>
                  </a:lnTo>
                  <a:lnTo>
                    <a:pt x="84" y="5"/>
                  </a:lnTo>
                  <a:lnTo>
                    <a:pt x="90" y="5"/>
                  </a:lnTo>
                  <a:lnTo>
                    <a:pt x="91" y="5"/>
                  </a:lnTo>
                  <a:lnTo>
                    <a:pt x="93" y="5"/>
                  </a:lnTo>
                  <a:lnTo>
                    <a:pt x="103" y="5"/>
                  </a:lnTo>
                  <a:lnTo>
                    <a:pt x="105" y="5"/>
                  </a:lnTo>
                  <a:lnTo>
                    <a:pt x="107" y="5"/>
                  </a:lnTo>
                  <a:lnTo>
                    <a:pt x="110" y="5"/>
                  </a:lnTo>
                  <a:lnTo>
                    <a:pt x="114" y="5"/>
                  </a:lnTo>
                  <a:lnTo>
                    <a:pt x="115" y="5"/>
                  </a:lnTo>
                  <a:lnTo>
                    <a:pt x="121" y="5"/>
                  </a:lnTo>
                  <a:lnTo>
                    <a:pt x="124" y="5"/>
                  </a:lnTo>
                  <a:lnTo>
                    <a:pt x="131" y="5"/>
                  </a:lnTo>
                  <a:lnTo>
                    <a:pt x="136" y="5"/>
                  </a:lnTo>
                  <a:lnTo>
                    <a:pt x="141" y="5"/>
                  </a:lnTo>
                  <a:lnTo>
                    <a:pt x="145" y="5"/>
                  </a:lnTo>
                  <a:lnTo>
                    <a:pt x="148" y="5"/>
                  </a:lnTo>
                  <a:lnTo>
                    <a:pt x="152" y="5"/>
                  </a:lnTo>
                  <a:lnTo>
                    <a:pt x="153" y="5"/>
                  </a:lnTo>
                  <a:lnTo>
                    <a:pt x="157" y="5"/>
                  </a:lnTo>
                  <a:lnTo>
                    <a:pt x="164" y="5"/>
                  </a:lnTo>
                  <a:lnTo>
                    <a:pt x="169" y="3"/>
                  </a:lnTo>
                  <a:lnTo>
                    <a:pt x="170" y="3"/>
                  </a:lnTo>
                  <a:lnTo>
                    <a:pt x="177" y="3"/>
                  </a:lnTo>
                  <a:lnTo>
                    <a:pt x="182" y="3"/>
                  </a:lnTo>
                  <a:lnTo>
                    <a:pt x="184" y="3"/>
                  </a:lnTo>
                  <a:lnTo>
                    <a:pt x="184" y="3"/>
                  </a:lnTo>
                  <a:lnTo>
                    <a:pt x="186" y="3"/>
                  </a:lnTo>
                  <a:lnTo>
                    <a:pt x="189" y="3"/>
                  </a:lnTo>
                  <a:lnTo>
                    <a:pt x="195" y="3"/>
                  </a:lnTo>
                  <a:lnTo>
                    <a:pt x="196" y="3"/>
                  </a:lnTo>
                  <a:lnTo>
                    <a:pt x="198" y="3"/>
                  </a:lnTo>
                  <a:lnTo>
                    <a:pt x="200" y="3"/>
                  </a:lnTo>
                  <a:lnTo>
                    <a:pt x="203" y="3"/>
                  </a:lnTo>
                  <a:lnTo>
                    <a:pt x="207" y="3"/>
                  </a:lnTo>
                  <a:lnTo>
                    <a:pt x="212" y="3"/>
                  </a:lnTo>
                  <a:lnTo>
                    <a:pt x="213" y="3"/>
                  </a:lnTo>
                  <a:lnTo>
                    <a:pt x="215" y="3"/>
                  </a:lnTo>
                  <a:lnTo>
                    <a:pt x="219" y="3"/>
                  </a:lnTo>
                  <a:lnTo>
                    <a:pt x="222" y="3"/>
                  </a:lnTo>
                  <a:lnTo>
                    <a:pt x="229" y="3"/>
                  </a:lnTo>
                  <a:lnTo>
                    <a:pt x="234" y="2"/>
                  </a:lnTo>
                  <a:lnTo>
                    <a:pt x="241" y="2"/>
                  </a:lnTo>
                  <a:lnTo>
                    <a:pt x="246" y="2"/>
                  </a:lnTo>
                  <a:lnTo>
                    <a:pt x="248" y="2"/>
                  </a:lnTo>
                  <a:lnTo>
                    <a:pt x="251" y="2"/>
                  </a:lnTo>
                  <a:lnTo>
                    <a:pt x="255" y="2"/>
                  </a:lnTo>
                  <a:lnTo>
                    <a:pt x="260" y="2"/>
                  </a:lnTo>
                  <a:lnTo>
                    <a:pt x="265" y="2"/>
                  </a:lnTo>
                  <a:lnTo>
                    <a:pt x="272" y="2"/>
                  </a:lnTo>
                  <a:lnTo>
                    <a:pt x="281" y="2"/>
                  </a:lnTo>
                  <a:lnTo>
                    <a:pt x="286" y="2"/>
                  </a:lnTo>
                  <a:lnTo>
                    <a:pt x="289" y="2"/>
                  </a:lnTo>
                  <a:lnTo>
                    <a:pt x="291" y="2"/>
                  </a:lnTo>
                  <a:lnTo>
                    <a:pt x="298" y="2"/>
                  </a:lnTo>
                  <a:lnTo>
                    <a:pt x="299" y="2"/>
                  </a:lnTo>
                  <a:lnTo>
                    <a:pt x="305" y="2"/>
                  </a:lnTo>
                  <a:lnTo>
                    <a:pt x="306" y="2"/>
                  </a:lnTo>
                  <a:lnTo>
                    <a:pt x="308" y="2"/>
                  </a:lnTo>
                  <a:lnTo>
                    <a:pt x="311" y="2"/>
                  </a:lnTo>
                  <a:lnTo>
                    <a:pt x="313" y="2"/>
                  </a:lnTo>
                  <a:lnTo>
                    <a:pt x="318" y="2"/>
                  </a:lnTo>
                  <a:lnTo>
                    <a:pt x="318" y="0"/>
                  </a:lnTo>
                  <a:lnTo>
                    <a:pt x="320" y="0"/>
                  </a:lnTo>
                  <a:lnTo>
                    <a:pt x="320" y="0"/>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6" name="Freeform 177"/>
            <p:cNvSpPr>
              <a:spLocks/>
            </p:cNvSpPr>
            <p:nvPr/>
          </p:nvSpPr>
          <p:spPr bwMode="auto">
            <a:xfrm>
              <a:off x="6423909" y="2663619"/>
              <a:ext cx="363538" cy="573088"/>
            </a:xfrm>
            <a:custGeom>
              <a:avLst/>
              <a:gdLst/>
              <a:ahLst/>
              <a:cxnLst>
                <a:cxn ang="0">
                  <a:pos x="227" y="20"/>
                </a:cxn>
                <a:cxn ang="0">
                  <a:pos x="227" y="56"/>
                </a:cxn>
                <a:cxn ang="0">
                  <a:pos x="227" y="87"/>
                </a:cxn>
                <a:cxn ang="0">
                  <a:pos x="227" y="111"/>
                </a:cxn>
                <a:cxn ang="0">
                  <a:pos x="227" y="129"/>
                </a:cxn>
                <a:cxn ang="0">
                  <a:pos x="227" y="156"/>
                </a:cxn>
                <a:cxn ang="0">
                  <a:pos x="227" y="185"/>
                </a:cxn>
                <a:cxn ang="0">
                  <a:pos x="229" y="206"/>
                </a:cxn>
                <a:cxn ang="0">
                  <a:pos x="217" y="230"/>
                </a:cxn>
                <a:cxn ang="0">
                  <a:pos x="203" y="228"/>
                </a:cxn>
                <a:cxn ang="0">
                  <a:pos x="189" y="228"/>
                </a:cxn>
                <a:cxn ang="0">
                  <a:pos x="169" y="230"/>
                </a:cxn>
                <a:cxn ang="0">
                  <a:pos x="143" y="230"/>
                </a:cxn>
                <a:cxn ang="0">
                  <a:pos x="138" y="237"/>
                </a:cxn>
                <a:cxn ang="0">
                  <a:pos x="138" y="247"/>
                </a:cxn>
                <a:cxn ang="0">
                  <a:pos x="138" y="273"/>
                </a:cxn>
                <a:cxn ang="0">
                  <a:pos x="138" y="302"/>
                </a:cxn>
                <a:cxn ang="0">
                  <a:pos x="138" y="323"/>
                </a:cxn>
                <a:cxn ang="0">
                  <a:pos x="136" y="333"/>
                </a:cxn>
                <a:cxn ang="0">
                  <a:pos x="122" y="335"/>
                </a:cxn>
                <a:cxn ang="0">
                  <a:pos x="114" y="333"/>
                </a:cxn>
                <a:cxn ang="0">
                  <a:pos x="107" y="337"/>
                </a:cxn>
                <a:cxn ang="0">
                  <a:pos x="100" y="333"/>
                </a:cxn>
                <a:cxn ang="0">
                  <a:pos x="93" y="333"/>
                </a:cxn>
                <a:cxn ang="0">
                  <a:pos x="88" y="342"/>
                </a:cxn>
                <a:cxn ang="0">
                  <a:pos x="76" y="352"/>
                </a:cxn>
                <a:cxn ang="0">
                  <a:pos x="59" y="361"/>
                </a:cxn>
                <a:cxn ang="0">
                  <a:pos x="43" y="357"/>
                </a:cxn>
                <a:cxn ang="0">
                  <a:pos x="22" y="349"/>
                </a:cxn>
                <a:cxn ang="0">
                  <a:pos x="14" y="344"/>
                </a:cxn>
                <a:cxn ang="0">
                  <a:pos x="4" y="342"/>
                </a:cxn>
                <a:cxn ang="0">
                  <a:pos x="0" y="333"/>
                </a:cxn>
                <a:cxn ang="0">
                  <a:pos x="0" y="320"/>
                </a:cxn>
                <a:cxn ang="0">
                  <a:pos x="0" y="309"/>
                </a:cxn>
                <a:cxn ang="0">
                  <a:pos x="2" y="292"/>
                </a:cxn>
                <a:cxn ang="0">
                  <a:pos x="2" y="264"/>
                </a:cxn>
                <a:cxn ang="0">
                  <a:pos x="2" y="240"/>
                </a:cxn>
                <a:cxn ang="0">
                  <a:pos x="2" y="221"/>
                </a:cxn>
                <a:cxn ang="0">
                  <a:pos x="2" y="197"/>
                </a:cxn>
                <a:cxn ang="0">
                  <a:pos x="4" y="173"/>
                </a:cxn>
                <a:cxn ang="0">
                  <a:pos x="4" y="154"/>
                </a:cxn>
                <a:cxn ang="0">
                  <a:pos x="4" y="127"/>
                </a:cxn>
                <a:cxn ang="0">
                  <a:pos x="4" y="104"/>
                </a:cxn>
                <a:cxn ang="0">
                  <a:pos x="4" y="91"/>
                </a:cxn>
                <a:cxn ang="0">
                  <a:pos x="4" y="77"/>
                </a:cxn>
                <a:cxn ang="0">
                  <a:pos x="4" y="56"/>
                </a:cxn>
                <a:cxn ang="0">
                  <a:pos x="4" y="32"/>
                </a:cxn>
                <a:cxn ang="0">
                  <a:pos x="5" y="1"/>
                </a:cxn>
                <a:cxn ang="0">
                  <a:pos x="28" y="0"/>
                </a:cxn>
                <a:cxn ang="0">
                  <a:pos x="48" y="0"/>
                </a:cxn>
                <a:cxn ang="0">
                  <a:pos x="71" y="0"/>
                </a:cxn>
                <a:cxn ang="0">
                  <a:pos x="102" y="0"/>
                </a:cxn>
                <a:cxn ang="0">
                  <a:pos x="127" y="1"/>
                </a:cxn>
                <a:cxn ang="0">
                  <a:pos x="146" y="1"/>
                </a:cxn>
                <a:cxn ang="0">
                  <a:pos x="158" y="1"/>
                </a:cxn>
                <a:cxn ang="0">
                  <a:pos x="177" y="1"/>
                </a:cxn>
                <a:cxn ang="0">
                  <a:pos x="224" y="1"/>
                </a:cxn>
              </a:cxnLst>
              <a:rect l="0" t="0" r="r" b="b"/>
              <a:pathLst>
                <a:path w="229" h="361">
                  <a:moveTo>
                    <a:pt x="227" y="1"/>
                  </a:moveTo>
                  <a:lnTo>
                    <a:pt x="227" y="6"/>
                  </a:lnTo>
                  <a:lnTo>
                    <a:pt x="227" y="12"/>
                  </a:lnTo>
                  <a:lnTo>
                    <a:pt x="227" y="15"/>
                  </a:lnTo>
                  <a:lnTo>
                    <a:pt x="227" y="17"/>
                  </a:lnTo>
                  <a:lnTo>
                    <a:pt x="227" y="20"/>
                  </a:lnTo>
                  <a:lnTo>
                    <a:pt x="227" y="22"/>
                  </a:lnTo>
                  <a:lnTo>
                    <a:pt x="227" y="27"/>
                  </a:lnTo>
                  <a:lnTo>
                    <a:pt x="227" y="34"/>
                  </a:lnTo>
                  <a:lnTo>
                    <a:pt x="227" y="41"/>
                  </a:lnTo>
                  <a:lnTo>
                    <a:pt x="227" y="43"/>
                  </a:lnTo>
                  <a:lnTo>
                    <a:pt x="227" y="56"/>
                  </a:lnTo>
                  <a:lnTo>
                    <a:pt x="227" y="56"/>
                  </a:lnTo>
                  <a:lnTo>
                    <a:pt x="227" y="67"/>
                  </a:lnTo>
                  <a:lnTo>
                    <a:pt x="227" y="68"/>
                  </a:lnTo>
                  <a:lnTo>
                    <a:pt x="227" y="79"/>
                  </a:lnTo>
                  <a:lnTo>
                    <a:pt x="227" y="80"/>
                  </a:lnTo>
                  <a:lnTo>
                    <a:pt x="227" y="87"/>
                  </a:lnTo>
                  <a:lnTo>
                    <a:pt x="227" y="92"/>
                  </a:lnTo>
                  <a:lnTo>
                    <a:pt x="227" y="94"/>
                  </a:lnTo>
                  <a:lnTo>
                    <a:pt x="227" y="98"/>
                  </a:lnTo>
                  <a:lnTo>
                    <a:pt x="227" y="103"/>
                  </a:lnTo>
                  <a:lnTo>
                    <a:pt x="227" y="110"/>
                  </a:lnTo>
                  <a:lnTo>
                    <a:pt x="227" y="111"/>
                  </a:lnTo>
                  <a:lnTo>
                    <a:pt x="227" y="115"/>
                  </a:lnTo>
                  <a:lnTo>
                    <a:pt x="227" y="117"/>
                  </a:lnTo>
                  <a:lnTo>
                    <a:pt x="227" y="120"/>
                  </a:lnTo>
                  <a:lnTo>
                    <a:pt x="227" y="123"/>
                  </a:lnTo>
                  <a:lnTo>
                    <a:pt x="227" y="127"/>
                  </a:lnTo>
                  <a:lnTo>
                    <a:pt x="227" y="129"/>
                  </a:lnTo>
                  <a:lnTo>
                    <a:pt x="227" y="132"/>
                  </a:lnTo>
                  <a:lnTo>
                    <a:pt x="227" y="137"/>
                  </a:lnTo>
                  <a:lnTo>
                    <a:pt x="227" y="139"/>
                  </a:lnTo>
                  <a:lnTo>
                    <a:pt x="227" y="142"/>
                  </a:lnTo>
                  <a:lnTo>
                    <a:pt x="227" y="147"/>
                  </a:lnTo>
                  <a:lnTo>
                    <a:pt x="227" y="156"/>
                  </a:lnTo>
                  <a:lnTo>
                    <a:pt x="227" y="161"/>
                  </a:lnTo>
                  <a:lnTo>
                    <a:pt x="227" y="161"/>
                  </a:lnTo>
                  <a:lnTo>
                    <a:pt x="227" y="170"/>
                  </a:lnTo>
                  <a:lnTo>
                    <a:pt x="227" y="172"/>
                  </a:lnTo>
                  <a:lnTo>
                    <a:pt x="227" y="182"/>
                  </a:lnTo>
                  <a:lnTo>
                    <a:pt x="227" y="185"/>
                  </a:lnTo>
                  <a:lnTo>
                    <a:pt x="227" y="189"/>
                  </a:lnTo>
                  <a:lnTo>
                    <a:pt x="229" y="190"/>
                  </a:lnTo>
                  <a:lnTo>
                    <a:pt x="227" y="194"/>
                  </a:lnTo>
                  <a:lnTo>
                    <a:pt x="229" y="197"/>
                  </a:lnTo>
                  <a:lnTo>
                    <a:pt x="229" y="199"/>
                  </a:lnTo>
                  <a:lnTo>
                    <a:pt x="229" y="206"/>
                  </a:lnTo>
                  <a:lnTo>
                    <a:pt x="229" y="208"/>
                  </a:lnTo>
                  <a:lnTo>
                    <a:pt x="229" y="227"/>
                  </a:lnTo>
                  <a:lnTo>
                    <a:pt x="229" y="228"/>
                  </a:lnTo>
                  <a:lnTo>
                    <a:pt x="222" y="230"/>
                  </a:lnTo>
                  <a:lnTo>
                    <a:pt x="220" y="230"/>
                  </a:lnTo>
                  <a:lnTo>
                    <a:pt x="217" y="230"/>
                  </a:lnTo>
                  <a:lnTo>
                    <a:pt x="215" y="230"/>
                  </a:lnTo>
                  <a:lnTo>
                    <a:pt x="213" y="230"/>
                  </a:lnTo>
                  <a:lnTo>
                    <a:pt x="212" y="230"/>
                  </a:lnTo>
                  <a:lnTo>
                    <a:pt x="208" y="228"/>
                  </a:lnTo>
                  <a:lnTo>
                    <a:pt x="207" y="228"/>
                  </a:lnTo>
                  <a:lnTo>
                    <a:pt x="203" y="228"/>
                  </a:lnTo>
                  <a:lnTo>
                    <a:pt x="200" y="228"/>
                  </a:lnTo>
                  <a:lnTo>
                    <a:pt x="200" y="228"/>
                  </a:lnTo>
                  <a:lnTo>
                    <a:pt x="198" y="228"/>
                  </a:lnTo>
                  <a:lnTo>
                    <a:pt x="194" y="228"/>
                  </a:lnTo>
                  <a:lnTo>
                    <a:pt x="191" y="228"/>
                  </a:lnTo>
                  <a:lnTo>
                    <a:pt x="189" y="228"/>
                  </a:lnTo>
                  <a:lnTo>
                    <a:pt x="188" y="228"/>
                  </a:lnTo>
                  <a:lnTo>
                    <a:pt x="184" y="230"/>
                  </a:lnTo>
                  <a:lnTo>
                    <a:pt x="181" y="230"/>
                  </a:lnTo>
                  <a:lnTo>
                    <a:pt x="177" y="230"/>
                  </a:lnTo>
                  <a:lnTo>
                    <a:pt x="174" y="230"/>
                  </a:lnTo>
                  <a:lnTo>
                    <a:pt x="169" y="230"/>
                  </a:lnTo>
                  <a:lnTo>
                    <a:pt x="167" y="230"/>
                  </a:lnTo>
                  <a:lnTo>
                    <a:pt x="162" y="230"/>
                  </a:lnTo>
                  <a:lnTo>
                    <a:pt x="157" y="230"/>
                  </a:lnTo>
                  <a:lnTo>
                    <a:pt x="155" y="230"/>
                  </a:lnTo>
                  <a:lnTo>
                    <a:pt x="146" y="230"/>
                  </a:lnTo>
                  <a:lnTo>
                    <a:pt x="143" y="230"/>
                  </a:lnTo>
                  <a:lnTo>
                    <a:pt x="141" y="230"/>
                  </a:lnTo>
                  <a:lnTo>
                    <a:pt x="138" y="230"/>
                  </a:lnTo>
                  <a:lnTo>
                    <a:pt x="138" y="234"/>
                  </a:lnTo>
                  <a:lnTo>
                    <a:pt x="138" y="235"/>
                  </a:lnTo>
                  <a:lnTo>
                    <a:pt x="138" y="237"/>
                  </a:lnTo>
                  <a:lnTo>
                    <a:pt x="138" y="237"/>
                  </a:lnTo>
                  <a:lnTo>
                    <a:pt x="138" y="239"/>
                  </a:lnTo>
                  <a:lnTo>
                    <a:pt x="138" y="240"/>
                  </a:lnTo>
                  <a:lnTo>
                    <a:pt x="138" y="242"/>
                  </a:lnTo>
                  <a:lnTo>
                    <a:pt x="138" y="244"/>
                  </a:lnTo>
                  <a:lnTo>
                    <a:pt x="138" y="246"/>
                  </a:lnTo>
                  <a:lnTo>
                    <a:pt x="138" y="247"/>
                  </a:lnTo>
                  <a:lnTo>
                    <a:pt x="138" y="249"/>
                  </a:lnTo>
                  <a:lnTo>
                    <a:pt x="138" y="252"/>
                  </a:lnTo>
                  <a:lnTo>
                    <a:pt x="138" y="254"/>
                  </a:lnTo>
                  <a:lnTo>
                    <a:pt x="138" y="261"/>
                  </a:lnTo>
                  <a:lnTo>
                    <a:pt x="138" y="263"/>
                  </a:lnTo>
                  <a:lnTo>
                    <a:pt x="138" y="273"/>
                  </a:lnTo>
                  <a:lnTo>
                    <a:pt x="138" y="275"/>
                  </a:lnTo>
                  <a:lnTo>
                    <a:pt x="138" y="280"/>
                  </a:lnTo>
                  <a:lnTo>
                    <a:pt x="138" y="283"/>
                  </a:lnTo>
                  <a:lnTo>
                    <a:pt x="138" y="292"/>
                  </a:lnTo>
                  <a:lnTo>
                    <a:pt x="138" y="297"/>
                  </a:lnTo>
                  <a:lnTo>
                    <a:pt x="138" y="302"/>
                  </a:lnTo>
                  <a:lnTo>
                    <a:pt x="138" y="306"/>
                  </a:lnTo>
                  <a:lnTo>
                    <a:pt x="138" y="311"/>
                  </a:lnTo>
                  <a:lnTo>
                    <a:pt x="138" y="313"/>
                  </a:lnTo>
                  <a:lnTo>
                    <a:pt x="138" y="314"/>
                  </a:lnTo>
                  <a:lnTo>
                    <a:pt x="138" y="316"/>
                  </a:lnTo>
                  <a:lnTo>
                    <a:pt x="138" y="323"/>
                  </a:lnTo>
                  <a:lnTo>
                    <a:pt x="138" y="326"/>
                  </a:lnTo>
                  <a:lnTo>
                    <a:pt x="138" y="328"/>
                  </a:lnTo>
                  <a:lnTo>
                    <a:pt x="138" y="330"/>
                  </a:lnTo>
                  <a:lnTo>
                    <a:pt x="138" y="332"/>
                  </a:lnTo>
                  <a:lnTo>
                    <a:pt x="138" y="333"/>
                  </a:lnTo>
                  <a:lnTo>
                    <a:pt x="136" y="333"/>
                  </a:lnTo>
                  <a:lnTo>
                    <a:pt x="133" y="333"/>
                  </a:lnTo>
                  <a:lnTo>
                    <a:pt x="131" y="333"/>
                  </a:lnTo>
                  <a:lnTo>
                    <a:pt x="127" y="333"/>
                  </a:lnTo>
                  <a:lnTo>
                    <a:pt x="126" y="333"/>
                  </a:lnTo>
                  <a:lnTo>
                    <a:pt x="124" y="335"/>
                  </a:lnTo>
                  <a:lnTo>
                    <a:pt x="122" y="335"/>
                  </a:lnTo>
                  <a:lnTo>
                    <a:pt x="119" y="335"/>
                  </a:lnTo>
                  <a:lnTo>
                    <a:pt x="117" y="335"/>
                  </a:lnTo>
                  <a:lnTo>
                    <a:pt x="117" y="333"/>
                  </a:lnTo>
                  <a:lnTo>
                    <a:pt x="115" y="335"/>
                  </a:lnTo>
                  <a:lnTo>
                    <a:pt x="115" y="333"/>
                  </a:lnTo>
                  <a:lnTo>
                    <a:pt x="114" y="333"/>
                  </a:lnTo>
                  <a:lnTo>
                    <a:pt x="114" y="335"/>
                  </a:lnTo>
                  <a:lnTo>
                    <a:pt x="112" y="335"/>
                  </a:lnTo>
                  <a:lnTo>
                    <a:pt x="110" y="335"/>
                  </a:lnTo>
                  <a:lnTo>
                    <a:pt x="108" y="335"/>
                  </a:lnTo>
                  <a:lnTo>
                    <a:pt x="108" y="335"/>
                  </a:lnTo>
                  <a:lnTo>
                    <a:pt x="107" y="337"/>
                  </a:lnTo>
                  <a:lnTo>
                    <a:pt x="105" y="337"/>
                  </a:lnTo>
                  <a:lnTo>
                    <a:pt x="105" y="335"/>
                  </a:lnTo>
                  <a:lnTo>
                    <a:pt x="103" y="335"/>
                  </a:lnTo>
                  <a:lnTo>
                    <a:pt x="103" y="333"/>
                  </a:lnTo>
                  <a:lnTo>
                    <a:pt x="102" y="333"/>
                  </a:lnTo>
                  <a:lnTo>
                    <a:pt x="100" y="333"/>
                  </a:lnTo>
                  <a:lnTo>
                    <a:pt x="100" y="332"/>
                  </a:lnTo>
                  <a:lnTo>
                    <a:pt x="98" y="332"/>
                  </a:lnTo>
                  <a:lnTo>
                    <a:pt x="96" y="332"/>
                  </a:lnTo>
                  <a:lnTo>
                    <a:pt x="95" y="332"/>
                  </a:lnTo>
                  <a:lnTo>
                    <a:pt x="95" y="333"/>
                  </a:lnTo>
                  <a:lnTo>
                    <a:pt x="93" y="333"/>
                  </a:lnTo>
                  <a:lnTo>
                    <a:pt x="93" y="335"/>
                  </a:lnTo>
                  <a:lnTo>
                    <a:pt x="91" y="335"/>
                  </a:lnTo>
                  <a:lnTo>
                    <a:pt x="90" y="337"/>
                  </a:lnTo>
                  <a:lnTo>
                    <a:pt x="90" y="338"/>
                  </a:lnTo>
                  <a:lnTo>
                    <a:pt x="88" y="340"/>
                  </a:lnTo>
                  <a:lnTo>
                    <a:pt x="88" y="342"/>
                  </a:lnTo>
                  <a:lnTo>
                    <a:pt x="86" y="342"/>
                  </a:lnTo>
                  <a:lnTo>
                    <a:pt x="86" y="344"/>
                  </a:lnTo>
                  <a:lnTo>
                    <a:pt x="84" y="345"/>
                  </a:lnTo>
                  <a:lnTo>
                    <a:pt x="84" y="347"/>
                  </a:lnTo>
                  <a:lnTo>
                    <a:pt x="78" y="350"/>
                  </a:lnTo>
                  <a:lnTo>
                    <a:pt x="76" y="352"/>
                  </a:lnTo>
                  <a:lnTo>
                    <a:pt x="74" y="352"/>
                  </a:lnTo>
                  <a:lnTo>
                    <a:pt x="67" y="357"/>
                  </a:lnTo>
                  <a:lnTo>
                    <a:pt x="62" y="359"/>
                  </a:lnTo>
                  <a:lnTo>
                    <a:pt x="62" y="361"/>
                  </a:lnTo>
                  <a:lnTo>
                    <a:pt x="60" y="361"/>
                  </a:lnTo>
                  <a:lnTo>
                    <a:pt x="59" y="361"/>
                  </a:lnTo>
                  <a:lnTo>
                    <a:pt x="57" y="361"/>
                  </a:lnTo>
                  <a:lnTo>
                    <a:pt x="53" y="361"/>
                  </a:lnTo>
                  <a:lnTo>
                    <a:pt x="50" y="359"/>
                  </a:lnTo>
                  <a:lnTo>
                    <a:pt x="48" y="359"/>
                  </a:lnTo>
                  <a:lnTo>
                    <a:pt x="47" y="357"/>
                  </a:lnTo>
                  <a:lnTo>
                    <a:pt x="43" y="357"/>
                  </a:lnTo>
                  <a:lnTo>
                    <a:pt x="41" y="357"/>
                  </a:lnTo>
                  <a:lnTo>
                    <a:pt x="31" y="354"/>
                  </a:lnTo>
                  <a:lnTo>
                    <a:pt x="29" y="354"/>
                  </a:lnTo>
                  <a:lnTo>
                    <a:pt x="28" y="352"/>
                  </a:lnTo>
                  <a:lnTo>
                    <a:pt x="24" y="350"/>
                  </a:lnTo>
                  <a:lnTo>
                    <a:pt x="22" y="349"/>
                  </a:lnTo>
                  <a:lnTo>
                    <a:pt x="21" y="347"/>
                  </a:lnTo>
                  <a:lnTo>
                    <a:pt x="19" y="345"/>
                  </a:lnTo>
                  <a:lnTo>
                    <a:pt x="19" y="344"/>
                  </a:lnTo>
                  <a:lnTo>
                    <a:pt x="17" y="344"/>
                  </a:lnTo>
                  <a:lnTo>
                    <a:pt x="16" y="344"/>
                  </a:lnTo>
                  <a:lnTo>
                    <a:pt x="14" y="344"/>
                  </a:lnTo>
                  <a:lnTo>
                    <a:pt x="7" y="342"/>
                  </a:lnTo>
                  <a:lnTo>
                    <a:pt x="5" y="342"/>
                  </a:lnTo>
                  <a:lnTo>
                    <a:pt x="4" y="342"/>
                  </a:lnTo>
                  <a:lnTo>
                    <a:pt x="4" y="340"/>
                  </a:lnTo>
                  <a:lnTo>
                    <a:pt x="4" y="340"/>
                  </a:lnTo>
                  <a:lnTo>
                    <a:pt x="4" y="342"/>
                  </a:lnTo>
                  <a:lnTo>
                    <a:pt x="2" y="342"/>
                  </a:lnTo>
                  <a:lnTo>
                    <a:pt x="0" y="342"/>
                  </a:lnTo>
                  <a:lnTo>
                    <a:pt x="0" y="340"/>
                  </a:lnTo>
                  <a:lnTo>
                    <a:pt x="0" y="338"/>
                  </a:lnTo>
                  <a:lnTo>
                    <a:pt x="0" y="337"/>
                  </a:lnTo>
                  <a:lnTo>
                    <a:pt x="0" y="333"/>
                  </a:lnTo>
                  <a:lnTo>
                    <a:pt x="0" y="332"/>
                  </a:lnTo>
                  <a:lnTo>
                    <a:pt x="0" y="328"/>
                  </a:lnTo>
                  <a:lnTo>
                    <a:pt x="0" y="325"/>
                  </a:lnTo>
                  <a:lnTo>
                    <a:pt x="0" y="323"/>
                  </a:lnTo>
                  <a:lnTo>
                    <a:pt x="0" y="321"/>
                  </a:lnTo>
                  <a:lnTo>
                    <a:pt x="0" y="320"/>
                  </a:lnTo>
                  <a:lnTo>
                    <a:pt x="0" y="318"/>
                  </a:lnTo>
                  <a:lnTo>
                    <a:pt x="0" y="316"/>
                  </a:lnTo>
                  <a:lnTo>
                    <a:pt x="0" y="314"/>
                  </a:lnTo>
                  <a:lnTo>
                    <a:pt x="0" y="313"/>
                  </a:lnTo>
                  <a:lnTo>
                    <a:pt x="0" y="311"/>
                  </a:lnTo>
                  <a:lnTo>
                    <a:pt x="0" y="309"/>
                  </a:lnTo>
                  <a:lnTo>
                    <a:pt x="2" y="309"/>
                  </a:lnTo>
                  <a:lnTo>
                    <a:pt x="2" y="307"/>
                  </a:lnTo>
                  <a:lnTo>
                    <a:pt x="2" y="306"/>
                  </a:lnTo>
                  <a:lnTo>
                    <a:pt x="2" y="304"/>
                  </a:lnTo>
                  <a:lnTo>
                    <a:pt x="2" y="297"/>
                  </a:lnTo>
                  <a:lnTo>
                    <a:pt x="2" y="292"/>
                  </a:lnTo>
                  <a:lnTo>
                    <a:pt x="2" y="290"/>
                  </a:lnTo>
                  <a:lnTo>
                    <a:pt x="2" y="289"/>
                  </a:lnTo>
                  <a:lnTo>
                    <a:pt x="2" y="285"/>
                  </a:lnTo>
                  <a:lnTo>
                    <a:pt x="2" y="275"/>
                  </a:lnTo>
                  <a:lnTo>
                    <a:pt x="2" y="268"/>
                  </a:lnTo>
                  <a:lnTo>
                    <a:pt x="2" y="264"/>
                  </a:lnTo>
                  <a:lnTo>
                    <a:pt x="2" y="256"/>
                  </a:lnTo>
                  <a:lnTo>
                    <a:pt x="2" y="252"/>
                  </a:lnTo>
                  <a:lnTo>
                    <a:pt x="2" y="252"/>
                  </a:lnTo>
                  <a:lnTo>
                    <a:pt x="2" y="251"/>
                  </a:lnTo>
                  <a:lnTo>
                    <a:pt x="2" y="242"/>
                  </a:lnTo>
                  <a:lnTo>
                    <a:pt x="2" y="240"/>
                  </a:lnTo>
                  <a:lnTo>
                    <a:pt x="2" y="237"/>
                  </a:lnTo>
                  <a:lnTo>
                    <a:pt x="2" y="235"/>
                  </a:lnTo>
                  <a:lnTo>
                    <a:pt x="2" y="234"/>
                  </a:lnTo>
                  <a:lnTo>
                    <a:pt x="2" y="227"/>
                  </a:lnTo>
                  <a:lnTo>
                    <a:pt x="2" y="223"/>
                  </a:lnTo>
                  <a:lnTo>
                    <a:pt x="2" y="221"/>
                  </a:lnTo>
                  <a:lnTo>
                    <a:pt x="2" y="220"/>
                  </a:lnTo>
                  <a:lnTo>
                    <a:pt x="2" y="218"/>
                  </a:lnTo>
                  <a:lnTo>
                    <a:pt x="2" y="215"/>
                  </a:lnTo>
                  <a:lnTo>
                    <a:pt x="2" y="208"/>
                  </a:lnTo>
                  <a:lnTo>
                    <a:pt x="2" y="204"/>
                  </a:lnTo>
                  <a:lnTo>
                    <a:pt x="2" y="197"/>
                  </a:lnTo>
                  <a:lnTo>
                    <a:pt x="4" y="190"/>
                  </a:lnTo>
                  <a:lnTo>
                    <a:pt x="4" y="189"/>
                  </a:lnTo>
                  <a:lnTo>
                    <a:pt x="4" y="182"/>
                  </a:lnTo>
                  <a:lnTo>
                    <a:pt x="4" y="180"/>
                  </a:lnTo>
                  <a:lnTo>
                    <a:pt x="4" y="177"/>
                  </a:lnTo>
                  <a:lnTo>
                    <a:pt x="4" y="173"/>
                  </a:lnTo>
                  <a:lnTo>
                    <a:pt x="4" y="166"/>
                  </a:lnTo>
                  <a:lnTo>
                    <a:pt x="4" y="165"/>
                  </a:lnTo>
                  <a:lnTo>
                    <a:pt x="4" y="161"/>
                  </a:lnTo>
                  <a:lnTo>
                    <a:pt x="4" y="161"/>
                  </a:lnTo>
                  <a:lnTo>
                    <a:pt x="4" y="160"/>
                  </a:lnTo>
                  <a:lnTo>
                    <a:pt x="4" y="154"/>
                  </a:lnTo>
                  <a:lnTo>
                    <a:pt x="4" y="147"/>
                  </a:lnTo>
                  <a:lnTo>
                    <a:pt x="4" y="147"/>
                  </a:lnTo>
                  <a:lnTo>
                    <a:pt x="4" y="141"/>
                  </a:lnTo>
                  <a:lnTo>
                    <a:pt x="4" y="137"/>
                  </a:lnTo>
                  <a:lnTo>
                    <a:pt x="4" y="135"/>
                  </a:lnTo>
                  <a:lnTo>
                    <a:pt x="4" y="127"/>
                  </a:lnTo>
                  <a:lnTo>
                    <a:pt x="4" y="125"/>
                  </a:lnTo>
                  <a:lnTo>
                    <a:pt x="4" y="115"/>
                  </a:lnTo>
                  <a:lnTo>
                    <a:pt x="4" y="113"/>
                  </a:lnTo>
                  <a:lnTo>
                    <a:pt x="4" y="111"/>
                  </a:lnTo>
                  <a:lnTo>
                    <a:pt x="4" y="108"/>
                  </a:lnTo>
                  <a:lnTo>
                    <a:pt x="4" y="104"/>
                  </a:lnTo>
                  <a:lnTo>
                    <a:pt x="4" y="101"/>
                  </a:lnTo>
                  <a:lnTo>
                    <a:pt x="4" y="99"/>
                  </a:lnTo>
                  <a:lnTo>
                    <a:pt x="4" y="96"/>
                  </a:lnTo>
                  <a:lnTo>
                    <a:pt x="4" y="92"/>
                  </a:lnTo>
                  <a:lnTo>
                    <a:pt x="4" y="91"/>
                  </a:lnTo>
                  <a:lnTo>
                    <a:pt x="4" y="91"/>
                  </a:lnTo>
                  <a:lnTo>
                    <a:pt x="4" y="91"/>
                  </a:lnTo>
                  <a:lnTo>
                    <a:pt x="4" y="89"/>
                  </a:lnTo>
                  <a:lnTo>
                    <a:pt x="4" y="82"/>
                  </a:lnTo>
                  <a:lnTo>
                    <a:pt x="4" y="80"/>
                  </a:lnTo>
                  <a:lnTo>
                    <a:pt x="4" y="79"/>
                  </a:lnTo>
                  <a:lnTo>
                    <a:pt x="4" y="77"/>
                  </a:lnTo>
                  <a:lnTo>
                    <a:pt x="4" y="70"/>
                  </a:lnTo>
                  <a:lnTo>
                    <a:pt x="4" y="68"/>
                  </a:lnTo>
                  <a:lnTo>
                    <a:pt x="4" y="61"/>
                  </a:lnTo>
                  <a:lnTo>
                    <a:pt x="4" y="58"/>
                  </a:lnTo>
                  <a:lnTo>
                    <a:pt x="4" y="56"/>
                  </a:lnTo>
                  <a:lnTo>
                    <a:pt x="4" y="56"/>
                  </a:lnTo>
                  <a:lnTo>
                    <a:pt x="4" y="53"/>
                  </a:lnTo>
                  <a:lnTo>
                    <a:pt x="4" y="49"/>
                  </a:lnTo>
                  <a:lnTo>
                    <a:pt x="4" y="39"/>
                  </a:lnTo>
                  <a:lnTo>
                    <a:pt x="4" y="37"/>
                  </a:lnTo>
                  <a:lnTo>
                    <a:pt x="4" y="34"/>
                  </a:lnTo>
                  <a:lnTo>
                    <a:pt x="4" y="32"/>
                  </a:lnTo>
                  <a:lnTo>
                    <a:pt x="4" y="31"/>
                  </a:lnTo>
                  <a:lnTo>
                    <a:pt x="4" y="24"/>
                  </a:lnTo>
                  <a:lnTo>
                    <a:pt x="4" y="17"/>
                  </a:lnTo>
                  <a:lnTo>
                    <a:pt x="4" y="15"/>
                  </a:lnTo>
                  <a:lnTo>
                    <a:pt x="5" y="12"/>
                  </a:lnTo>
                  <a:lnTo>
                    <a:pt x="5" y="1"/>
                  </a:lnTo>
                  <a:lnTo>
                    <a:pt x="5" y="0"/>
                  </a:lnTo>
                  <a:lnTo>
                    <a:pt x="9" y="0"/>
                  </a:lnTo>
                  <a:lnTo>
                    <a:pt x="16" y="0"/>
                  </a:lnTo>
                  <a:lnTo>
                    <a:pt x="17" y="0"/>
                  </a:lnTo>
                  <a:lnTo>
                    <a:pt x="22" y="0"/>
                  </a:lnTo>
                  <a:lnTo>
                    <a:pt x="28" y="0"/>
                  </a:lnTo>
                  <a:lnTo>
                    <a:pt x="33" y="0"/>
                  </a:lnTo>
                  <a:lnTo>
                    <a:pt x="38" y="0"/>
                  </a:lnTo>
                  <a:lnTo>
                    <a:pt x="43" y="0"/>
                  </a:lnTo>
                  <a:lnTo>
                    <a:pt x="45" y="0"/>
                  </a:lnTo>
                  <a:lnTo>
                    <a:pt x="48" y="0"/>
                  </a:lnTo>
                  <a:lnTo>
                    <a:pt x="48" y="0"/>
                  </a:lnTo>
                  <a:lnTo>
                    <a:pt x="50" y="0"/>
                  </a:lnTo>
                  <a:lnTo>
                    <a:pt x="60" y="0"/>
                  </a:lnTo>
                  <a:lnTo>
                    <a:pt x="64" y="0"/>
                  </a:lnTo>
                  <a:lnTo>
                    <a:pt x="65" y="0"/>
                  </a:lnTo>
                  <a:lnTo>
                    <a:pt x="67" y="0"/>
                  </a:lnTo>
                  <a:lnTo>
                    <a:pt x="71" y="0"/>
                  </a:lnTo>
                  <a:lnTo>
                    <a:pt x="78" y="0"/>
                  </a:lnTo>
                  <a:lnTo>
                    <a:pt x="81" y="0"/>
                  </a:lnTo>
                  <a:lnTo>
                    <a:pt x="83" y="0"/>
                  </a:lnTo>
                  <a:lnTo>
                    <a:pt x="93" y="0"/>
                  </a:lnTo>
                  <a:lnTo>
                    <a:pt x="100" y="0"/>
                  </a:lnTo>
                  <a:lnTo>
                    <a:pt x="102" y="0"/>
                  </a:lnTo>
                  <a:lnTo>
                    <a:pt x="103" y="0"/>
                  </a:lnTo>
                  <a:lnTo>
                    <a:pt x="105" y="0"/>
                  </a:lnTo>
                  <a:lnTo>
                    <a:pt x="107" y="0"/>
                  </a:lnTo>
                  <a:lnTo>
                    <a:pt x="108" y="0"/>
                  </a:lnTo>
                  <a:lnTo>
                    <a:pt x="112" y="0"/>
                  </a:lnTo>
                  <a:lnTo>
                    <a:pt x="127" y="1"/>
                  </a:lnTo>
                  <a:lnTo>
                    <a:pt x="129" y="1"/>
                  </a:lnTo>
                  <a:lnTo>
                    <a:pt x="131" y="1"/>
                  </a:lnTo>
                  <a:lnTo>
                    <a:pt x="138" y="1"/>
                  </a:lnTo>
                  <a:lnTo>
                    <a:pt x="139" y="1"/>
                  </a:lnTo>
                  <a:lnTo>
                    <a:pt x="139" y="1"/>
                  </a:lnTo>
                  <a:lnTo>
                    <a:pt x="146" y="1"/>
                  </a:lnTo>
                  <a:lnTo>
                    <a:pt x="148" y="1"/>
                  </a:lnTo>
                  <a:lnTo>
                    <a:pt x="150" y="1"/>
                  </a:lnTo>
                  <a:lnTo>
                    <a:pt x="153" y="1"/>
                  </a:lnTo>
                  <a:lnTo>
                    <a:pt x="155" y="1"/>
                  </a:lnTo>
                  <a:lnTo>
                    <a:pt x="157" y="1"/>
                  </a:lnTo>
                  <a:lnTo>
                    <a:pt x="158" y="1"/>
                  </a:lnTo>
                  <a:lnTo>
                    <a:pt x="164" y="1"/>
                  </a:lnTo>
                  <a:lnTo>
                    <a:pt x="165" y="1"/>
                  </a:lnTo>
                  <a:lnTo>
                    <a:pt x="169" y="1"/>
                  </a:lnTo>
                  <a:lnTo>
                    <a:pt x="172" y="1"/>
                  </a:lnTo>
                  <a:lnTo>
                    <a:pt x="174" y="1"/>
                  </a:lnTo>
                  <a:lnTo>
                    <a:pt x="177" y="1"/>
                  </a:lnTo>
                  <a:lnTo>
                    <a:pt x="184" y="1"/>
                  </a:lnTo>
                  <a:lnTo>
                    <a:pt x="194" y="1"/>
                  </a:lnTo>
                  <a:lnTo>
                    <a:pt x="201" y="1"/>
                  </a:lnTo>
                  <a:lnTo>
                    <a:pt x="215" y="1"/>
                  </a:lnTo>
                  <a:lnTo>
                    <a:pt x="215" y="1"/>
                  </a:lnTo>
                  <a:lnTo>
                    <a:pt x="224" y="1"/>
                  </a:lnTo>
                  <a:lnTo>
                    <a:pt x="227" y="1"/>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7" name="Freeform 180"/>
            <p:cNvSpPr>
              <a:spLocks/>
            </p:cNvSpPr>
            <p:nvPr/>
          </p:nvSpPr>
          <p:spPr bwMode="auto">
            <a:xfrm>
              <a:off x="6642984" y="2846181"/>
              <a:ext cx="436563" cy="534988"/>
            </a:xfrm>
            <a:custGeom>
              <a:avLst/>
              <a:gdLst/>
              <a:ahLst/>
              <a:cxnLst>
                <a:cxn ang="0">
                  <a:pos x="106" y="0"/>
                </a:cxn>
                <a:cxn ang="0">
                  <a:pos x="125" y="0"/>
                </a:cxn>
                <a:cxn ang="0">
                  <a:pos x="134" y="2"/>
                </a:cxn>
                <a:cxn ang="0">
                  <a:pos x="134" y="15"/>
                </a:cxn>
                <a:cxn ang="0">
                  <a:pos x="134" y="32"/>
                </a:cxn>
                <a:cxn ang="0">
                  <a:pos x="144" y="46"/>
                </a:cxn>
                <a:cxn ang="0">
                  <a:pos x="167" y="45"/>
                </a:cxn>
                <a:cxn ang="0">
                  <a:pos x="182" y="48"/>
                </a:cxn>
                <a:cxn ang="0">
                  <a:pos x="182" y="62"/>
                </a:cxn>
                <a:cxn ang="0">
                  <a:pos x="182" y="89"/>
                </a:cxn>
                <a:cxn ang="0">
                  <a:pos x="198" y="91"/>
                </a:cxn>
                <a:cxn ang="0">
                  <a:pos x="213" y="89"/>
                </a:cxn>
                <a:cxn ang="0">
                  <a:pos x="232" y="89"/>
                </a:cxn>
                <a:cxn ang="0">
                  <a:pos x="254" y="89"/>
                </a:cxn>
                <a:cxn ang="0">
                  <a:pos x="273" y="89"/>
                </a:cxn>
                <a:cxn ang="0">
                  <a:pos x="273" y="106"/>
                </a:cxn>
                <a:cxn ang="0">
                  <a:pos x="273" y="127"/>
                </a:cxn>
                <a:cxn ang="0">
                  <a:pos x="273" y="139"/>
                </a:cxn>
                <a:cxn ang="0">
                  <a:pos x="273" y="167"/>
                </a:cxn>
                <a:cxn ang="0">
                  <a:pos x="273" y="186"/>
                </a:cxn>
                <a:cxn ang="0">
                  <a:pos x="273" y="203"/>
                </a:cxn>
                <a:cxn ang="0">
                  <a:pos x="273" y="220"/>
                </a:cxn>
                <a:cxn ang="0">
                  <a:pos x="273" y="239"/>
                </a:cxn>
                <a:cxn ang="0">
                  <a:pos x="273" y="260"/>
                </a:cxn>
                <a:cxn ang="0">
                  <a:pos x="275" y="272"/>
                </a:cxn>
                <a:cxn ang="0">
                  <a:pos x="275" y="294"/>
                </a:cxn>
                <a:cxn ang="0">
                  <a:pos x="275" y="313"/>
                </a:cxn>
                <a:cxn ang="0">
                  <a:pos x="273" y="337"/>
                </a:cxn>
                <a:cxn ang="0">
                  <a:pos x="265" y="334"/>
                </a:cxn>
                <a:cxn ang="0">
                  <a:pos x="256" y="332"/>
                </a:cxn>
                <a:cxn ang="0">
                  <a:pos x="242" y="320"/>
                </a:cxn>
                <a:cxn ang="0">
                  <a:pos x="232" y="303"/>
                </a:cxn>
                <a:cxn ang="0">
                  <a:pos x="215" y="291"/>
                </a:cxn>
                <a:cxn ang="0">
                  <a:pos x="191" y="299"/>
                </a:cxn>
                <a:cxn ang="0">
                  <a:pos x="173" y="303"/>
                </a:cxn>
                <a:cxn ang="0">
                  <a:pos x="142" y="294"/>
                </a:cxn>
                <a:cxn ang="0">
                  <a:pos x="122" y="289"/>
                </a:cxn>
                <a:cxn ang="0">
                  <a:pos x="117" y="282"/>
                </a:cxn>
                <a:cxn ang="0">
                  <a:pos x="117" y="272"/>
                </a:cxn>
                <a:cxn ang="0">
                  <a:pos x="112" y="261"/>
                </a:cxn>
                <a:cxn ang="0">
                  <a:pos x="106" y="258"/>
                </a:cxn>
                <a:cxn ang="0">
                  <a:pos x="96" y="251"/>
                </a:cxn>
                <a:cxn ang="0">
                  <a:pos x="87" y="241"/>
                </a:cxn>
                <a:cxn ang="0">
                  <a:pos x="77" y="232"/>
                </a:cxn>
                <a:cxn ang="0">
                  <a:pos x="63" y="220"/>
                </a:cxn>
                <a:cxn ang="0">
                  <a:pos x="55" y="218"/>
                </a:cxn>
                <a:cxn ang="0">
                  <a:pos x="39" y="229"/>
                </a:cxn>
                <a:cxn ang="0">
                  <a:pos x="15" y="220"/>
                </a:cxn>
                <a:cxn ang="0">
                  <a:pos x="1" y="218"/>
                </a:cxn>
                <a:cxn ang="0">
                  <a:pos x="0" y="208"/>
                </a:cxn>
                <a:cxn ang="0">
                  <a:pos x="0" y="187"/>
                </a:cxn>
                <a:cxn ang="0">
                  <a:pos x="0" y="158"/>
                </a:cxn>
                <a:cxn ang="0">
                  <a:pos x="0" y="132"/>
                </a:cxn>
                <a:cxn ang="0">
                  <a:pos x="0" y="122"/>
                </a:cxn>
                <a:cxn ang="0">
                  <a:pos x="5" y="115"/>
                </a:cxn>
                <a:cxn ang="0">
                  <a:pos x="31" y="115"/>
                </a:cxn>
                <a:cxn ang="0">
                  <a:pos x="51" y="113"/>
                </a:cxn>
                <a:cxn ang="0">
                  <a:pos x="65" y="113"/>
                </a:cxn>
                <a:cxn ang="0">
                  <a:pos x="79" y="115"/>
                </a:cxn>
                <a:cxn ang="0">
                  <a:pos x="91" y="91"/>
                </a:cxn>
                <a:cxn ang="0">
                  <a:pos x="89" y="70"/>
                </a:cxn>
                <a:cxn ang="0">
                  <a:pos x="89" y="41"/>
                </a:cxn>
                <a:cxn ang="0">
                  <a:pos x="89" y="14"/>
                </a:cxn>
              </a:cxnLst>
              <a:rect l="0" t="0" r="r" b="b"/>
              <a:pathLst>
                <a:path w="275" h="337">
                  <a:moveTo>
                    <a:pt x="89" y="0"/>
                  </a:moveTo>
                  <a:lnTo>
                    <a:pt x="91" y="0"/>
                  </a:lnTo>
                  <a:lnTo>
                    <a:pt x="96" y="0"/>
                  </a:lnTo>
                  <a:lnTo>
                    <a:pt x="98" y="0"/>
                  </a:lnTo>
                  <a:lnTo>
                    <a:pt x="103" y="0"/>
                  </a:lnTo>
                  <a:lnTo>
                    <a:pt x="106" y="0"/>
                  </a:lnTo>
                  <a:lnTo>
                    <a:pt x="112" y="0"/>
                  </a:lnTo>
                  <a:lnTo>
                    <a:pt x="117" y="0"/>
                  </a:lnTo>
                  <a:lnTo>
                    <a:pt x="118" y="0"/>
                  </a:lnTo>
                  <a:lnTo>
                    <a:pt x="122" y="0"/>
                  </a:lnTo>
                  <a:lnTo>
                    <a:pt x="124" y="0"/>
                  </a:lnTo>
                  <a:lnTo>
                    <a:pt x="125" y="0"/>
                  </a:lnTo>
                  <a:lnTo>
                    <a:pt x="127" y="0"/>
                  </a:lnTo>
                  <a:lnTo>
                    <a:pt x="129" y="0"/>
                  </a:lnTo>
                  <a:lnTo>
                    <a:pt x="130" y="0"/>
                  </a:lnTo>
                  <a:lnTo>
                    <a:pt x="132" y="0"/>
                  </a:lnTo>
                  <a:lnTo>
                    <a:pt x="134" y="0"/>
                  </a:lnTo>
                  <a:lnTo>
                    <a:pt x="134" y="2"/>
                  </a:lnTo>
                  <a:lnTo>
                    <a:pt x="134" y="3"/>
                  </a:lnTo>
                  <a:lnTo>
                    <a:pt x="134" y="5"/>
                  </a:lnTo>
                  <a:lnTo>
                    <a:pt x="134" y="10"/>
                  </a:lnTo>
                  <a:lnTo>
                    <a:pt x="134" y="12"/>
                  </a:lnTo>
                  <a:lnTo>
                    <a:pt x="134" y="14"/>
                  </a:lnTo>
                  <a:lnTo>
                    <a:pt x="134" y="15"/>
                  </a:lnTo>
                  <a:lnTo>
                    <a:pt x="134" y="22"/>
                  </a:lnTo>
                  <a:lnTo>
                    <a:pt x="134" y="26"/>
                  </a:lnTo>
                  <a:lnTo>
                    <a:pt x="134" y="27"/>
                  </a:lnTo>
                  <a:lnTo>
                    <a:pt x="134" y="29"/>
                  </a:lnTo>
                  <a:lnTo>
                    <a:pt x="134" y="31"/>
                  </a:lnTo>
                  <a:lnTo>
                    <a:pt x="134" y="32"/>
                  </a:lnTo>
                  <a:lnTo>
                    <a:pt x="134" y="38"/>
                  </a:lnTo>
                  <a:lnTo>
                    <a:pt x="136" y="39"/>
                  </a:lnTo>
                  <a:lnTo>
                    <a:pt x="136" y="46"/>
                  </a:lnTo>
                  <a:lnTo>
                    <a:pt x="137" y="46"/>
                  </a:lnTo>
                  <a:lnTo>
                    <a:pt x="142" y="46"/>
                  </a:lnTo>
                  <a:lnTo>
                    <a:pt x="144" y="46"/>
                  </a:lnTo>
                  <a:lnTo>
                    <a:pt x="148" y="46"/>
                  </a:lnTo>
                  <a:lnTo>
                    <a:pt x="153" y="46"/>
                  </a:lnTo>
                  <a:lnTo>
                    <a:pt x="155" y="46"/>
                  </a:lnTo>
                  <a:lnTo>
                    <a:pt x="161" y="46"/>
                  </a:lnTo>
                  <a:lnTo>
                    <a:pt x="167" y="46"/>
                  </a:lnTo>
                  <a:lnTo>
                    <a:pt x="167" y="45"/>
                  </a:lnTo>
                  <a:lnTo>
                    <a:pt x="168" y="45"/>
                  </a:lnTo>
                  <a:lnTo>
                    <a:pt x="170" y="45"/>
                  </a:lnTo>
                  <a:lnTo>
                    <a:pt x="172" y="45"/>
                  </a:lnTo>
                  <a:lnTo>
                    <a:pt x="173" y="45"/>
                  </a:lnTo>
                  <a:lnTo>
                    <a:pt x="182" y="45"/>
                  </a:lnTo>
                  <a:lnTo>
                    <a:pt x="182" y="48"/>
                  </a:lnTo>
                  <a:lnTo>
                    <a:pt x="182" y="50"/>
                  </a:lnTo>
                  <a:lnTo>
                    <a:pt x="182" y="55"/>
                  </a:lnTo>
                  <a:lnTo>
                    <a:pt x="182" y="57"/>
                  </a:lnTo>
                  <a:lnTo>
                    <a:pt x="182" y="60"/>
                  </a:lnTo>
                  <a:lnTo>
                    <a:pt x="182" y="62"/>
                  </a:lnTo>
                  <a:lnTo>
                    <a:pt x="182" y="62"/>
                  </a:lnTo>
                  <a:lnTo>
                    <a:pt x="182" y="63"/>
                  </a:lnTo>
                  <a:lnTo>
                    <a:pt x="182" y="67"/>
                  </a:lnTo>
                  <a:lnTo>
                    <a:pt x="182" y="70"/>
                  </a:lnTo>
                  <a:lnTo>
                    <a:pt x="182" y="75"/>
                  </a:lnTo>
                  <a:lnTo>
                    <a:pt x="182" y="81"/>
                  </a:lnTo>
                  <a:lnTo>
                    <a:pt x="182" y="89"/>
                  </a:lnTo>
                  <a:lnTo>
                    <a:pt x="182" y="91"/>
                  </a:lnTo>
                  <a:lnTo>
                    <a:pt x="185" y="91"/>
                  </a:lnTo>
                  <a:lnTo>
                    <a:pt x="191" y="91"/>
                  </a:lnTo>
                  <a:lnTo>
                    <a:pt x="196" y="91"/>
                  </a:lnTo>
                  <a:lnTo>
                    <a:pt x="198" y="91"/>
                  </a:lnTo>
                  <a:lnTo>
                    <a:pt x="198" y="91"/>
                  </a:lnTo>
                  <a:lnTo>
                    <a:pt x="199" y="91"/>
                  </a:lnTo>
                  <a:lnTo>
                    <a:pt x="203" y="91"/>
                  </a:lnTo>
                  <a:lnTo>
                    <a:pt x="204" y="91"/>
                  </a:lnTo>
                  <a:lnTo>
                    <a:pt x="206" y="89"/>
                  </a:lnTo>
                  <a:lnTo>
                    <a:pt x="211" y="89"/>
                  </a:lnTo>
                  <a:lnTo>
                    <a:pt x="213" y="89"/>
                  </a:lnTo>
                  <a:lnTo>
                    <a:pt x="215" y="89"/>
                  </a:lnTo>
                  <a:lnTo>
                    <a:pt x="218" y="89"/>
                  </a:lnTo>
                  <a:lnTo>
                    <a:pt x="223" y="89"/>
                  </a:lnTo>
                  <a:lnTo>
                    <a:pt x="225" y="89"/>
                  </a:lnTo>
                  <a:lnTo>
                    <a:pt x="227" y="89"/>
                  </a:lnTo>
                  <a:lnTo>
                    <a:pt x="232" y="89"/>
                  </a:lnTo>
                  <a:lnTo>
                    <a:pt x="234" y="89"/>
                  </a:lnTo>
                  <a:lnTo>
                    <a:pt x="241" y="89"/>
                  </a:lnTo>
                  <a:lnTo>
                    <a:pt x="242" y="89"/>
                  </a:lnTo>
                  <a:lnTo>
                    <a:pt x="244" y="89"/>
                  </a:lnTo>
                  <a:lnTo>
                    <a:pt x="249" y="89"/>
                  </a:lnTo>
                  <a:lnTo>
                    <a:pt x="254" y="89"/>
                  </a:lnTo>
                  <a:lnTo>
                    <a:pt x="256" y="89"/>
                  </a:lnTo>
                  <a:lnTo>
                    <a:pt x="261" y="89"/>
                  </a:lnTo>
                  <a:lnTo>
                    <a:pt x="263" y="89"/>
                  </a:lnTo>
                  <a:lnTo>
                    <a:pt x="266" y="89"/>
                  </a:lnTo>
                  <a:lnTo>
                    <a:pt x="271" y="89"/>
                  </a:lnTo>
                  <a:lnTo>
                    <a:pt x="273" y="89"/>
                  </a:lnTo>
                  <a:lnTo>
                    <a:pt x="273" y="91"/>
                  </a:lnTo>
                  <a:lnTo>
                    <a:pt x="273" y="93"/>
                  </a:lnTo>
                  <a:lnTo>
                    <a:pt x="273" y="93"/>
                  </a:lnTo>
                  <a:lnTo>
                    <a:pt x="273" y="96"/>
                  </a:lnTo>
                  <a:lnTo>
                    <a:pt x="273" y="100"/>
                  </a:lnTo>
                  <a:lnTo>
                    <a:pt x="273" y="106"/>
                  </a:lnTo>
                  <a:lnTo>
                    <a:pt x="273" y="112"/>
                  </a:lnTo>
                  <a:lnTo>
                    <a:pt x="273" y="113"/>
                  </a:lnTo>
                  <a:lnTo>
                    <a:pt x="273" y="115"/>
                  </a:lnTo>
                  <a:lnTo>
                    <a:pt x="273" y="122"/>
                  </a:lnTo>
                  <a:lnTo>
                    <a:pt x="273" y="124"/>
                  </a:lnTo>
                  <a:lnTo>
                    <a:pt x="273" y="127"/>
                  </a:lnTo>
                  <a:lnTo>
                    <a:pt x="273" y="129"/>
                  </a:lnTo>
                  <a:lnTo>
                    <a:pt x="273" y="131"/>
                  </a:lnTo>
                  <a:lnTo>
                    <a:pt x="273" y="132"/>
                  </a:lnTo>
                  <a:lnTo>
                    <a:pt x="273" y="134"/>
                  </a:lnTo>
                  <a:lnTo>
                    <a:pt x="273" y="137"/>
                  </a:lnTo>
                  <a:lnTo>
                    <a:pt x="273" y="139"/>
                  </a:lnTo>
                  <a:lnTo>
                    <a:pt x="273" y="141"/>
                  </a:lnTo>
                  <a:lnTo>
                    <a:pt x="273" y="146"/>
                  </a:lnTo>
                  <a:lnTo>
                    <a:pt x="273" y="153"/>
                  </a:lnTo>
                  <a:lnTo>
                    <a:pt x="273" y="156"/>
                  </a:lnTo>
                  <a:lnTo>
                    <a:pt x="273" y="165"/>
                  </a:lnTo>
                  <a:lnTo>
                    <a:pt x="273" y="167"/>
                  </a:lnTo>
                  <a:lnTo>
                    <a:pt x="273" y="168"/>
                  </a:lnTo>
                  <a:lnTo>
                    <a:pt x="273" y="170"/>
                  </a:lnTo>
                  <a:lnTo>
                    <a:pt x="273" y="175"/>
                  </a:lnTo>
                  <a:lnTo>
                    <a:pt x="273" y="179"/>
                  </a:lnTo>
                  <a:lnTo>
                    <a:pt x="273" y="182"/>
                  </a:lnTo>
                  <a:lnTo>
                    <a:pt x="273" y="186"/>
                  </a:lnTo>
                  <a:lnTo>
                    <a:pt x="273" y="187"/>
                  </a:lnTo>
                  <a:lnTo>
                    <a:pt x="273" y="189"/>
                  </a:lnTo>
                  <a:lnTo>
                    <a:pt x="273" y="194"/>
                  </a:lnTo>
                  <a:lnTo>
                    <a:pt x="273" y="196"/>
                  </a:lnTo>
                  <a:lnTo>
                    <a:pt x="273" y="199"/>
                  </a:lnTo>
                  <a:lnTo>
                    <a:pt x="273" y="203"/>
                  </a:lnTo>
                  <a:lnTo>
                    <a:pt x="273" y="205"/>
                  </a:lnTo>
                  <a:lnTo>
                    <a:pt x="273" y="208"/>
                  </a:lnTo>
                  <a:lnTo>
                    <a:pt x="273" y="213"/>
                  </a:lnTo>
                  <a:lnTo>
                    <a:pt x="273" y="215"/>
                  </a:lnTo>
                  <a:lnTo>
                    <a:pt x="273" y="217"/>
                  </a:lnTo>
                  <a:lnTo>
                    <a:pt x="273" y="220"/>
                  </a:lnTo>
                  <a:lnTo>
                    <a:pt x="273" y="225"/>
                  </a:lnTo>
                  <a:lnTo>
                    <a:pt x="273" y="227"/>
                  </a:lnTo>
                  <a:lnTo>
                    <a:pt x="273" y="229"/>
                  </a:lnTo>
                  <a:lnTo>
                    <a:pt x="273" y="230"/>
                  </a:lnTo>
                  <a:lnTo>
                    <a:pt x="273" y="237"/>
                  </a:lnTo>
                  <a:lnTo>
                    <a:pt x="273" y="239"/>
                  </a:lnTo>
                  <a:lnTo>
                    <a:pt x="273" y="241"/>
                  </a:lnTo>
                  <a:lnTo>
                    <a:pt x="273" y="242"/>
                  </a:lnTo>
                  <a:lnTo>
                    <a:pt x="273" y="248"/>
                  </a:lnTo>
                  <a:lnTo>
                    <a:pt x="273" y="254"/>
                  </a:lnTo>
                  <a:lnTo>
                    <a:pt x="273" y="258"/>
                  </a:lnTo>
                  <a:lnTo>
                    <a:pt x="273" y="260"/>
                  </a:lnTo>
                  <a:lnTo>
                    <a:pt x="273" y="261"/>
                  </a:lnTo>
                  <a:lnTo>
                    <a:pt x="275" y="261"/>
                  </a:lnTo>
                  <a:lnTo>
                    <a:pt x="275" y="263"/>
                  </a:lnTo>
                  <a:lnTo>
                    <a:pt x="275" y="265"/>
                  </a:lnTo>
                  <a:lnTo>
                    <a:pt x="275" y="268"/>
                  </a:lnTo>
                  <a:lnTo>
                    <a:pt x="275" y="272"/>
                  </a:lnTo>
                  <a:lnTo>
                    <a:pt x="275" y="273"/>
                  </a:lnTo>
                  <a:lnTo>
                    <a:pt x="275" y="278"/>
                  </a:lnTo>
                  <a:lnTo>
                    <a:pt x="275" y="284"/>
                  </a:lnTo>
                  <a:lnTo>
                    <a:pt x="275" y="287"/>
                  </a:lnTo>
                  <a:lnTo>
                    <a:pt x="275" y="292"/>
                  </a:lnTo>
                  <a:lnTo>
                    <a:pt x="275" y="294"/>
                  </a:lnTo>
                  <a:lnTo>
                    <a:pt x="275" y="303"/>
                  </a:lnTo>
                  <a:lnTo>
                    <a:pt x="275" y="303"/>
                  </a:lnTo>
                  <a:lnTo>
                    <a:pt x="275" y="308"/>
                  </a:lnTo>
                  <a:lnTo>
                    <a:pt x="275" y="309"/>
                  </a:lnTo>
                  <a:lnTo>
                    <a:pt x="275" y="311"/>
                  </a:lnTo>
                  <a:lnTo>
                    <a:pt x="275" y="313"/>
                  </a:lnTo>
                  <a:lnTo>
                    <a:pt x="275" y="315"/>
                  </a:lnTo>
                  <a:lnTo>
                    <a:pt x="275" y="320"/>
                  </a:lnTo>
                  <a:lnTo>
                    <a:pt x="275" y="328"/>
                  </a:lnTo>
                  <a:lnTo>
                    <a:pt x="275" y="330"/>
                  </a:lnTo>
                  <a:lnTo>
                    <a:pt x="275" y="337"/>
                  </a:lnTo>
                  <a:lnTo>
                    <a:pt x="273" y="337"/>
                  </a:lnTo>
                  <a:lnTo>
                    <a:pt x="273" y="335"/>
                  </a:lnTo>
                  <a:lnTo>
                    <a:pt x="271" y="335"/>
                  </a:lnTo>
                  <a:lnTo>
                    <a:pt x="270" y="335"/>
                  </a:lnTo>
                  <a:lnTo>
                    <a:pt x="268" y="334"/>
                  </a:lnTo>
                  <a:lnTo>
                    <a:pt x="266" y="334"/>
                  </a:lnTo>
                  <a:lnTo>
                    <a:pt x="265" y="334"/>
                  </a:lnTo>
                  <a:lnTo>
                    <a:pt x="263" y="334"/>
                  </a:lnTo>
                  <a:lnTo>
                    <a:pt x="261" y="334"/>
                  </a:lnTo>
                  <a:lnTo>
                    <a:pt x="259" y="334"/>
                  </a:lnTo>
                  <a:lnTo>
                    <a:pt x="258" y="334"/>
                  </a:lnTo>
                  <a:lnTo>
                    <a:pt x="258" y="332"/>
                  </a:lnTo>
                  <a:lnTo>
                    <a:pt x="256" y="332"/>
                  </a:lnTo>
                  <a:lnTo>
                    <a:pt x="254" y="330"/>
                  </a:lnTo>
                  <a:lnTo>
                    <a:pt x="251" y="328"/>
                  </a:lnTo>
                  <a:lnTo>
                    <a:pt x="249" y="327"/>
                  </a:lnTo>
                  <a:lnTo>
                    <a:pt x="244" y="323"/>
                  </a:lnTo>
                  <a:lnTo>
                    <a:pt x="242" y="322"/>
                  </a:lnTo>
                  <a:lnTo>
                    <a:pt x="242" y="320"/>
                  </a:lnTo>
                  <a:lnTo>
                    <a:pt x="242" y="318"/>
                  </a:lnTo>
                  <a:lnTo>
                    <a:pt x="239" y="316"/>
                  </a:lnTo>
                  <a:lnTo>
                    <a:pt x="239" y="313"/>
                  </a:lnTo>
                  <a:lnTo>
                    <a:pt x="235" y="308"/>
                  </a:lnTo>
                  <a:lnTo>
                    <a:pt x="234" y="303"/>
                  </a:lnTo>
                  <a:lnTo>
                    <a:pt x="232" y="303"/>
                  </a:lnTo>
                  <a:lnTo>
                    <a:pt x="230" y="301"/>
                  </a:lnTo>
                  <a:lnTo>
                    <a:pt x="227" y="297"/>
                  </a:lnTo>
                  <a:lnTo>
                    <a:pt x="227" y="296"/>
                  </a:lnTo>
                  <a:lnTo>
                    <a:pt x="220" y="292"/>
                  </a:lnTo>
                  <a:lnTo>
                    <a:pt x="218" y="292"/>
                  </a:lnTo>
                  <a:lnTo>
                    <a:pt x="215" y="291"/>
                  </a:lnTo>
                  <a:lnTo>
                    <a:pt x="213" y="291"/>
                  </a:lnTo>
                  <a:lnTo>
                    <a:pt x="206" y="292"/>
                  </a:lnTo>
                  <a:lnTo>
                    <a:pt x="201" y="294"/>
                  </a:lnTo>
                  <a:lnTo>
                    <a:pt x="199" y="294"/>
                  </a:lnTo>
                  <a:lnTo>
                    <a:pt x="196" y="296"/>
                  </a:lnTo>
                  <a:lnTo>
                    <a:pt x="191" y="299"/>
                  </a:lnTo>
                  <a:lnTo>
                    <a:pt x="185" y="301"/>
                  </a:lnTo>
                  <a:lnTo>
                    <a:pt x="182" y="301"/>
                  </a:lnTo>
                  <a:lnTo>
                    <a:pt x="180" y="303"/>
                  </a:lnTo>
                  <a:lnTo>
                    <a:pt x="179" y="303"/>
                  </a:lnTo>
                  <a:lnTo>
                    <a:pt x="177" y="303"/>
                  </a:lnTo>
                  <a:lnTo>
                    <a:pt x="173" y="303"/>
                  </a:lnTo>
                  <a:lnTo>
                    <a:pt x="170" y="301"/>
                  </a:lnTo>
                  <a:lnTo>
                    <a:pt x="167" y="299"/>
                  </a:lnTo>
                  <a:lnTo>
                    <a:pt x="161" y="297"/>
                  </a:lnTo>
                  <a:lnTo>
                    <a:pt x="155" y="296"/>
                  </a:lnTo>
                  <a:lnTo>
                    <a:pt x="148" y="296"/>
                  </a:lnTo>
                  <a:lnTo>
                    <a:pt x="142" y="294"/>
                  </a:lnTo>
                  <a:lnTo>
                    <a:pt x="137" y="292"/>
                  </a:lnTo>
                  <a:lnTo>
                    <a:pt x="134" y="291"/>
                  </a:lnTo>
                  <a:lnTo>
                    <a:pt x="132" y="289"/>
                  </a:lnTo>
                  <a:lnTo>
                    <a:pt x="130" y="289"/>
                  </a:lnTo>
                  <a:lnTo>
                    <a:pt x="125" y="289"/>
                  </a:lnTo>
                  <a:lnTo>
                    <a:pt x="122" y="289"/>
                  </a:lnTo>
                  <a:lnTo>
                    <a:pt x="122" y="287"/>
                  </a:lnTo>
                  <a:lnTo>
                    <a:pt x="120" y="287"/>
                  </a:lnTo>
                  <a:lnTo>
                    <a:pt x="118" y="285"/>
                  </a:lnTo>
                  <a:lnTo>
                    <a:pt x="117" y="285"/>
                  </a:lnTo>
                  <a:lnTo>
                    <a:pt x="117" y="284"/>
                  </a:lnTo>
                  <a:lnTo>
                    <a:pt x="117" y="282"/>
                  </a:lnTo>
                  <a:lnTo>
                    <a:pt x="115" y="278"/>
                  </a:lnTo>
                  <a:lnTo>
                    <a:pt x="115" y="277"/>
                  </a:lnTo>
                  <a:lnTo>
                    <a:pt x="117" y="275"/>
                  </a:lnTo>
                  <a:lnTo>
                    <a:pt x="117" y="273"/>
                  </a:lnTo>
                  <a:lnTo>
                    <a:pt x="117" y="273"/>
                  </a:lnTo>
                  <a:lnTo>
                    <a:pt x="117" y="272"/>
                  </a:lnTo>
                  <a:lnTo>
                    <a:pt x="117" y="270"/>
                  </a:lnTo>
                  <a:lnTo>
                    <a:pt x="115" y="268"/>
                  </a:lnTo>
                  <a:lnTo>
                    <a:pt x="115" y="266"/>
                  </a:lnTo>
                  <a:lnTo>
                    <a:pt x="113" y="265"/>
                  </a:lnTo>
                  <a:lnTo>
                    <a:pt x="113" y="263"/>
                  </a:lnTo>
                  <a:lnTo>
                    <a:pt x="112" y="261"/>
                  </a:lnTo>
                  <a:lnTo>
                    <a:pt x="112" y="260"/>
                  </a:lnTo>
                  <a:lnTo>
                    <a:pt x="110" y="260"/>
                  </a:lnTo>
                  <a:lnTo>
                    <a:pt x="110" y="258"/>
                  </a:lnTo>
                  <a:lnTo>
                    <a:pt x="108" y="258"/>
                  </a:lnTo>
                  <a:lnTo>
                    <a:pt x="106" y="258"/>
                  </a:lnTo>
                  <a:lnTo>
                    <a:pt x="106" y="258"/>
                  </a:lnTo>
                  <a:lnTo>
                    <a:pt x="105" y="256"/>
                  </a:lnTo>
                  <a:lnTo>
                    <a:pt x="103" y="254"/>
                  </a:lnTo>
                  <a:lnTo>
                    <a:pt x="101" y="254"/>
                  </a:lnTo>
                  <a:lnTo>
                    <a:pt x="99" y="253"/>
                  </a:lnTo>
                  <a:lnTo>
                    <a:pt x="98" y="251"/>
                  </a:lnTo>
                  <a:lnTo>
                    <a:pt x="96" y="251"/>
                  </a:lnTo>
                  <a:lnTo>
                    <a:pt x="94" y="249"/>
                  </a:lnTo>
                  <a:lnTo>
                    <a:pt x="93" y="248"/>
                  </a:lnTo>
                  <a:lnTo>
                    <a:pt x="91" y="246"/>
                  </a:lnTo>
                  <a:lnTo>
                    <a:pt x="91" y="244"/>
                  </a:lnTo>
                  <a:lnTo>
                    <a:pt x="89" y="242"/>
                  </a:lnTo>
                  <a:lnTo>
                    <a:pt x="87" y="241"/>
                  </a:lnTo>
                  <a:lnTo>
                    <a:pt x="86" y="241"/>
                  </a:lnTo>
                  <a:lnTo>
                    <a:pt x="84" y="239"/>
                  </a:lnTo>
                  <a:lnTo>
                    <a:pt x="81" y="237"/>
                  </a:lnTo>
                  <a:lnTo>
                    <a:pt x="77" y="234"/>
                  </a:lnTo>
                  <a:lnTo>
                    <a:pt x="77" y="234"/>
                  </a:lnTo>
                  <a:lnTo>
                    <a:pt x="77" y="232"/>
                  </a:lnTo>
                  <a:lnTo>
                    <a:pt x="74" y="229"/>
                  </a:lnTo>
                  <a:lnTo>
                    <a:pt x="70" y="227"/>
                  </a:lnTo>
                  <a:lnTo>
                    <a:pt x="69" y="225"/>
                  </a:lnTo>
                  <a:lnTo>
                    <a:pt x="67" y="223"/>
                  </a:lnTo>
                  <a:lnTo>
                    <a:pt x="65" y="222"/>
                  </a:lnTo>
                  <a:lnTo>
                    <a:pt x="63" y="220"/>
                  </a:lnTo>
                  <a:lnTo>
                    <a:pt x="62" y="220"/>
                  </a:lnTo>
                  <a:lnTo>
                    <a:pt x="62" y="218"/>
                  </a:lnTo>
                  <a:lnTo>
                    <a:pt x="60" y="218"/>
                  </a:lnTo>
                  <a:lnTo>
                    <a:pt x="58" y="218"/>
                  </a:lnTo>
                  <a:lnTo>
                    <a:pt x="56" y="218"/>
                  </a:lnTo>
                  <a:lnTo>
                    <a:pt x="55" y="218"/>
                  </a:lnTo>
                  <a:lnTo>
                    <a:pt x="55" y="220"/>
                  </a:lnTo>
                  <a:lnTo>
                    <a:pt x="53" y="220"/>
                  </a:lnTo>
                  <a:lnTo>
                    <a:pt x="46" y="229"/>
                  </a:lnTo>
                  <a:lnTo>
                    <a:pt x="44" y="229"/>
                  </a:lnTo>
                  <a:lnTo>
                    <a:pt x="43" y="229"/>
                  </a:lnTo>
                  <a:lnTo>
                    <a:pt x="39" y="229"/>
                  </a:lnTo>
                  <a:lnTo>
                    <a:pt x="36" y="229"/>
                  </a:lnTo>
                  <a:lnTo>
                    <a:pt x="31" y="227"/>
                  </a:lnTo>
                  <a:lnTo>
                    <a:pt x="26" y="225"/>
                  </a:lnTo>
                  <a:lnTo>
                    <a:pt x="22" y="223"/>
                  </a:lnTo>
                  <a:lnTo>
                    <a:pt x="17" y="222"/>
                  </a:lnTo>
                  <a:lnTo>
                    <a:pt x="15" y="220"/>
                  </a:lnTo>
                  <a:lnTo>
                    <a:pt x="13" y="220"/>
                  </a:lnTo>
                  <a:lnTo>
                    <a:pt x="12" y="220"/>
                  </a:lnTo>
                  <a:lnTo>
                    <a:pt x="10" y="218"/>
                  </a:lnTo>
                  <a:lnTo>
                    <a:pt x="8" y="218"/>
                  </a:lnTo>
                  <a:lnTo>
                    <a:pt x="3" y="218"/>
                  </a:lnTo>
                  <a:lnTo>
                    <a:pt x="1" y="218"/>
                  </a:lnTo>
                  <a:lnTo>
                    <a:pt x="0" y="218"/>
                  </a:lnTo>
                  <a:lnTo>
                    <a:pt x="0" y="217"/>
                  </a:lnTo>
                  <a:lnTo>
                    <a:pt x="0" y="215"/>
                  </a:lnTo>
                  <a:lnTo>
                    <a:pt x="0" y="213"/>
                  </a:lnTo>
                  <a:lnTo>
                    <a:pt x="0" y="211"/>
                  </a:lnTo>
                  <a:lnTo>
                    <a:pt x="0" y="208"/>
                  </a:lnTo>
                  <a:lnTo>
                    <a:pt x="0" y="201"/>
                  </a:lnTo>
                  <a:lnTo>
                    <a:pt x="0" y="199"/>
                  </a:lnTo>
                  <a:lnTo>
                    <a:pt x="0" y="198"/>
                  </a:lnTo>
                  <a:lnTo>
                    <a:pt x="0" y="196"/>
                  </a:lnTo>
                  <a:lnTo>
                    <a:pt x="0" y="191"/>
                  </a:lnTo>
                  <a:lnTo>
                    <a:pt x="0" y="187"/>
                  </a:lnTo>
                  <a:lnTo>
                    <a:pt x="0" y="182"/>
                  </a:lnTo>
                  <a:lnTo>
                    <a:pt x="0" y="177"/>
                  </a:lnTo>
                  <a:lnTo>
                    <a:pt x="0" y="168"/>
                  </a:lnTo>
                  <a:lnTo>
                    <a:pt x="0" y="165"/>
                  </a:lnTo>
                  <a:lnTo>
                    <a:pt x="0" y="160"/>
                  </a:lnTo>
                  <a:lnTo>
                    <a:pt x="0" y="158"/>
                  </a:lnTo>
                  <a:lnTo>
                    <a:pt x="0" y="148"/>
                  </a:lnTo>
                  <a:lnTo>
                    <a:pt x="0" y="146"/>
                  </a:lnTo>
                  <a:lnTo>
                    <a:pt x="0" y="139"/>
                  </a:lnTo>
                  <a:lnTo>
                    <a:pt x="0" y="137"/>
                  </a:lnTo>
                  <a:lnTo>
                    <a:pt x="0" y="134"/>
                  </a:lnTo>
                  <a:lnTo>
                    <a:pt x="0" y="132"/>
                  </a:lnTo>
                  <a:lnTo>
                    <a:pt x="0" y="131"/>
                  </a:lnTo>
                  <a:lnTo>
                    <a:pt x="0" y="129"/>
                  </a:lnTo>
                  <a:lnTo>
                    <a:pt x="0" y="127"/>
                  </a:lnTo>
                  <a:lnTo>
                    <a:pt x="0" y="125"/>
                  </a:lnTo>
                  <a:lnTo>
                    <a:pt x="0" y="124"/>
                  </a:lnTo>
                  <a:lnTo>
                    <a:pt x="0" y="122"/>
                  </a:lnTo>
                  <a:lnTo>
                    <a:pt x="0" y="122"/>
                  </a:lnTo>
                  <a:lnTo>
                    <a:pt x="0" y="120"/>
                  </a:lnTo>
                  <a:lnTo>
                    <a:pt x="0" y="119"/>
                  </a:lnTo>
                  <a:lnTo>
                    <a:pt x="0" y="115"/>
                  </a:lnTo>
                  <a:lnTo>
                    <a:pt x="3" y="115"/>
                  </a:lnTo>
                  <a:lnTo>
                    <a:pt x="5" y="115"/>
                  </a:lnTo>
                  <a:lnTo>
                    <a:pt x="8" y="115"/>
                  </a:lnTo>
                  <a:lnTo>
                    <a:pt x="17" y="115"/>
                  </a:lnTo>
                  <a:lnTo>
                    <a:pt x="19" y="115"/>
                  </a:lnTo>
                  <a:lnTo>
                    <a:pt x="24" y="115"/>
                  </a:lnTo>
                  <a:lnTo>
                    <a:pt x="29" y="115"/>
                  </a:lnTo>
                  <a:lnTo>
                    <a:pt x="31" y="115"/>
                  </a:lnTo>
                  <a:lnTo>
                    <a:pt x="36" y="115"/>
                  </a:lnTo>
                  <a:lnTo>
                    <a:pt x="39" y="115"/>
                  </a:lnTo>
                  <a:lnTo>
                    <a:pt x="43" y="115"/>
                  </a:lnTo>
                  <a:lnTo>
                    <a:pt x="46" y="115"/>
                  </a:lnTo>
                  <a:lnTo>
                    <a:pt x="50" y="113"/>
                  </a:lnTo>
                  <a:lnTo>
                    <a:pt x="51" y="113"/>
                  </a:lnTo>
                  <a:lnTo>
                    <a:pt x="53" y="113"/>
                  </a:lnTo>
                  <a:lnTo>
                    <a:pt x="56" y="113"/>
                  </a:lnTo>
                  <a:lnTo>
                    <a:pt x="60" y="113"/>
                  </a:lnTo>
                  <a:lnTo>
                    <a:pt x="62" y="113"/>
                  </a:lnTo>
                  <a:lnTo>
                    <a:pt x="62" y="113"/>
                  </a:lnTo>
                  <a:lnTo>
                    <a:pt x="65" y="113"/>
                  </a:lnTo>
                  <a:lnTo>
                    <a:pt x="69" y="113"/>
                  </a:lnTo>
                  <a:lnTo>
                    <a:pt x="70" y="113"/>
                  </a:lnTo>
                  <a:lnTo>
                    <a:pt x="74" y="115"/>
                  </a:lnTo>
                  <a:lnTo>
                    <a:pt x="75" y="115"/>
                  </a:lnTo>
                  <a:lnTo>
                    <a:pt x="77" y="115"/>
                  </a:lnTo>
                  <a:lnTo>
                    <a:pt x="79" y="115"/>
                  </a:lnTo>
                  <a:lnTo>
                    <a:pt x="82" y="115"/>
                  </a:lnTo>
                  <a:lnTo>
                    <a:pt x="84" y="115"/>
                  </a:lnTo>
                  <a:lnTo>
                    <a:pt x="91" y="113"/>
                  </a:lnTo>
                  <a:lnTo>
                    <a:pt x="91" y="112"/>
                  </a:lnTo>
                  <a:lnTo>
                    <a:pt x="91" y="93"/>
                  </a:lnTo>
                  <a:lnTo>
                    <a:pt x="91" y="91"/>
                  </a:lnTo>
                  <a:lnTo>
                    <a:pt x="91" y="84"/>
                  </a:lnTo>
                  <a:lnTo>
                    <a:pt x="91" y="82"/>
                  </a:lnTo>
                  <a:lnTo>
                    <a:pt x="89" y="79"/>
                  </a:lnTo>
                  <a:lnTo>
                    <a:pt x="91" y="75"/>
                  </a:lnTo>
                  <a:lnTo>
                    <a:pt x="89" y="74"/>
                  </a:lnTo>
                  <a:lnTo>
                    <a:pt x="89" y="70"/>
                  </a:lnTo>
                  <a:lnTo>
                    <a:pt x="89" y="67"/>
                  </a:lnTo>
                  <a:lnTo>
                    <a:pt x="89" y="57"/>
                  </a:lnTo>
                  <a:lnTo>
                    <a:pt x="89" y="55"/>
                  </a:lnTo>
                  <a:lnTo>
                    <a:pt x="89" y="46"/>
                  </a:lnTo>
                  <a:lnTo>
                    <a:pt x="89" y="46"/>
                  </a:lnTo>
                  <a:lnTo>
                    <a:pt x="89" y="41"/>
                  </a:lnTo>
                  <a:lnTo>
                    <a:pt x="89" y="32"/>
                  </a:lnTo>
                  <a:lnTo>
                    <a:pt x="89" y="27"/>
                  </a:lnTo>
                  <a:lnTo>
                    <a:pt x="89" y="24"/>
                  </a:lnTo>
                  <a:lnTo>
                    <a:pt x="89" y="22"/>
                  </a:lnTo>
                  <a:lnTo>
                    <a:pt x="89" y="17"/>
                  </a:lnTo>
                  <a:lnTo>
                    <a:pt x="89" y="14"/>
                  </a:lnTo>
                  <a:lnTo>
                    <a:pt x="89" y="12"/>
                  </a:lnTo>
                  <a:lnTo>
                    <a:pt x="89" y="8"/>
                  </a:lnTo>
                  <a:lnTo>
                    <a:pt x="89" y="5"/>
                  </a:lnTo>
                  <a:lnTo>
                    <a:pt x="89" y="2"/>
                  </a:lnTo>
                  <a:lnTo>
                    <a:pt x="89" y="0"/>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8" name="Freeform 181"/>
            <p:cNvSpPr>
              <a:spLocks/>
            </p:cNvSpPr>
            <p:nvPr/>
          </p:nvSpPr>
          <p:spPr bwMode="auto">
            <a:xfrm>
              <a:off x="7076371" y="2857294"/>
              <a:ext cx="814388" cy="542925"/>
            </a:xfrm>
            <a:custGeom>
              <a:avLst/>
              <a:gdLst/>
              <a:ahLst/>
              <a:cxnLst>
                <a:cxn ang="0">
                  <a:pos x="198" y="62"/>
                </a:cxn>
                <a:cxn ang="0">
                  <a:pos x="232" y="79"/>
                </a:cxn>
                <a:cxn ang="0">
                  <a:pos x="250" y="72"/>
                </a:cxn>
                <a:cxn ang="0">
                  <a:pos x="274" y="48"/>
                </a:cxn>
                <a:cxn ang="0">
                  <a:pos x="284" y="32"/>
                </a:cxn>
                <a:cxn ang="0">
                  <a:pos x="286" y="17"/>
                </a:cxn>
                <a:cxn ang="0">
                  <a:pos x="296" y="5"/>
                </a:cxn>
                <a:cxn ang="0">
                  <a:pos x="308" y="1"/>
                </a:cxn>
                <a:cxn ang="0">
                  <a:pos x="324" y="3"/>
                </a:cxn>
                <a:cxn ang="0">
                  <a:pos x="339" y="7"/>
                </a:cxn>
                <a:cxn ang="0">
                  <a:pos x="370" y="22"/>
                </a:cxn>
                <a:cxn ang="0">
                  <a:pos x="385" y="29"/>
                </a:cxn>
                <a:cxn ang="0">
                  <a:pos x="401" y="31"/>
                </a:cxn>
                <a:cxn ang="0">
                  <a:pos x="420" y="34"/>
                </a:cxn>
                <a:cxn ang="0">
                  <a:pos x="447" y="46"/>
                </a:cxn>
                <a:cxn ang="0">
                  <a:pos x="468" y="62"/>
                </a:cxn>
                <a:cxn ang="0">
                  <a:pos x="497" y="77"/>
                </a:cxn>
                <a:cxn ang="0">
                  <a:pos x="506" y="115"/>
                </a:cxn>
                <a:cxn ang="0">
                  <a:pos x="422" y="86"/>
                </a:cxn>
                <a:cxn ang="0">
                  <a:pos x="403" y="63"/>
                </a:cxn>
                <a:cxn ang="0">
                  <a:pos x="382" y="56"/>
                </a:cxn>
                <a:cxn ang="0">
                  <a:pos x="372" y="72"/>
                </a:cxn>
                <a:cxn ang="0">
                  <a:pos x="346" y="112"/>
                </a:cxn>
                <a:cxn ang="0">
                  <a:pos x="298" y="130"/>
                </a:cxn>
                <a:cxn ang="0">
                  <a:pos x="274" y="172"/>
                </a:cxn>
                <a:cxn ang="0">
                  <a:pos x="243" y="222"/>
                </a:cxn>
                <a:cxn ang="0">
                  <a:pos x="174" y="225"/>
                </a:cxn>
                <a:cxn ang="0">
                  <a:pos x="157" y="246"/>
                </a:cxn>
                <a:cxn ang="0">
                  <a:pos x="134" y="261"/>
                </a:cxn>
                <a:cxn ang="0">
                  <a:pos x="127" y="275"/>
                </a:cxn>
                <a:cxn ang="0">
                  <a:pos x="103" y="296"/>
                </a:cxn>
                <a:cxn ang="0">
                  <a:pos x="62" y="323"/>
                </a:cxn>
                <a:cxn ang="0">
                  <a:pos x="40" y="339"/>
                </a:cxn>
                <a:cxn ang="0">
                  <a:pos x="14" y="339"/>
                </a:cxn>
                <a:cxn ang="0">
                  <a:pos x="2" y="306"/>
                </a:cxn>
                <a:cxn ang="0">
                  <a:pos x="2" y="265"/>
                </a:cxn>
                <a:cxn ang="0">
                  <a:pos x="0" y="232"/>
                </a:cxn>
                <a:cxn ang="0">
                  <a:pos x="0" y="196"/>
                </a:cxn>
                <a:cxn ang="0">
                  <a:pos x="0" y="160"/>
                </a:cxn>
                <a:cxn ang="0">
                  <a:pos x="0" y="120"/>
                </a:cxn>
                <a:cxn ang="0">
                  <a:pos x="0" y="82"/>
                </a:cxn>
                <a:cxn ang="0">
                  <a:pos x="7" y="65"/>
                </a:cxn>
                <a:cxn ang="0">
                  <a:pos x="17" y="70"/>
                </a:cxn>
                <a:cxn ang="0">
                  <a:pos x="33" y="67"/>
                </a:cxn>
                <a:cxn ang="0">
                  <a:pos x="48" y="68"/>
                </a:cxn>
                <a:cxn ang="0">
                  <a:pos x="62" y="70"/>
                </a:cxn>
                <a:cxn ang="0">
                  <a:pos x="72" y="74"/>
                </a:cxn>
                <a:cxn ang="0">
                  <a:pos x="79" y="74"/>
                </a:cxn>
                <a:cxn ang="0">
                  <a:pos x="91" y="72"/>
                </a:cxn>
                <a:cxn ang="0">
                  <a:pos x="90" y="58"/>
                </a:cxn>
                <a:cxn ang="0">
                  <a:pos x="91" y="50"/>
                </a:cxn>
                <a:cxn ang="0">
                  <a:pos x="107" y="41"/>
                </a:cxn>
                <a:cxn ang="0">
                  <a:pos x="124" y="39"/>
                </a:cxn>
                <a:cxn ang="0">
                  <a:pos x="140" y="34"/>
                </a:cxn>
                <a:cxn ang="0">
                  <a:pos x="134" y="44"/>
                </a:cxn>
                <a:cxn ang="0">
                  <a:pos x="146" y="50"/>
                </a:cxn>
                <a:cxn ang="0">
                  <a:pos x="155" y="50"/>
                </a:cxn>
                <a:cxn ang="0">
                  <a:pos x="146" y="43"/>
                </a:cxn>
                <a:cxn ang="0">
                  <a:pos x="160" y="44"/>
                </a:cxn>
                <a:cxn ang="0">
                  <a:pos x="158" y="36"/>
                </a:cxn>
                <a:cxn ang="0">
                  <a:pos x="176" y="29"/>
                </a:cxn>
              </a:cxnLst>
              <a:rect l="0" t="0" r="r" b="b"/>
              <a:pathLst>
                <a:path w="513" h="342">
                  <a:moveTo>
                    <a:pt x="176" y="29"/>
                  </a:moveTo>
                  <a:lnTo>
                    <a:pt x="177" y="34"/>
                  </a:lnTo>
                  <a:lnTo>
                    <a:pt x="179" y="38"/>
                  </a:lnTo>
                  <a:lnTo>
                    <a:pt x="181" y="39"/>
                  </a:lnTo>
                  <a:lnTo>
                    <a:pt x="183" y="43"/>
                  </a:lnTo>
                  <a:lnTo>
                    <a:pt x="186" y="46"/>
                  </a:lnTo>
                  <a:lnTo>
                    <a:pt x="189" y="48"/>
                  </a:lnTo>
                  <a:lnTo>
                    <a:pt x="191" y="50"/>
                  </a:lnTo>
                  <a:lnTo>
                    <a:pt x="195" y="51"/>
                  </a:lnTo>
                  <a:lnTo>
                    <a:pt x="195" y="53"/>
                  </a:lnTo>
                  <a:lnTo>
                    <a:pt x="198" y="60"/>
                  </a:lnTo>
                  <a:lnTo>
                    <a:pt x="198" y="62"/>
                  </a:lnTo>
                  <a:lnTo>
                    <a:pt x="200" y="63"/>
                  </a:lnTo>
                  <a:lnTo>
                    <a:pt x="205" y="67"/>
                  </a:lnTo>
                  <a:lnTo>
                    <a:pt x="212" y="70"/>
                  </a:lnTo>
                  <a:lnTo>
                    <a:pt x="215" y="72"/>
                  </a:lnTo>
                  <a:lnTo>
                    <a:pt x="219" y="74"/>
                  </a:lnTo>
                  <a:lnTo>
                    <a:pt x="226" y="77"/>
                  </a:lnTo>
                  <a:lnTo>
                    <a:pt x="226" y="79"/>
                  </a:lnTo>
                  <a:lnTo>
                    <a:pt x="226" y="79"/>
                  </a:lnTo>
                  <a:lnTo>
                    <a:pt x="227" y="79"/>
                  </a:lnTo>
                  <a:lnTo>
                    <a:pt x="229" y="79"/>
                  </a:lnTo>
                  <a:lnTo>
                    <a:pt x="231" y="79"/>
                  </a:lnTo>
                  <a:lnTo>
                    <a:pt x="232" y="79"/>
                  </a:lnTo>
                  <a:lnTo>
                    <a:pt x="234" y="79"/>
                  </a:lnTo>
                  <a:lnTo>
                    <a:pt x="236" y="79"/>
                  </a:lnTo>
                  <a:lnTo>
                    <a:pt x="238" y="79"/>
                  </a:lnTo>
                  <a:lnTo>
                    <a:pt x="241" y="77"/>
                  </a:lnTo>
                  <a:lnTo>
                    <a:pt x="241" y="77"/>
                  </a:lnTo>
                  <a:lnTo>
                    <a:pt x="243" y="77"/>
                  </a:lnTo>
                  <a:lnTo>
                    <a:pt x="243" y="75"/>
                  </a:lnTo>
                  <a:lnTo>
                    <a:pt x="244" y="75"/>
                  </a:lnTo>
                  <a:lnTo>
                    <a:pt x="246" y="75"/>
                  </a:lnTo>
                  <a:lnTo>
                    <a:pt x="246" y="74"/>
                  </a:lnTo>
                  <a:lnTo>
                    <a:pt x="248" y="74"/>
                  </a:lnTo>
                  <a:lnTo>
                    <a:pt x="250" y="72"/>
                  </a:lnTo>
                  <a:lnTo>
                    <a:pt x="253" y="70"/>
                  </a:lnTo>
                  <a:lnTo>
                    <a:pt x="256" y="63"/>
                  </a:lnTo>
                  <a:lnTo>
                    <a:pt x="262" y="58"/>
                  </a:lnTo>
                  <a:lnTo>
                    <a:pt x="265" y="56"/>
                  </a:lnTo>
                  <a:lnTo>
                    <a:pt x="265" y="55"/>
                  </a:lnTo>
                  <a:lnTo>
                    <a:pt x="265" y="55"/>
                  </a:lnTo>
                  <a:lnTo>
                    <a:pt x="267" y="55"/>
                  </a:lnTo>
                  <a:lnTo>
                    <a:pt x="269" y="53"/>
                  </a:lnTo>
                  <a:lnTo>
                    <a:pt x="270" y="53"/>
                  </a:lnTo>
                  <a:lnTo>
                    <a:pt x="270" y="51"/>
                  </a:lnTo>
                  <a:lnTo>
                    <a:pt x="272" y="50"/>
                  </a:lnTo>
                  <a:lnTo>
                    <a:pt x="274" y="48"/>
                  </a:lnTo>
                  <a:lnTo>
                    <a:pt x="275" y="44"/>
                  </a:lnTo>
                  <a:lnTo>
                    <a:pt x="275" y="43"/>
                  </a:lnTo>
                  <a:lnTo>
                    <a:pt x="277" y="43"/>
                  </a:lnTo>
                  <a:lnTo>
                    <a:pt x="277" y="41"/>
                  </a:lnTo>
                  <a:lnTo>
                    <a:pt x="279" y="39"/>
                  </a:lnTo>
                  <a:lnTo>
                    <a:pt x="279" y="39"/>
                  </a:lnTo>
                  <a:lnTo>
                    <a:pt x="281" y="39"/>
                  </a:lnTo>
                  <a:lnTo>
                    <a:pt x="281" y="38"/>
                  </a:lnTo>
                  <a:lnTo>
                    <a:pt x="282" y="36"/>
                  </a:lnTo>
                  <a:lnTo>
                    <a:pt x="282" y="34"/>
                  </a:lnTo>
                  <a:lnTo>
                    <a:pt x="284" y="34"/>
                  </a:lnTo>
                  <a:lnTo>
                    <a:pt x="284" y="32"/>
                  </a:lnTo>
                  <a:lnTo>
                    <a:pt x="284" y="31"/>
                  </a:lnTo>
                  <a:lnTo>
                    <a:pt x="284" y="29"/>
                  </a:lnTo>
                  <a:lnTo>
                    <a:pt x="286" y="29"/>
                  </a:lnTo>
                  <a:lnTo>
                    <a:pt x="286" y="27"/>
                  </a:lnTo>
                  <a:lnTo>
                    <a:pt x="286" y="25"/>
                  </a:lnTo>
                  <a:lnTo>
                    <a:pt x="286" y="25"/>
                  </a:lnTo>
                  <a:lnTo>
                    <a:pt x="286" y="24"/>
                  </a:lnTo>
                  <a:lnTo>
                    <a:pt x="286" y="22"/>
                  </a:lnTo>
                  <a:lnTo>
                    <a:pt x="286" y="20"/>
                  </a:lnTo>
                  <a:lnTo>
                    <a:pt x="286" y="19"/>
                  </a:lnTo>
                  <a:lnTo>
                    <a:pt x="286" y="19"/>
                  </a:lnTo>
                  <a:lnTo>
                    <a:pt x="286" y="17"/>
                  </a:lnTo>
                  <a:lnTo>
                    <a:pt x="286" y="15"/>
                  </a:lnTo>
                  <a:lnTo>
                    <a:pt x="287" y="15"/>
                  </a:lnTo>
                  <a:lnTo>
                    <a:pt x="287" y="13"/>
                  </a:lnTo>
                  <a:lnTo>
                    <a:pt x="287" y="12"/>
                  </a:lnTo>
                  <a:lnTo>
                    <a:pt x="289" y="12"/>
                  </a:lnTo>
                  <a:lnTo>
                    <a:pt x="289" y="10"/>
                  </a:lnTo>
                  <a:lnTo>
                    <a:pt x="289" y="10"/>
                  </a:lnTo>
                  <a:lnTo>
                    <a:pt x="291" y="10"/>
                  </a:lnTo>
                  <a:lnTo>
                    <a:pt x="291" y="8"/>
                  </a:lnTo>
                  <a:lnTo>
                    <a:pt x="293" y="7"/>
                  </a:lnTo>
                  <a:lnTo>
                    <a:pt x="294" y="5"/>
                  </a:lnTo>
                  <a:lnTo>
                    <a:pt x="296" y="5"/>
                  </a:lnTo>
                  <a:lnTo>
                    <a:pt x="296" y="3"/>
                  </a:lnTo>
                  <a:lnTo>
                    <a:pt x="298" y="3"/>
                  </a:lnTo>
                  <a:lnTo>
                    <a:pt x="299" y="3"/>
                  </a:lnTo>
                  <a:lnTo>
                    <a:pt x="299" y="1"/>
                  </a:lnTo>
                  <a:lnTo>
                    <a:pt x="301" y="1"/>
                  </a:lnTo>
                  <a:lnTo>
                    <a:pt x="301" y="1"/>
                  </a:lnTo>
                  <a:lnTo>
                    <a:pt x="303" y="1"/>
                  </a:lnTo>
                  <a:lnTo>
                    <a:pt x="303" y="0"/>
                  </a:lnTo>
                  <a:lnTo>
                    <a:pt x="305" y="0"/>
                  </a:lnTo>
                  <a:lnTo>
                    <a:pt x="305" y="1"/>
                  </a:lnTo>
                  <a:lnTo>
                    <a:pt x="306" y="1"/>
                  </a:lnTo>
                  <a:lnTo>
                    <a:pt x="308" y="1"/>
                  </a:lnTo>
                  <a:lnTo>
                    <a:pt x="308" y="0"/>
                  </a:lnTo>
                  <a:lnTo>
                    <a:pt x="310" y="0"/>
                  </a:lnTo>
                  <a:lnTo>
                    <a:pt x="312" y="0"/>
                  </a:lnTo>
                  <a:lnTo>
                    <a:pt x="312" y="1"/>
                  </a:lnTo>
                  <a:lnTo>
                    <a:pt x="313" y="1"/>
                  </a:lnTo>
                  <a:lnTo>
                    <a:pt x="315" y="1"/>
                  </a:lnTo>
                  <a:lnTo>
                    <a:pt x="317" y="3"/>
                  </a:lnTo>
                  <a:lnTo>
                    <a:pt x="317" y="3"/>
                  </a:lnTo>
                  <a:lnTo>
                    <a:pt x="318" y="3"/>
                  </a:lnTo>
                  <a:lnTo>
                    <a:pt x="320" y="3"/>
                  </a:lnTo>
                  <a:lnTo>
                    <a:pt x="322" y="3"/>
                  </a:lnTo>
                  <a:lnTo>
                    <a:pt x="324" y="3"/>
                  </a:lnTo>
                  <a:lnTo>
                    <a:pt x="325" y="3"/>
                  </a:lnTo>
                  <a:lnTo>
                    <a:pt x="327" y="3"/>
                  </a:lnTo>
                  <a:lnTo>
                    <a:pt x="329" y="3"/>
                  </a:lnTo>
                  <a:lnTo>
                    <a:pt x="330" y="3"/>
                  </a:lnTo>
                  <a:lnTo>
                    <a:pt x="332" y="3"/>
                  </a:lnTo>
                  <a:lnTo>
                    <a:pt x="332" y="5"/>
                  </a:lnTo>
                  <a:lnTo>
                    <a:pt x="332" y="5"/>
                  </a:lnTo>
                  <a:lnTo>
                    <a:pt x="334" y="5"/>
                  </a:lnTo>
                  <a:lnTo>
                    <a:pt x="336" y="5"/>
                  </a:lnTo>
                  <a:lnTo>
                    <a:pt x="337" y="5"/>
                  </a:lnTo>
                  <a:lnTo>
                    <a:pt x="337" y="7"/>
                  </a:lnTo>
                  <a:lnTo>
                    <a:pt x="339" y="7"/>
                  </a:lnTo>
                  <a:lnTo>
                    <a:pt x="341" y="7"/>
                  </a:lnTo>
                  <a:lnTo>
                    <a:pt x="341" y="8"/>
                  </a:lnTo>
                  <a:lnTo>
                    <a:pt x="342" y="8"/>
                  </a:lnTo>
                  <a:lnTo>
                    <a:pt x="344" y="8"/>
                  </a:lnTo>
                  <a:lnTo>
                    <a:pt x="346" y="10"/>
                  </a:lnTo>
                  <a:lnTo>
                    <a:pt x="346" y="10"/>
                  </a:lnTo>
                  <a:lnTo>
                    <a:pt x="348" y="10"/>
                  </a:lnTo>
                  <a:lnTo>
                    <a:pt x="349" y="10"/>
                  </a:lnTo>
                  <a:lnTo>
                    <a:pt x="356" y="13"/>
                  </a:lnTo>
                  <a:lnTo>
                    <a:pt x="358" y="15"/>
                  </a:lnTo>
                  <a:lnTo>
                    <a:pt x="367" y="20"/>
                  </a:lnTo>
                  <a:lnTo>
                    <a:pt x="370" y="22"/>
                  </a:lnTo>
                  <a:lnTo>
                    <a:pt x="372" y="22"/>
                  </a:lnTo>
                  <a:lnTo>
                    <a:pt x="372" y="24"/>
                  </a:lnTo>
                  <a:lnTo>
                    <a:pt x="373" y="24"/>
                  </a:lnTo>
                  <a:lnTo>
                    <a:pt x="375" y="25"/>
                  </a:lnTo>
                  <a:lnTo>
                    <a:pt x="377" y="25"/>
                  </a:lnTo>
                  <a:lnTo>
                    <a:pt x="377" y="25"/>
                  </a:lnTo>
                  <a:lnTo>
                    <a:pt x="379" y="25"/>
                  </a:lnTo>
                  <a:lnTo>
                    <a:pt x="379" y="27"/>
                  </a:lnTo>
                  <a:lnTo>
                    <a:pt x="380" y="27"/>
                  </a:lnTo>
                  <a:lnTo>
                    <a:pt x="382" y="27"/>
                  </a:lnTo>
                  <a:lnTo>
                    <a:pt x="384" y="27"/>
                  </a:lnTo>
                  <a:lnTo>
                    <a:pt x="385" y="29"/>
                  </a:lnTo>
                  <a:lnTo>
                    <a:pt x="387" y="29"/>
                  </a:lnTo>
                  <a:lnTo>
                    <a:pt x="387" y="31"/>
                  </a:lnTo>
                  <a:lnTo>
                    <a:pt x="389" y="31"/>
                  </a:lnTo>
                  <a:lnTo>
                    <a:pt x="391" y="31"/>
                  </a:lnTo>
                  <a:lnTo>
                    <a:pt x="391" y="32"/>
                  </a:lnTo>
                  <a:lnTo>
                    <a:pt x="392" y="32"/>
                  </a:lnTo>
                  <a:lnTo>
                    <a:pt x="392" y="32"/>
                  </a:lnTo>
                  <a:lnTo>
                    <a:pt x="394" y="32"/>
                  </a:lnTo>
                  <a:lnTo>
                    <a:pt x="396" y="32"/>
                  </a:lnTo>
                  <a:lnTo>
                    <a:pt x="398" y="32"/>
                  </a:lnTo>
                  <a:lnTo>
                    <a:pt x="399" y="32"/>
                  </a:lnTo>
                  <a:lnTo>
                    <a:pt x="401" y="31"/>
                  </a:lnTo>
                  <a:lnTo>
                    <a:pt x="403" y="31"/>
                  </a:lnTo>
                  <a:lnTo>
                    <a:pt x="404" y="31"/>
                  </a:lnTo>
                  <a:lnTo>
                    <a:pt x="406" y="31"/>
                  </a:lnTo>
                  <a:lnTo>
                    <a:pt x="406" y="31"/>
                  </a:lnTo>
                  <a:lnTo>
                    <a:pt x="408" y="31"/>
                  </a:lnTo>
                  <a:lnTo>
                    <a:pt x="410" y="31"/>
                  </a:lnTo>
                  <a:lnTo>
                    <a:pt x="411" y="31"/>
                  </a:lnTo>
                  <a:lnTo>
                    <a:pt x="413" y="32"/>
                  </a:lnTo>
                  <a:lnTo>
                    <a:pt x="415" y="32"/>
                  </a:lnTo>
                  <a:lnTo>
                    <a:pt x="416" y="32"/>
                  </a:lnTo>
                  <a:lnTo>
                    <a:pt x="418" y="34"/>
                  </a:lnTo>
                  <a:lnTo>
                    <a:pt x="420" y="34"/>
                  </a:lnTo>
                  <a:lnTo>
                    <a:pt x="422" y="32"/>
                  </a:lnTo>
                  <a:lnTo>
                    <a:pt x="422" y="34"/>
                  </a:lnTo>
                  <a:lnTo>
                    <a:pt x="425" y="34"/>
                  </a:lnTo>
                  <a:lnTo>
                    <a:pt x="427" y="36"/>
                  </a:lnTo>
                  <a:lnTo>
                    <a:pt x="430" y="38"/>
                  </a:lnTo>
                  <a:lnTo>
                    <a:pt x="434" y="39"/>
                  </a:lnTo>
                  <a:lnTo>
                    <a:pt x="437" y="39"/>
                  </a:lnTo>
                  <a:lnTo>
                    <a:pt x="439" y="41"/>
                  </a:lnTo>
                  <a:lnTo>
                    <a:pt x="442" y="43"/>
                  </a:lnTo>
                  <a:lnTo>
                    <a:pt x="444" y="44"/>
                  </a:lnTo>
                  <a:lnTo>
                    <a:pt x="446" y="46"/>
                  </a:lnTo>
                  <a:lnTo>
                    <a:pt x="447" y="46"/>
                  </a:lnTo>
                  <a:lnTo>
                    <a:pt x="447" y="48"/>
                  </a:lnTo>
                  <a:lnTo>
                    <a:pt x="449" y="50"/>
                  </a:lnTo>
                  <a:lnTo>
                    <a:pt x="451" y="51"/>
                  </a:lnTo>
                  <a:lnTo>
                    <a:pt x="453" y="51"/>
                  </a:lnTo>
                  <a:lnTo>
                    <a:pt x="453" y="55"/>
                  </a:lnTo>
                  <a:lnTo>
                    <a:pt x="458" y="56"/>
                  </a:lnTo>
                  <a:lnTo>
                    <a:pt x="459" y="58"/>
                  </a:lnTo>
                  <a:lnTo>
                    <a:pt x="461" y="58"/>
                  </a:lnTo>
                  <a:lnTo>
                    <a:pt x="463" y="58"/>
                  </a:lnTo>
                  <a:lnTo>
                    <a:pt x="465" y="58"/>
                  </a:lnTo>
                  <a:lnTo>
                    <a:pt x="466" y="60"/>
                  </a:lnTo>
                  <a:lnTo>
                    <a:pt x="468" y="62"/>
                  </a:lnTo>
                  <a:lnTo>
                    <a:pt x="471" y="63"/>
                  </a:lnTo>
                  <a:lnTo>
                    <a:pt x="473" y="65"/>
                  </a:lnTo>
                  <a:lnTo>
                    <a:pt x="477" y="65"/>
                  </a:lnTo>
                  <a:lnTo>
                    <a:pt x="478" y="67"/>
                  </a:lnTo>
                  <a:lnTo>
                    <a:pt x="482" y="70"/>
                  </a:lnTo>
                  <a:lnTo>
                    <a:pt x="482" y="70"/>
                  </a:lnTo>
                  <a:lnTo>
                    <a:pt x="485" y="72"/>
                  </a:lnTo>
                  <a:lnTo>
                    <a:pt x="489" y="74"/>
                  </a:lnTo>
                  <a:lnTo>
                    <a:pt x="490" y="74"/>
                  </a:lnTo>
                  <a:lnTo>
                    <a:pt x="492" y="75"/>
                  </a:lnTo>
                  <a:lnTo>
                    <a:pt x="494" y="75"/>
                  </a:lnTo>
                  <a:lnTo>
                    <a:pt x="497" y="77"/>
                  </a:lnTo>
                  <a:lnTo>
                    <a:pt x="497" y="79"/>
                  </a:lnTo>
                  <a:lnTo>
                    <a:pt x="504" y="84"/>
                  </a:lnTo>
                  <a:lnTo>
                    <a:pt x="508" y="86"/>
                  </a:lnTo>
                  <a:lnTo>
                    <a:pt x="509" y="86"/>
                  </a:lnTo>
                  <a:lnTo>
                    <a:pt x="511" y="87"/>
                  </a:lnTo>
                  <a:lnTo>
                    <a:pt x="511" y="89"/>
                  </a:lnTo>
                  <a:lnTo>
                    <a:pt x="513" y="89"/>
                  </a:lnTo>
                  <a:lnTo>
                    <a:pt x="513" y="94"/>
                  </a:lnTo>
                  <a:lnTo>
                    <a:pt x="513" y="98"/>
                  </a:lnTo>
                  <a:lnTo>
                    <a:pt x="509" y="112"/>
                  </a:lnTo>
                  <a:lnTo>
                    <a:pt x="508" y="118"/>
                  </a:lnTo>
                  <a:lnTo>
                    <a:pt x="506" y="115"/>
                  </a:lnTo>
                  <a:lnTo>
                    <a:pt x="502" y="108"/>
                  </a:lnTo>
                  <a:lnTo>
                    <a:pt x="492" y="101"/>
                  </a:lnTo>
                  <a:lnTo>
                    <a:pt x="490" y="99"/>
                  </a:lnTo>
                  <a:lnTo>
                    <a:pt x="482" y="101"/>
                  </a:lnTo>
                  <a:lnTo>
                    <a:pt x="471" y="108"/>
                  </a:lnTo>
                  <a:lnTo>
                    <a:pt x="466" y="112"/>
                  </a:lnTo>
                  <a:lnTo>
                    <a:pt x="458" y="106"/>
                  </a:lnTo>
                  <a:lnTo>
                    <a:pt x="446" y="99"/>
                  </a:lnTo>
                  <a:lnTo>
                    <a:pt x="437" y="93"/>
                  </a:lnTo>
                  <a:lnTo>
                    <a:pt x="435" y="93"/>
                  </a:lnTo>
                  <a:lnTo>
                    <a:pt x="425" y="86"/>
                  </a:lnTo>
                  <a:lnTo>
                    <a:pt x="422" y="86"/>
                  </a:lnTo>
                  <a:lnTo>
                    <a:pt x="422" y="84"/>
                  </a:lnTo>
                  <a:lnTo>
                    <a:pt x="415" y="77"/>
                  </a:lnTo>
                  <a:lnTo>
                    <a:pt x="415" y="75"/>
                  </a:lnTo>
                  <a:lnTo>
                    <a:pt x="413" y="74"/>
                  </a:lnTo>
                  <a:lnTo>
                    <a:pt x="413" y="72"/>
                  </a:lnTo>
                  <a:lnTo>
                    <a:pt x="411" y="70"/>
                  </a:lnTo>
                  <a:lnTo>
                    <a:pt x="408" y="70"/>
                  </a:lnTo>
                  <a:lnTo>
                    <a:pt x="406" y="68"/>
                  </a:lnTo>
                  <a:lnTo>
                    <a:pt x="406" y="67"/>
                  </a:lnTo>
                  <a:lnTo>
                    <a:pt x="404" y="65"/>
                  </a:lnTo>
                  <a:lnTo>
                    <a:pt x="404" y="63"/>
                  </a:lnTo>
                  <a:lnTo>
                    <a:pt x="403" y="63"/>
                  </a:lnTo>
                  <a:lnTo>
                    <a:pt x="401" y="62"/>
                  </a:lnTo>
                  <a:lnTo>
                    <a:pt x="399" y="60"/>
                  </a:lnTo>
                  <a:lnTo>
                    <a:pt x="398" y="60"/>
                  </a:lnTo>
                  <a:lnTo>
                    <a:pt x="396" y="58"/>
                  </a:lnTo>
                  <a:lnTo>
                    <a:pt x="394" y="58"/>
                  </a:lnTo>
                  <a:lnTo>
                    <a:pt x="392" y="58"/>
                  </a:lnTo>
                  <a:lnTo>
                    <a:pt x="391" y="56"/>
                  </a:lnTo>
                  <a:lnTo>
                    <a:pt x="389" y="56"/>
                  </a:lnTo>
                  <a:lnTo>
                    <a:pt x="387" y="56"/>
                  </a:lnTo>
                  <a:lnTo>
                    <a:pt x="385" y="56"/>
                  </a:lnTo>
                  <a:lnTo>
                    <a:pt x="384" y="56"/>
                  </a:lnTo>
                  <a:lnTo>
                    <a:pt x="382" y="56"/>
                  </a:lnTo>
                  <a:lnTo>
                    <a:pt x="380" y="56"/>
                  </a:lnTo>
                  <a:lnTo>
                    <a:pt x="380" y="58"/>
                  </a:lnTo>
                  <a:lnTo>
                    <a:pt x="379" y="58"/>
                  </a:lnTo>
                  <a:lnTo>
                    <a:pt x="377" y="60"/>
                  </a:lnTo>
                  <a:lnTo>
                    <a:pt x="377" y="62"/>
                  </a:lnTo>
                  <a:lnTo>
                    <a:pt x="375" y="63"/>
                  </a:lnTo>
                  <a:lnTo>
                    <a:pt x="375" y="65"/>
                  </a:lnTo>
                  <a:lnTo>
                    <a:pt x="373" y="67"/>
                  </a:lnTo>
                  <a:lnTo>
                    <a:pt x="373" y="68"/>
                  </a:lnTo>
                  <a:lnTo>
                    <a:pt x="373" y="70"/>
                  </a:lnTo>
                  <a:lnTo>
                    <a:pt x="372" y="70"/>
                  </a:lnTo>
                  <a:lnTo>
                    <a:pt x="372" y="72"/>
                  </a:lnTo>
                  <a:lnTo>
                    <a:pt x="372" y="75"/>
                  </a:lnTo>
                  <a:lnTo>
                    <a:pt x="372" y="81"/>
                  </a:lnTo>
                  <a:lnTo>
                    <a:pt x="372" y="82"/>
                  </a:lnTo>
                  <a:lnTo>
                    <a:pt x="372" y="84"/>
                  </a:lnTo>
                  <a:lnTo>
                    <a:pt x="370" y="87"/>
                  </a:lnTo>
                  <a:lnTo>
                    <a:pt x="370" y="89"/>
                  </a:lnTo>
                  <a:lnTo>
                    <a:pt x="367" y="98"/>
                  </a:lnTo>
                  <a:lnTo>
                    <a:pt x="365" y="99"/>
                  </a:lnTo>
                  <a:lnTo>
                    <a:pt x="361" y="105"/>
                  </a:lnTo>
                  <a:lnTo>
                    <a:pt x="358" y="106"/>
                  </a:lnTo>
                  <a:lnTo>
                    <a:pt x="355" y="110"/>
                  </a:lnTo>
                  <a:lnTo>
                    <a:pt x="346" y="112"/>
                  </a:lnTo>
                  <a:lnTo>
                    <a:pt x="344" y="112"/>
                  </a:lnTo>
                  <a:lnTo>
                    <a:pt x="339" y="110"/>
                  </a:lnTo>
                  <a:lnTo>
                    <a:pt x="332" y="108"/>
                  </a:lnTo>
                  <a:lnTo>
                    <a:pt x="324" y="106"/>
                  </a:lnTo>
                  <a:lnTo>
                    <a:pt x="322" y="106"/>
                  </a:lnTo>
                  <a:lnTo>
                    <a:pt x="318" y="106"/>
                  </a:lnTo>
                  <a:lnTo>
                    <a:pt x="317" y="106"/>
                  </a:lnTo>
                  <a:lnTo>
                    <a:pt x="313" y="108"/>
                  </a:lnTo>
                  <a:lnTo>
                    <a:pt x="308" y="113"/>
                  </a:lnTo>
                  <a:lnTo>
                    <a:pt x="308" y="115"/>
                  </a:lnTo>
                  <a:lnTo>
                    <a:pt x="301" y="125"/>
                  </a:lnTo>
                  <a:lnTo>
                    <a:pt x="298" y="130"/>
                  </a:lnTo>
                  <a:lnTo>
                    <a:pt x="294" y="137"/>
                  </a:lnTo>
                  <a:lnTo>
                    <a:pt x="293" y="142"/>
                  </a:lnTo>
                  <a:lnTo>
                    <a:pt x="293" y="144"/>
                  </a:lnTo>
                  <a:lnTo>
                    <a:pt x="293" y="146"/>
                  </a:lnTo>
                  <a:lnTo>
                    <a:pt x="289" y="151"/>
                  </a:lnTo>
                  <a:lnTo>
                    <a:pt x="289" y="153"/>
                  </a:lnTo>
                  <a:lnTo>
                    <a:pt x="286" y="156"/>
                  </a:lnTo>
                  <a:lnTo>
                    <a:pt x="286" y="158"/>
                  </a:lnTo>
                  <a:lnTo>
                    <a:pt x="282" y="163"/>
                  </a:lnTo>
                  <a:lnTo>
                    <a:pt x="281" y="167"/>
                  </a:lnTo>
                  <a:lnTo>
                    <a:pt x="277" y="170"/>
                  </a:lnTo>
                  <a:lnTo>
                    <a:pt x="274" y="172"/>
                  </a:lnTo>
                  <a:lnTo>
                    <a:pt x="270" y="175"/>
                  </a:lnTo>
                  <a:lnTo>
                    <a:pt x="267" y="179"/>
                  </a:lnTo>
                  <a:lnTo>
                    <a:pt x="262" y="182"/>
                  </a:lnTo>
                  <a:lnTo>
                    <a:pt x="258" y="187"/>
                  </a:lnTo>
                  <a:lnTo>
                    <a:pt x="260" y="191"/>
                  </a:lnTo>
                  <a:lnTo>
                    <a:pt x="262" y="201"/>
                  </a:lnTo>
                  <a:lnTo>
                    <a:pt x="262" y="210"/>
                  </a:lnTo>
                  <a:lnTo>
                    <a:pt x="258" y="215"/>
                  </a:lnTo>
                  <a:lnTo>
                    <a:pt x="256" y="218"/>
                  </a:lnTo>
                  <a:lnTo>
                    <a:pt x="256" y="218"/>
                  </a:lnTo>
                  <a:lnTo>
                    <a:pt x="248" y="222"/>
                  </a:lnTo>
                  <a:lnTo>
                    <a:pt x="243" y="222"/>
                  </a:lnTo>
                  <a:lnTo>
                    <a:pt x="241" y="222"/>
                  </a:lnTo>
                  <a:lnTo>
                    <a:pt x="239" y="222"/>
                  </a:lnTo>
                  <a:lnTo>
                    <a:pt x="238" y="222"/>
                  </a:lnTo>
                  <a:lnTo>
                    <a:pt x="224" y="222"/>
                  </a:lnTo>
                  <a:lnTo>
                    <a:pt x="213" y="222"/>
                  </a:lnTo>
                  <a:lnTo>
                    <a:pt x="205" y="222"/>
                  </a:lnTo>
                  <a:lnTo>
                    <a:pt x="203" y="222"/>
                  </a:lnTo>
                  <a:lnTo>
                    <a:pt x="196" y="220"/>
                  </a:lnTo>
                  <a:lnTo>
                    <a:pt x="195" y="222"/>
                  </a:lnTo>
                  <a:lnTo>
                    <a:pt x="186" y="218"/>
                  </a:lnTo>
                  <a:lnTo>
                    <a:pt x="181" y="220"/>
                  </a:lnTo>
                  <a:lnTo>
                    <a:pt x="174" y="225"/>
                  </a:lnTo>
                  <a:lnTo>
                    <a:pt x="174" y="228"/>
                  </a:lnTo>
                  <a:lnTo>
                    <a:pt x="172" y="235"/>
                  </a:lnTo>
                  <a:lnTo>
                    <a:pt x="170" y="235"/>
                  </a:lnTo>
                  <a:lnTo>
                    <a:pt x="169" y="237"/>
                  </a:lnTo>
                  <a:lnTo>
                    <a:pt x="167" y="237"/>
                  </a:lnTo>
                  <a:lnTo>
                    <a:pt x="165" y="239"/>
                  </a:lnTo>
                  <a:lnTo>
                    <a:pt x="165" y="239"/>
                  </a:lnTo>
                  <a:lnTo>
                    <a:pt x="164" y="241"/>
                  </a:lnTo>
                  <a:lnTo>
                    <a:pt x="162" y="241"/>
                  </a:lnTo>
                  <a:lnTo>
                    <a:pt x="158" y="242"/>
                  </a:lnTo>
                  <a:lnTo>
                    <a:pt x="158" y="244"/>
                  </a:lnTo>
                  <a:lnTo>
                    <a:pt x="157" y="246"/>
                  </a:lnTo>
                  <a:lnTo>
                    <a:pt x="155" y="251"/>
                  </a:lnTo>
                  <a:lnTo>
                    <a:pt x="153" y="253"/>
                  </a:lnTo>
                  <a:lnTo>
                    <a:pt x="150" y="253"/>
                  </a:lnTo>
                  <a:lnTo>
                    <a:pt x="148" y="254"/>
                  </a:lnTo>
                  <a:lnTo>
                    <a:pt x="143" y="256"/>
                  </a:lnTo>
                  <a:lnTo>
                    <a:pt x="141" y="258"/>
                  </a:lnTo>
                  <a:lnTo>
                    <a:pt x="140" y="258"/>
                  </a:lnTo>
                  <a:lnTo>
                    <a:pt x="140" y="259"/>
                  </a:lnTo>
                  <a:lnTo>
                    <a:pt x="138" y="259"/>
                  </a:lnTo>
                  <a:lnTo>
                    <a:pt x="136" y="259"/>
                  </a:lnTo>
                  <a:lnTo>
                    <a:pt x="136" y="259"/>
                  </a:lnTo>
                  <a:lnTo>
                    <a:pt x="134" y="261"/>
                  </a:lnTo>
                  <a:lnTo>
                    <a:pt x="134" y="263"/>
                  </a:lnTo>
                  <a:lnTo>
                    <a:pt x="134" y="265"/>
                  </a:lnTo>
                  <a:lnTo>
                    <a:pt x="134" y="266"/>
                  </a:lnTo>
                  <a:lnTo>
                    <a:pt x="133" y="266"/>
                  </a:lnTo>
                  <a:lnTo>
                    <a:pt x="133" y="266"/>
                  </a:lnTo>
                  <a:lnTo>
                    <a:pt x="131" y="266"/>
                  </a:lnTo>
                  <a:lnTo>
                    <a:pt x="131" y="268"/>
                  </a:lnTo>
                  <a:lnTo>
                    <a:pt x="131" y="270"/>
                  </a:lnTo>
                  <a:lnTo>
                    <a:pt x="129" y="270"/>
                  </a:lnTo>
                  <a:lnTo>
                    <a:pt x="129" y="271"/>
                  </a:lnTo>
                  <a:lnTo>
                    <a:pt x="129" y="273"/>
                  </a:lnTo>
                  <a:lnTo>
                    <a:pt x="127" y="275"/>
                  </a:lnTo>
                  <a:lnTo>
                    <a:pt x="127" y="277"/>
                  </a:lnTo>
                  <a:lnTo>
                    <a:pt x="127" y="278"/>
                  </a:lnTo>
                  <a:lnTo>
                    <a:pt x="127" y="280"/>
                  </a:lnTo>
                  <a:lnTo>
                    <a:pt x="126" y="282"/>
                  </a:lnTo>
                  <a:lnTo>
                    <a:pt x="126" y="282"/>
                  </a:lnTo>
                  <a:lnTo>
                    <a:pt x="124" y="284"/>
                  </a:lnTo>
                  <a:lnTo>
                    <a:pt x="122" y="285"/>
                  </a:lnTo>
                  <a:lnTo>
                    <a:pt x="122" y="287"/>
                  </a:lnTo>
                  <a:lnTo>
                    <a:pt x="121" y="290"/>
                  </a:lnTo>
                  <a:lnTo>
                    <a:pt x="115" y="294"/>
                  </a:lnTo>
                  <a:lnTo>
                    <a:pt x="109" y="296"/>
                  </a:lnTo>
                  <a:lnTo>
                    <a:pt x="103" y="296"/>
                  </a:lnTo>
                  <a:lnTo>
                    <a:pt x="100" y="297"/>
                  </a:lnTo>
                  <a:lnTo>
                    <a:pt x="95" y="299"/>
                  </a:lnTo>
                  <a:lnTo>
                    <a:pt x="91" y="301"/>
                  </a:lnTo>
                  <a:lnTo>
                    <a:pt x="90" y="304"/>
                  </a:lnTo>
                  <a:lnTo>
                    <a:pt x="88" y="304"/>
                  </a:lnTo>
                  <a:lnTo>
                    <a:pt x="84" y="308"/>
                  </a:lnTo>
                  <a:lnTo>
                    <a:pt x="79" y="311"/>
                  </a:lnTo>
                  <a:lnTo>
                    <a:pt x="76" y="315"/>
                  </a:lnTo>
                  <a:lnTo>
                    <a:pt x="72" y="318"/>
                  </a:lnTo>
                  <a:lnTo>
                    <a:pt x="69" y="320"/>
                  </a:lnTo>
                  <a:lnTo>
                    <a:pt x="64" y="321"/>
                  </a:lnTo>
                  <a:lnTo>
                    <a:pt x="62" y="323"/>
                  </a:lnTo>
                  <a:lnTo>
                    <a:pt x="60" y="323"/>
                  </a:lnTo>
                  <a:lnTo>
                    <a:pt x="60" y="325"/>
                  </a:lnTo>
                  <a:lnTo>
                    <a:pt x="59" y="325"/>
                  </a:lnTo>
                  <a:lnTo>
                    <a:pt x="57" y="327"/>
                  </a:lnTo>
                  <a:lnTo>
                    <a:pt x="54" y="328"/>
                  </a:lnTo>
                  <a:lnTo>
                    <a:pt x="52" y="330"/>
                  </a:lnTo>
                  <a:lnTo>
                    <a:pt x="50" y="330"/>
                  </a:lnTo>
                  <a:lnTo>
                    <a:pt x="48" y="332"/>
                  </a:lnTo>
                  <a:lnTo>
                    <a:pt x="45" y="333"/>
                  </a:lnTo>
                  <a:lnTo>
                    <a:pt x="45" y="335"/>
                  </a:lnTo>
                  <a:lnTo>
                    <a:pt x="43" y="337"/>
                  </a:lnTo>
                  <a:lnTo>
                    <a:pt x="40" y="339"/>
                  </a:lnTo>
                  <a:lnTo>
                    <a:pt x="38" y="339"/>
                  </a:lnTo>
                  <a:lnTo>
                    <a:pt x="35" y="340"/>
                  </a:lnTo>
                  <a:lnTo>
                    <a:pt x="31" y="340"/>
                  </a:lnTo>
                  <a:lnTo>
                    <a:pt x="29" y="342"/>
                  </a:lnTo>
                  <a:lnTo>
                    <a:pt x="28" y="342"/>
                  </a:lnTo>
                  <a:lnTo>
                    <a:pt x="26" y="342"/>
                  </a:lnTo>
                  <a:lnTo>
                    <a:pt x="23" y="340"/>
                  </a:lnTo>
                  <a:lnTo>
                    <a:pt x="21" y="340"/>
                  </a:lnTo>
                  <a:lnTo>
                    <a:pt x="19" y="340"/>
                  </a:lnTo>
                  <a:lnTo>
                    <a:pt x="17" y="340"/>
                  </a:lnTo>
                  <a:lnTo>
                    <a:pt x="16" y="339"/>
                  </a:lnTo>
                  <a:lnTo>
                    <a:pt x="14" y="339"/>
                  </a:lnTo>
                  <a:lnTo>
                    <a:pt x="14" y="337"/>
                  </a:lnTo>
                  <a:lnTo>
                    <a:pt x="11" y="337"/>
                  </a:lnTo>
                  <a:lnTo>
                    <a:pt x="9" y="335"/>
                  </a:lnTo>
                  <a:lnTo>
                    <a:pt x="5" y="333"/>
                  </a:lnTo>
                  <a:lnTo>
                    <a:pt x="5" y="332"/>
                  </a:lnTo>
                  <a:lnTo>
                    <a:pt x="4" y="332"/>
                  </a:lnTo>
                  <a:lnTo>
                    <a:pt x="2" y="330"/>
                  </a:lnTo>
                  <a:lnTo>
                    <a:pt x="2" y="323"/>
                  </a:lnTo>
                  <a:lnTo>
                    <a:pt x="2" y="321"/>
                  </a:lnTo>
                  <a:lnTo>
                    <a:pt x="2" y="313"/>
                  </a:lnTo>
                  <a:lnTo>
                    <a:pt x="2" y="308"/>
                  </a:lnTo>
                  <a:lnTo>
                    <a:pt x="2" y="306"/>
                  </a:lnTo>
                  <a:lnTo>
                    <a:pt x="2" y="304"/>
                  </a:lnTo>
                  <a:lnTo>
                    <a:pt x="2" y="302"/>
                  </a:lnTo>
                  <a:lnTo>
                    <a:pt x="2" y="301"/>
                  </a:lnTo>
                  <a:lnTo>
                    <a:pt x="2" y="296"/>
                  </a:lnTo>
                  <a:lnTo>
                    <a:pt x="2" y="296"/>
                  </a:lnTo>
                  <a:lnTo>
                    <a:pt x="2" y="287"/>
                  </a:lnTo>
                  <a:lnTo>
                    <a:pt x="2" y="285"/>
                  </a:lnTo>
                  <a:lnTo>
                    <a:pt x="2" y="280"/>
                  </a:lnTo>
                  <a:lnTo>
                    <a:pt x="2" y="277"/>
                  </a:lnTo>
                  <a:lnTo>
                    <a:pt x="2" y="271"/>
                  </a:lnTo>
                  <a:lnTo>
                    <a:pt x="2" y="266"/>
                  </a:lnTo>
                  <a:lnTo>
                    <a:pt x="2" y="265"/>
                  </a:lnTo>
                  <a:lnTo>
                    <a:pt x="2" y="261"/>
                  </a:lnTo>
                  <a:lnTo>
                    <a:pt x="2" y="258"/>
                  </a:lnTo>
                  <a:lnTo>
                    <a:pt x="2" y="256"/>
                  </a:lnTo>
                  <a:lnTo>
                    <a:pt x="2" y="254"/>
                  </a:lnTo>
                  <a:lnTo>
                    <a:pt x="0" y="254"/>
                  </a:lnTo>
                  <a:lnTo>
                    <a:pt x="0" y="253"/>
                  </a:lnTo>
                  <a:lnTo>
                    <a:pt x="0" y="251"/>
                  </a:lnTo>
                  <a:lnTo>
                    <a:pt x="0" y="247"/>
                  </a:lnTo>
                  <a:lnTo>
                    <a:pt x="0" y="241"/>
                  </a:lnTo>
                  <a:lnTo>
                    <a:pt x="0" y="235"/>
                  </a:lnTo>
                  <a:lnTo>
                    <a:pt x="0" y="234"/>
                  </a:lnTo>
                  <a:lnTo>
                    <a:pt x="0" y="232"/>
                  </a:lnTo>
                  <a:lnTo>
                    <a:pt x="0" y="230"/>
                  </a:lnTo>
                  <a:lnTo>
                    <a:pt x="0" y="223"/>
                  </a:lnTo>
                  <a:lnTo>
                    <a:pt x="0" y="222"/>
                  </a:lnTo>
                  <a:lnTo>
                    <a:pt x="0" y="220"/>
                  </a:lnTo>
                  <a:lnTo>
                    <a:pt x="0" y="218"/>
                  </a:lnTo>
                  <a:lnTo>
                    <a:pt x="0" y="213"/>
                  </a:lnTo>
                  <a:lnTo>
                    <a:pt x="0" y="210"/>
                  </a:lnTo>
                  <a:lnTo>
                    <a:pt x="0" y="208"/>
                  </a:lnTo>
                  <a:lnTo>
                    <a:pt x="0" y="206"/>
                  </a:lnTo>
                  <a:lnTo>
                    <a:pt x="0" y="201"/>
                  </a:lnTo>
                  <a:lnTo>
                    <a:pt x="0" y="198"/>
                  </a:lnTo>
                  <a:lnTo>
                    <a:pt x="0" y="196"/>
                  </a:lnTo>
                  <a:lnTo>
                    <a:pt x="0" y="192"/>
                  </a:lnTo>
                  <a:lnTo>
                    <a:pt x="0" y="189"/>
                  </a:lnTo>
                  <a:lnTo>
                    <a:pt x="0" y="187"/>
                  </a:lnTo>
                  <a:lnTo>
                    <a:pt x="0" y="182"/>
                  </a:lnTo>
                  <a:lnTo>
                    <a:pt x="0" y="180"/>
                  </a:lnTo>
                  <a:lnTo>
                    <a:pt x="0" y="179"/>
                  </a:lnTo>
                  <a:lnTo>
                    <a:pt x="0" y="175"/>
                  </a:lnTo>
                  <a:lnTo>
                    <a:pt x="0" y="172"/>
                  </a:lnTo>
                  <a:lnTo>
                    <a:pt x="0" y="168"/>
                  </a:lnTo>
                  <a:lnTo>
                    <a:pt x="0" y="163"/>
                  </a:lnTo>
                  <a:lnTo>
                    <a:pt x="0" y="161"/>
                  </a:lnTo>
                  <a:lnTo>
                    <a:pt x="0" y="160"/>
                  </a:lnTo>
                  <a:lnTo>
                    <a:pt x="0" y="158"/>
                  </a:lnTo>
                  <a:lnTo>
                    <a:pt x="0" y="149"/>
                  </a:lnTo>
                  <a:lnTo>
                    <a:pt x="0" y="146"/>
                  </a:lnTo>
                  <a:lnTo>
                    <a:pt x="0" y="139"/>
                  </a:lnTo>
                  <a:lnTo>
                    <a:pt x="0" y="134"/>
                  </a:lnTo>
                  <a:lnTo>
                    <a:pt x="0" y="132"/>
                  </a:lnTo>
                  <a:lnTo>
                    <a:pt x="0" y="130"/>
                  </a:lnTo>
                  <a:lnTo>
                    <a:pt x="0" y="127"/>
                  </a:lnTo>
                  <a:lnTo>
                    <a:pt x="0" y="125"/>
                  </a:lnTo>
                  <a:lnTo>
                    <a:pt x="0" y="124"/>
                  </a:lnTo>
                  <a:lnTo>
                    <a:pt x="0" y="122"/>
                  </a:lnTo>
                  <a:lnTo>
                    <a:pt x="0" y="120"/>
                  </a:lnTo>
                  <a:lnTo>
                    <a:pt x="0" y="117"/>
                  </a:lnTo>
                  <a:lnTo>
                    <a:pt x="0" y="115"/>
                  </a:lnTo>
                  <a:lnTo>
                    <a:pt x="0" y="108"/>
                  </a:lnTo>
                  <a:lnTo>
                    <a:pt x="0" y="106"/>
                  </a:lnTo>
                  <a:lnTo>
                    <a:pt x="0" y="105"/>
                  </a:lnTo>
                  <a:lnTo>
                    <a:pt x="0" y="99"/>
                  </a:lnTo>
                  <a:lnTo>
                    <a:pt x="0" y="93"/>
                  </a:lnTo>
                  <a:lnTo>
                    <a:pt x="0" y="89"/>
                  </a:lnTo>
                  <a:lnTo>
                    <a:pt x="0" y="86"/>
                  </a:lnTo>
                  <a:lnTo>
                    <a:pt x="0" y="86"/>
                  </a:lnTo>
                  <a:lnTo>
                    <a:pt x="0" y="84"/>
                  </a:lnTo>
                  <a:lnTo>
                    <a:pt x="0" y="82"/>
                  </a:lnTo>
                  <a:lnTo>
                    <a:pt x="0" y="81"/>
                  </a:lnTo>
                  <a:lnTo>
                    <a:pt x="0" y="79"/>
                  </a:lnTo>
                  <a:lnTo>
                    <a:pt x="0" y="75"/>
                  </a:lnTo>
                  <a:lnTo>
                    <a:pt x="0" y="74"/>
                  </a:lnTo>
                  <a:lnTo>
                    <a:pt x="0" y="70"/>
                  </a:lnTo>
                  <a:lnTo>
                    <a:pt x="0" y="65"/>
                  </a:lnTo>
                  <a:lnTo>
                    <a:pt x="2" y="65"/>
                  </a:lnTo>
                  <a:lnTo>
                    <a:pt x="4" y="65"/>
                  </a:lnTo>
                  <a:lnTo>
                    <a:pt x="5" y="65"/>
                  </a:lnTo>
                  <a:lnTo>
                    <a:pt x="5" y="63"/>
                  </a:lnTo>
                  <a:lnTo>
                    <a:pt x="5" y="65"/>
                  </a:lnTo>
                  <a:lnTo>
                    <a:pt x="7" y="65"/>
                  </a:lnTo>
                  <a:lnTo>
                    <a:pt x="7" y="67"/>
                  </a:lnTo>
                  <a:lnTo>
                    <a:pt x="9" y="67"/>
                  </a:lnTo>
                  <a:lnTo>
                    <a:pt x="9" y="68"/>
                  </a:lnTo>
                  <a:lnTo>
                    <a:pt x="11" y="68"/>
                  </a:lnTo>
                  <a:lnTo>
                    <a:pt x="11" y="70"/>
                  </a:lnTo>
                  <a:lnTo>
                    <a:pt x="12" y="70"/>
                  </a:lnTo>
                  <a:lnTo>
                    <a:pt x="14" y="70"/>
                  </a:lnTo>
                  <a:lnTo>
                    <a:pt x="14" y="70"/>
                  </a:lnTo>
                  <a:lnTo>
                    <a:pt x="14" y="70"/>
                  </a:lnTo>
                  <a:lnTo>
                    <a:pt x="16" y="70"/>
                  </a:lnTo>
                  <a:lnTo>
                    <a:pt x="16" y="70"/>
                  </a:lnTo>
                  <a:lnTo>
                    <a:pt x="17" y="70"/>
                  </a:lnTo>
                  <a:lnTo>
                    <a:pt x="19" y="70"/>
                  </a:lnTo>
                  <a:lnTo>
                    <a:pt x="21" y="70"/>
                  </a:lnTo>
                  <a:lnTo>
                    <a:pt x="19" y="70"/>
                  </a:lnTo>
                  <a:lnTo>
                    <a:pt x="21" y="68"/>
                  </a:lnTo>
                  <a:lnTo>
                    <a:pt x="23" y="70"/>
                  </a:lnTo>
                  <a:lnTo>
                    <a:pt x="24" y="70"/>
                  </a:lnTo>
                  <a:lnTo>
                    <a:pt x="26" y="70"/>
                  </a:lnTo>
                  <a:lnTo>
                    <a:pt x="28" y="68"/>
                  </a:lnTo>
                  <a:lnTo>
                    <a:pt x="29" y="67"/>
                  </a:lnTo>
                  <a:lnTo>
                    <a:pt x="29" y="67"/>
                  </a:lnTo>
                  <a:lnTo>
                    <a:pt x="31" y="67"/>
                  </a:lnTo>
                  <a:lnTo>
                    <a:pt x="33" y="67"/>
                  </a:lnTo>
                  <a:lnTo>
                    <a:pt x="35" y="67"/>
                  </a:lnTo>
                  <a:lnTo>
                    <a:pt x="35" y="68"/>
                  </a:lnTo>
                  <a:lnTo>
                    <a:pt x="35" y="70"/>
                  </a:lnTo>
                  <a:lnTo>
                    <a:pt x="36" y="70"/>
                  </a:lnTo>
                  <a:lnTo>
                    <a:pt x="38" y="70"/>
                  </a:lnTo>
                  <a:lnTo>
                    <a:pt x="40" y="70"/>
                  </a:lnTo>
                  <a:lnTo>
                    <a:pt x="41" y="70"/>
                  </a:lnTo>
                  <a:lnTo>
                    <a:pt x="43" y="70"/>
                  </a:lnTo>
                  <a:lnTo>
                    <a:pt x="45" y="70"/>
                  </a:lnTo>
                  <a:lnTo>
                    <a:pt x="45" y="70"/>
                  </a:lnTo>
                  <a:lnTo>
                    <a:pt x="47" y="68"/>
                  </a:lnTo>
                  <a:lnTo>
                    <a:pt x="48" y="68"/>
                  </a:lnTo>
                  <a:lnTo>
                    <a:pt x="50" y="68"/>
                  </a:lnTo>
                  <a:lnTo>
                    <a:pt x="52" y="68"/>
                  </a:lnTo>
                  <a:lnTo>
                    <a:pt x="54" y="68"/>
                  </a:lnTo>
                  <a:lnTo>
                    <a:pt x="57" y="68"/>
                  </a:lnTo>
                  <a:lnTo>
                    <a:pt x="59" y="68"/>
                  </a:lnTo>
                  <a:lnTo>
                    <a:pt x="59" y="70"/>
                  </a:lnTo>
                  <a:lnTo>
                    <a:pt x="60" y="70"/>
                  </a:lnTo>
                  <a:lnTo>
                    <a:pt x="60" y="70"/>
                  </a:lnTo>
                  <a:lnTo>
                    <a:pt x="60" y="72"/>
                  </a:lnTo>
                  <a:lnTo>
                    <a:pt x="60" y="72"/>
                  </a:lnTo>
                  <a:lnTo>
                    <a:pt x="60" y="70"/>
                  </a:lnTo>
                  <a:lnTo>
                    <a:pt x="62" y="70"/>
                  </a:lnTo>
                  <a:lnTo>
                    <a:pt x="64" y="70"/>
                  </a:lnTo>
                  <a:lnTo>
                    <a:pt x="64" y="72"/>
                  </a:lnTo>
                  <a:lnTo>
                    <a:pt x="64" y="74"/>
                  </a:lnTo>
                  <a:lnTo>
                    <a:pt x="66" y="74"/>
                  </a:lnTo>
                  <a:lnTo>
                    <a:pt x="66" y="72"/>
                  </a:lnTo>
                  <a:lnTo>
                    <a:pt x="66" y="70"/>
                  </a:lnTo>
                  <a:lnTo>
                    <a:pt x="67" y="70"/>
                  </a:lnTo>
                  <a:lnTo>
                    <a:pt x="69" y="70"/>
                  </a:lnTo>
                  <a:lnTo>
                    <a:pt x="71" y="70"/>
                  </a:lnTo>
                  <a:lnTo>
                    <a:pt x="71" y="72"/>
                  </a:lnTo>
                  <a:lnTo>
                    <a:pt x="72" y="72"/>
                  </a:lnTo>
                  <a:lnTo>
                    <a:pt x="72" y="74"/>
                  </a:lnTo>
                  <a:lnTo>
                    <a:pt x="74" y="74"/>
                  </a:lnTo>
                  <a:lnTo>
                    <a:pt x="76" y="74"/>
                  </a:lnTo>
                  <a:lnTo>
                    <a:pt x="76" y="72"/>
                  </a:lnTo>
                  <a:lnTo>
                    <a:pt x="74" y="72"/>
                  </a:lnTo>
                  <a:lnTo>
                    <a:pt x="74" y="70"/>
                  </a:lnTo>
                  <a:lnTo>
                    <a:pt x="76" y="70"/>
                  </a:lnTo>
                  <a:lnTo>
                    <a:pt x="76" y="72"/>
                  </a:lnTo>
                  <a:lnTo>
                    <a:pt x="76" y="72"/>
                  </a:lnTo>
                  <a:lnTo>
                    <a:pt x="76" y="74"/>
                  </a:lnTo>
                  <a:lnTo>
                    <a:pt x="78" y="75"/>
                  </a:lnTo>
                  <a:lnTo>
                    <a:pt x="78" y="74"/>
                  </a:lnTo>
                  <a:lnTo>
                    <a:pt x="79" y="74"/>
                  </a:lnTo>
                  <a:lnTo>
                    <a:pt x="81" y="75"/>
                  </a:lnTo>
                  <a:lnTo>
                    <a:pt x="83" y="77"/>
                  </a:lnTo>
                  <a:lnTo>
                    <a:pt x="84" y="77"/>
                  </a:lnTo>
                  <a:lnTo>
                    <a:pt x="86" y="77"/>
                  </a:lnTo>
                  <a:lnTo>
                    <a:pt x="86" y="75"/>
                  </a:lnTo>
                  <a:lnTo>
                    <a:pt x="88" y="75"/>
                  </a:lnTo>
                  <a:lnTo>
                    <a:pt x="88" y="74"/>
                  </a:lnTo>
                  <a:lnTo>
                    <a:pt x="90" y="74"/>
                  </a:lnTo>
                  <a:lnTo>
                    <a:pt x="90" y="75"/>
                  </a:lnTo>
                  <a:lnTo>
                    <a:pt x="91" y="75"/>
                  </a:lnTo>
                  <a:lnTo>
                    <a:pt x="91" y="74"/>
                  </a:lnTo>
                  <a:lnTo>
                    <a:pt x="91" y="72"/>
                  </a:lnTo>
                  <a:lnTo>
                    <a:pt x="90" y="72"/>
                  </a:lnTo>
                  <a:lnTo>
                    <a:pt x="90" y="70"/>
                  </a:lnTo>
                  <a:lnTo>
                    <a:pt x="90" y="70"/>
                  </a:lnTo>
                  <a:lnTo>
                    <a:pt x="90" y="70"/>
                  </a:lnTo>
                  <a:lnTo>
                    <a:pt x="90" y="68"/>
                  </a:lnTo>
                  <a:lnTo>
                    <a:pt x="90" y="67"/>
                  </a:lnTo>
                  <a:lnTo>
                    <a:pt x="90" y="67"/>
                  </a:lnTo>
                  <a:lnTo>
                    <a:pt x="90" y="65"/>
                  </a:lnTo>
                  <a:lnTo>
                    <a:pt x="91" y="63"/>
                  </a:lnTo>
                  <a:lnTo>
                    <a:pt x="91" y="62"/>
                  </a:lnTo>
                  <a:lnTo>
                    <a:pt x="90" y="60"/>
                  </a:lnTo>
                  <a:lnTo>
                    <a:pt x="90" y="58"/>
                  </a:lnTo>
                  <a:lnTo>
                    <a:pt x="90" y="56"/>
                  </a:lnTo>
                  <a:lnTo>
                    <a:pt x="91" y="56"/>
                  </a:lnTo>
                  <a:lnTo>
                    <a:pt x="93" y="56"/>
                  </a:lnTo>
                  <a:lnTo>
                    <a:pt x="95" y="56"/>
                  </a:lnTo>
                  <a:lnTo>
                    <a:pt x="97" y="56"/>
                  </a:lnTo>
                  <a:lnTo>
                    <a:pt x="97" y="55"/>
                  </a:lnTo>
                  <a:lnTo>
                    <a:pt x="97" y="55"/>
                  </a:lnTo>
                  <a:lnTo>
                    <a:pt x="97" y="53"/>
                  </a:lnTo>
                  <a:lnTo>
                    <a:pt x="95" y="53"/>
                  </a:lnTo>
                  <a:lnTo>
                    <a:pt x="93" y="51"/>
                  </a:lnTo>
                  <a:lnTo>
                    <a:pt x="93" y="50"/>
                  </a:lnTo>
                  <a:lnTo>
                    <a:pt x="91" y="50"/>
                  </a:lnTo>
                  <a:lnTo>
                    <a:pt x="93" y="50"/>
                  </a:lnTo>
                  <a:lnTo>
                    <a:pt x="93" y="48"/>
                  </a:lnTo>
                  <a:lnTo>
                    <a:pt x="95" y="48"/>
                  </a:lnTo>
                  <a:lnTo>
                    <a:pt x="97" y="46"/>
                  </a:lnTo>
                  <a:lnTo>
                    <a:pt x="98" y="44"/>
                  </a:lnTo>
                  <a:lnTo>
                    <a:pt x="100" y="44"/>
                  </a:lnTo>
                  <a:lnTo>
                    <a:pt x="102" y="43"/>
                  </a:lnTo>
                  <a:lnTo>
                    <a:pt x="103" y="43"/>
                  </a:lnTo>
                  <a:lnTo>
                    <a:pt x="105" y="43"/>
                  </a:lnTo>
                  <a:lnTo>
                    <a:pt x="105" y="43"/>
                  </a:lnTo>
                  <a:lnTo>
                    <a:pt x="107" y="43"/>
                  </a:lnTo>
                  <a:lnTo>
                    <a:pt x="107" y="41"/>
                  </a:lnTo>
                  <a:lnTo>
                    <a:pt x="107" y="39"/>
                  </a:lnTo>
                  <a:lnTo>
                    <a:pt x="109" y="39"/>
                  </a:lnTo>
                  <a:lnTo>
                    <a:pt x="110" y="39"/>
                  </a:lnTo>
                  <a:lnTo>
                    <a:pt x="112" y="39"/>
                  </a:lnTo>
                  <a:lnTo>
                    <a:pt x="114" y="39"/>
                  </a:lnTo>
                  <a:lnTo>
                    <a:pt x="115" y="39"/>
                  </a:lnTo>
                  <a:lnTo>
                    <a:pt x="119" y="41"/>
                  </a:lnTo>
                  <a:lnTo>
                    <a:pt x="121" y="41"/>
                  </a:lnTo>
                  <a:lnTo>
                    <a:pt x="121" y="41"/>
                  </a:lnTo>
                  <a:lnTo>
                    <a:pt x="122" y="41"/>
                  </a:lnTo>
                  <a:lnTo>
                    <a:pt x="122" y="39"/>
                  </a:lnTo>
                  <a:lnTo>
                    <a:pt x="124" y="39"/>
                  </a:lnTo>
                  <a:lnTo>
                    <a:pt x="124" y="39"/>
                  </a:lnTo>
                  <a:lnTo>
                    <a:pt x="126" y="39"/>
                  </a:lnTo>
                  <a:lnTo>
                    <a:pt x="126" y="38"/>
                  </a:lnTo>
                  <a:lnTo>
                    <a:pt x="127" y="36"/>
                  </a:lnTo>
                  <a:lnTo>
                    <a:pt x="127" y="34"/>
                  </a:lnTo>
                  <a:lnTo>
                    <a:pt x="129" y="34"/>
                  </a:lnTo>
                  <a:lnTo>
                    <a:pt x="131" y="34"/>
                  </a:lnTo>
                  <a:lnTo>
                    <a:pt x="133" y="32"/>
                  </a:lnTo>
                  <a:lnTo>
                    <a:pt x="136" y="32"/>
                  </a:lnTo>
                  <a:lnTo>
                    <a:pt x="136" y="32"/>
                  </a:lnTo>
                  <a:lnTo>
                    <a:pt x="138" y="34"/>
                  </a:lnTo>
                  <a:lnTo>
                    <a:pt x="140" y="34"/>
                  </a:lnTo>
                  <a:lnTo>
                    <a:pt x="140" y="36"/>
                  </a:lnTo>
                  <a:lnTo>
                    <a:pt x="140" y="38"/>
                  </a:lnTo>
                  <a:lnTo>
                    <a:pt x="141" y="38"/>
                  </a:lnTo>
                  <a:lnTo>
                    <a:pt x="141" y="39"/>
                  </a:lnTo>
                  <a:lnTo>
                    <a:pt x="140" y="39"/>
                  </a:lnTo>
                  <a:lnTo>
                    <a:pt x="138" y="39"/>
                  </a:lnTo>
                  <a:lnTo>
                    <a:pt x="136" y="39"/>
                  </a:lnTo>
                  <a:lnTo>
                    <a:pt x="136" y="41"/>
                  </a:lnTo>
                  <a:lnTo>
                    <a:pt x="136" y="41"/>
                  </a:lnTo>
                  <a:lnTo>
                    <a:pt x="134" y="41"/>
                  </a:lnTo>
                  <a:lnTo>
                    <a:pt x="134" y="43"/>
                  </a:lnTo>
                  <a:lnTo>
                    <a:pt x="134" y="44"/>
                  </a:lnTo>
                  <a:lnTo>
                    <a:pt x="136" y="46"/>
                  </a:lnTo>
                  <a:lnTo>
                    <a:pt x="136" y="46"/>
                  </a:lnTo>
                  <a:lnTo>
                    <a:pt x="138" y="46"/>
                  </a:lnTo>
                  <a:lnTo>
                    <a:pt x="138" y="44"/>
                  </a:lnTo>
                  <a:lnTo>
                    <a:pt x="140" y="44"/>
                  </a:lnTo>
                  <a:lnTo>
                    <a:pt x="141" y="44"/>
                  </a:lnTo>
                  <a:lnTo>
                    <a:pt x="141" y="46"/>
                  </a:lnTo>
                  <a:lnTo>
                    <a:pt x="141" y="48"/>
                  </a:lnTo>
                  <a:lnTo>
                    <a:pt x="141" y="50"/>
                  </a:lnTo>
                  <a:lnTo>
                    <a:pt x="143" y="50"/>
                  </a:lnTo>
                  <a:lnTo>
                    <a:pt x="145" y="50"/>
                  </a:lnTo>
                  <a:lnTo>
                    <a:pt x="146" y="50"/>
                  </a:lnTo>
                  <a:lnTo>
                    <a:pt x="148" y="50"/>
                  </a:lnTo>
                  <a:lnTo>
                    <a:pt x="150" y="50"/>
                  </a:lnTo>
                  <a:lnTo>
                    <a:pt x="150" y="51"/>
                  </a:lnTo>
                  <a:lnTo>
                    <a:pt x="150" y="53"/>
                  </a:lnTo>
                  <a:lnTo>
                    <a:pt x="150" y="55"/>
                  </a:lnTo>
                  <a:lnTo>
                    <a:pt x="150" y="55"/>
                  </a:lnTo>
                  <a:lnTo>
                    <a:pt x="152" y="55"/>
                  </a:lnTo>
                  <a:lnTo>
                    <a:pt x="152" y="53"/>
                  </a:lnTo>
                  <a:lnTo>
                    <a:pt x="153" y="53"/>
                  </a:lnTo>
                  <a:lnTo>
                    <a:pt x="153" y="51"/>
                  </a:lnTo>
                  <a:lnTo>
                    <a:pt x="155" y="51"/>
                  </a:lnTo>
                  <a:lnTo>
                    <a:pt x="155" y="50"/>
                  </a:lnTo>
                  <a:lnTo>
                    <a:pt x="155" y="48"/>
                  </a:lnTo>
                  <a:lnTo>
                    <a:pt x="153" y="48"/>
                  </a:lnTo>
                  <a:lnTo>
                    <a:pt x="152" y="46"/>
                  </a:lnTo>
                  <a:lnTo>
                    <a:pt x="150" y="46"/>
                  </a:lnTo>
                  <a:lnTo>
                    <a:pt x="150" y="46"/>
                  </a:lnTo>
                  <a:lnTo>
                    <a:pt x="148" y="46"/>
                  </a:lnTo>
                  <a:lnTo>
                    <a:pt x="148" y="48"/>
                  </a:lnTo>
                  <a:lnTo>
                    <a:pt x="146" y="48"/>
                  </a:lnTo>
                  <a:lnTo>
                    <a:pt x="145" y="46"/>
                  </a:lnTo>
                  <a:lnTo>
                    <a:pt x="145" y="44"/>
                  </a:lnTo>
                  <a:lnTo>
                    <a:pt x="146" y="44"/>
                  </a:lnTo>
                  <a:lnTo>
                    <a:pt x="146" y="43"/>
                  </a:lnTo>
                  <a:lnTo>
                    <a:pt x="148" y="41"/>
                  </a:lnTo>
                  <a:lnTo>
                    <a:pt x="150" y="39"/>
                  </a:lnTo>
                  <a:lnTo>
                    <a:pt x="150" y="39"/>
                  </a:lnTo>
                  <a:lnTo>
                    <a:pt x="152" y="39"/>
                  </a:lnTo>
                  <a:lnTo>
                    <a:pt x="153" y="39"/>
                  </a:lnTo>
                  <a:lnTo>
                    <a:pt x="153" y="41"/>
                  </a:lnTo>
                  <a:lnTo>
                    <a:pt x="155" y="41"/>
                  </a:lnTo>
                  <a:lnTo>
                    <a:pt x="155" y="43"/>
                  </a:lnTo>
                  <a:lnTo>
                    <a:pt x="157" y="43"/>
                  </a:lnTo>
                  <a:lnTo>
                    <a:pt x="157" y="44"/>
                  </a:lnTo>
                  <a:lnTo>
                    <a:pt x="158" y="44"/>
                  </a:lnTo>
                  <a:lnTo>
                    <a:pt x="160" y="44"/>
                  </a:lnTo>
                  <a:lnTo>
                    <a:pt x="160" y="43"/>
                  </a:lnTo>
                  <a:lnTo>
                    <a:pt x="162" y="43"/>
                  </a:lnTo>
                  <a:lnTo>
                    <a:pt x="164" y="43"/>
                  </a:lnTo>
                  <a:lnTo>
                    <a:pt x="165" y="44"/>
                  </a:lnTo>
                  <a:lnTo>
                    <a:pt x="165" y="43"/>
                  </a:lnTo>
                  <a:lnTo>
                    <a:pt x="165" y="41"/>
                  </a:lnTo>
                  <a:lnTo>
                    <a:pt x="164" y="41"/>
                  </a:lnTo>
                  <a:lnTo>
                    <a:pt x="164" y="39"/>
                  </a:lnTo>
                  <a:lnTo>
                    <a:pt x="162" y="39"/>
                  </a:lnTo>
                  <a:lnTo>
                    <a:pt x="162" y="38"/>
                  </a:lnTo>
                  <a:lnTo>
                    <a:pt x="160" y="38"/>
                  </a:lnTo>
                  <a:lnTo>
                    <a:pt x="158" y="36"/>
                  </a:lnTo>
                  <a:lnTo>
                    <a:pt x="157" y="36"/>
                  </a:lnTo>
                  <a:lnTo>
                    <a:pt x="157" y="34"/>
                  </a:lnTo>
                  <a:lnTo>
                    <a:pt x="157" y="32"/>
                  </a:lnTo>
                  <a:lnTo>
                    <a:pt x="157" y="31"/>
                  </a:lnTo>
                  <a:lnTo>
                    <a:pt x="158" y="31"/>
                  </a:lnTo>
                  <a:lnTo>
                    <a:pt x="160" y="29"/>
                  </a:lnTo>
                  <a:lnTo>
                    <a:pt x="162" y="29"/>
                  </a:lnTo>
                  <a:lnTo>
                    <a:pt x="164" y="29"/>
                  </a:lnTo>
                  <a:lnTo>
                    <a:pt x="164" y="31"/>
                  </a:lnTo>
                  <a:lnTo>
                    <a:pt x="170" y="29"/>
                  </a:lnTo>
                  <a:lnTo>
                    <a:pt x="174" y="29"/>
                  </a:lnTo>
                  <a:lnTo>
                    <a:pt x="176" y="29"/>
                  </a:lnTo>
                </a:path>
              </a:pathLst>
            </a:custGeom>
            <a:solidFill>
              <a:srgbClr val="66FF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79" name="Freeform 158"/>
            <p:cNvSpPr>
              <a:spLocks/>
            </p:cNvSpPr>
            <p:nvPr/>
          </p:nvSpPr>
          <p:spPr bwMode="auto">
            <a:xfrm>
              <a:off x="3133021" y="1833356"/>
              <a:ext cx="492125" cy="357188"/>
            </a:xfrm>
            <a:custGeom>
              <a:avLst/>
              <a:gdLst/>
              <a:ahLst/>
              <a:cxnLst>
                <a:cxn ang="0">
                  <a:pos x="166" y="0"/>
                </a:cxn>
                <a:cxn ang="0">
                  <a:pos x="178" y="0"/>
                </a:cxn>
                <a:cxn ang="0">
                  <a:pos x="193" y="0"/>
                </a:cxn>
                <a:cxn ang="0">
                  <a:pos x="219" y="1"/>
                </a:cxn>
                <a:cxn ang="0">
                  <a:pos x="234" y="1"/>
                </a:cxn>
                <a:cxn ang="0">
                  <a:pos x="248" y="1"/>
                </a:cxn>
                <a:cxn ang="0">
                  <a:pos x="262" y="3"/>
                </a:cxn>
                <a:cxn ang="0">
                  <a:pos x="274" y="3"/>
                </a:cxn>
                <a:cxn ang="0">
                  <a:pos x="308" y="5"/>
                </a:cxn>
                <a:cxn ang="0">
                  <a:pos x="308" y="37"/>
                </a:cxn>
                <a:cxn ang="0">
                  <a:pos x="308" y="65"/>
                </a:cxn>
                <a:cxn ang="0">
                  <a:pos x="307" y="120"/>
                </a:cxn>
                <a:cxn ang="0">
                  <a:pos x="307" y="154"/>
                </a:cxn>
                <a:cxn ang="0">
                  <a:pos x="307" y="166"/>
                </a:cxn>
                <a:cxn ang="0">
                  <a:pos x="307" y="187"/>
                </a:cxn>
                <a:cxn ang="0">
                  <a:pos x="307" y="213"/>
                </a:cxn>
                <a:cxn ang="0">
                  <a:pos x="296" y="225"/>
                </a:cxn>
                <a:cxn ang="0">
                  <a:pos x="283" y="225"/>
                </a:cxn>
                <a:cxn ang="0">
                  <a:pos x="222" y="223"/>
                </a:cxn>
                <a:cxn ang="0">
                  <a:pos x="202" y="223"/>
                </a:cxn>
                <a:cxn ang="0">
                  <a:pos x="162" y="221"/>
                </a:cxn>
                <a:cxn ang="0">
                  <a:pos x="140" y="221"/>
                </a:cxn>
                <a:cxn ang="0">
                  <a:pos x="104" y="220"/>
                </a:cxn>
                <a:cxn ang="0">
                  <a:pos x="71" y="218"/>
                </a:cxn>
                <a:cxn ang="0">
                  <a:pos x="47" y="218"/>
                </a:cxn>
                <a:cxn ang="0">
                  <a:pos x="26" y="218"/>
                </a:cxn>
                <a:cxn ang="0">
                  <a:pos x="4" y="211"/>
                </a:cxn>
                <a:cxn ang="0">
                  <a:pos x="2" y="199"/>
                </a:cxn>
                <a:cxn ang="0">
                  <a:pos x="6" y="185"/>
                </a:cxn>
                <a:cxn ang="0">
                  <a:pos x="18" y="182"/>
                </a:cxn>
                <a:cxn ang="0">
                  <a:pos x="33" y="184"/>
                </a:cxn>
                <a:cxn ang="0">
                  <a:pos x="42" y="173"/>
                </a:cxn>
                <a:cxn ang="0">
                  <a:pos x="42" y="161"/>
                </a:cxn>
                <a:cxn ang="0">
                  <a:pos x="38" y="151"/>
                </a:cxn>
                <a:cxn ang="0">
                  <a:pos x="47" y="129"/>
                </a:cxn>
                <a:cxn ang="0">
                  <a:pos x="56" y="115"/>
                </a:cxn>
                <a:cxn ang="0">
                  <a:pos x="69" y="110"/>
                </a:cxn>
                <a:cxn ang="0">
                  <a:pos x="80" y="108"/>
                </a:cxn>
                <a:cxn ang="0">
                  <a:pos x="86" y="103"/>
                </a:cxn>
                <a:cxn ang="0">
                  <a:pos x="90" y="94"/>
                </a:cxn>
                <a:cxn ang="0">
                  <a:pos x="88" y="77"/>
                </a:cxn>
                <a:cxn ang="0">
                  <a:pos x="88" y="67"/>
                </a:cxn>
                <a:cxn ang="0">
                  <a:pos x="93" y="60"/>
                </a:cxn>
                <a:cxn ang="0">
                  <a:pos x="102" y="56"/>
                </a:cxn>
                <a:cxn ang="0">
                  <a:pos x="111" y="61"/>
                </a:cxn>
                <a:cxn ang="0">
                  <a:pos x="119" y="68"/>
                </a:cxn>
                <a:cxn ang="0">
                  <a:pos x="131" y="74"/>
                </a:cxn>
                <a:cxn ang="0">
                  <a:pos x="154" y="60"/>
                </a:cxn>
                <a:cxn ang="0">
                  <a:pos x="148" y="37"/>
                </a:cxn>
                <a:cxn ang="0">
                  <a:pos x="135" y="44"/>
                </a:cxn>
                <a:cxn ang="0">
                  <a:pos x="126" y="46"/>
                </a:cxn>
                <a:cxn ang="0">
                  <a:pos x="117" y="43"/>
                </a:cxn>
                <a:cxn ang="0">
                  <a:pos x="114" y="37"/>
                </a:cxn>
                <a:cxn ang="0">
                  <a:pos x="111" y="29"/>
                </a:cxn>
                <a:cxn ang="0">
                  <a:pos x="116" y="22"/>
                </a:cxn>
                <a:cxn ang="0">
                  <a:pos x="128" y="22"/>
                </a:cxn>
                <a:cxn ang="0">
                  <a:pos x="138" y="22"/>
                </a:cxn>
                <a:cxn ang="0">
                  <a:pos x="145" y="17"/>
                </a:cxn>
              </a:cxnLst>
              <a:rect l="0" t="0" r="r" b="b"/>
              <a:pathLst>
                <a:path w="310" h="225">
                  <a:moveTo>
                    <a:pt x="147" y="0"/>
                  </a:moveTo>
                  <a:lnTo>
                    <a:pt x="147" y="0"/>
                  </a:lnTo>
                  <a:lnTo>
                    <a:pt x="154" y="0"/>
                  </a:lnTo>
                  <a:lnTo>
                    <a:pt x="155" y="0"/>
                  </a:lnTo>
                  <a:lnTo>
                    <a:pt x="159" y="0"/>
                  </a:lnTo>
                  <a:lnTo>
                    <a:pt x="162" y="0"/>
                  </a:lnTo>
                  <a:lnTo>
                    <a:pt x="166" y="0"/>
                  </a:lnTo>
                  <a:lnTo>
                    <a:pt x="169" y="0"/>
                  </a:lnTo>
                  <a:lnTo>
                    <a:pt x="171" y="0"/>
                  </a:lnTo>
                  <a:lnTo>
                    <a:pt x="172" y="0"/>
                  </a:lnTo>
                  <a:lnTo>
                    <a:pt x="174" y="0"/>
                  </a:lnTo>
                  <a:lnTo>
                    <a:pt x="176" y="0"/>
                  </a:lnTo>
                  <a:lnTo>
                    <a:pt x="176" y="0"/>
                  </a:lnTo>
                  <a:lnTo>
                    <a:pt x="178" y="0"/>
                  </a:lnTo>
                  <a:lnTo>
                    <a:pt x="179" y="1"/>
                  </a:lnTo>
                  <a:lnTo>
                    <a:pt x="179" y="0"/>
                  </a:lnTo>
                  <a:lnTo>
                    <a:pt x="181" y="0"/>
                  </a:lnTo>
                  <a:lnTo>
                    <a:pt x="183" y="0"/>
                  </a:lnTo>
                  <a:lnTo>
                    <a:pt x="188" y="0"/>
                  </a:lnTo>
                  <a:lnTo>
                    <a:pt x="190" y="0"/>
                  </a:lnTo>
                  <a:lnTo>
                    <a:pt x="193" y="0"/>
                  </a:lnTo>
                  <a:lnTo>
                    <a:pt x="200" y="1"/>
                  </a:lnTo>
                  <a:lnTo>
                    <a:pt x="202" y="1"/>
                  </a:lnTo>
                  <a:lnTo>
                    <a:pt x="203" y="1"/>
                  </a:lnTo>
                  <a:lnTo>
                    <a:pt x="205" y="1"/>
                  </a:lnTo>
                  <a:lnTo>
                    <a:pt x="207" y="1"/>
                  </a:lnTo>
                  <a:lnTo>
                    <a:pt x="210" y="1"/>
                  </a:lnTo>
                  <a:lnTo>
                    <a:pt x="219" y="1"/>
                  </a:lnTo>
                  <a:lnTo>
                    <a:pt x="221" y="1"/>
                  </a:lnTo>
                  <a:lnTo>
                    <a:pt x="226" y="1"/>
                  </a:lnTo>
                  <a:lnTo>
                    <a:pt x="228" y="1"/>
                  </a:lnTo>
                  <a:lnTo>
                    <a:pt x="229" y="1"/>
                  </a:lnTo>
                  <a:lnTo>
                    <a:pt x="231" y="1"/>
                  </a:lnTo>
                  <a:lnTo>
                    <a:pt x="233" y="1"/>
                  </a:lnTo>
                  <a:lnTo>
                    <a:pt x="234" y="1"/>
                  </a:lnTo>
                  <a:lnTo>
                    <a:pt x="236" y="1"/>
                  </a:lnTo>
                  <a:lnTo>
                    <a:pt x="236" y="1"/>
                  </a:lnTo>
                  <a:lnTo>
                    <a:pt x="240" y="1"/>
                  </a:lnTo>
                  <a:lnTo>
                    <a:pt x="241" y="1"/>
                  </a:lnTo>
                  <a:lnTo>
                    <a:pt x="245" y="1"/>
                  </a:lnTo>
                  <a:lnTo>
                    <a:pt x="246" y="1"/>
                  </a:lnTo>
                  <a:lnTo>
                    <a:pt x="248" y="1"/>
                  </a:lnTo>
                  <a:lnTo>
                    <a:pt x="252" y="3"/>
                  </a:lnTo>
                  <a:lnTo>
                    <a:pt x="252" y="3"/>
                  </a:lnTo>
                  <a:lnTo>
                    <a:pt x="255" y="3"/>
                  </a:lnTo>
                  <a:lnTo>
                    <a:pt x="257" y="3"/>
                  </a:lnTo>
                  <a:lnTo>
                    <a:pt x="258" y="3"/>
                  </a:lnTo>
                  <a:lnTo>
                    <a:pt x="260" y="3"/>
                  </a:lnTo>
                  <a:lnTo>
                    <a:pt x="262" y="3"/>
                  </a:lnTo>
                  <a:lnTo>
                    <a:pt x="264" y="3"/>
                  </a:lnTo>
                  <a:lnTo>
                    <a:pt x="265" y="3"/>
                  </a:lnTo>
                  <a:lnTo>
                    <a:pt x="267" y="3"/>
                  </a:lnTo>
                  <a:lnTo>
                    <a:pt x="267" y="3"/>
                  </a:lnTo>
                  <a:lnTo>
                    <a:pt x="271" y="3"/>
                  </a:lnTo>
                  <a:lnTo>
                    <a:pt x="272" y="3"/>
                  </a:lnTo>
                  <a:lnTo>
                    <a:pt x="274" y="3"/>
                  </a:lnTo>
                  <a:lnTo>
                    <a:pt x="279" y="3"/>
                  </a:lnTo>
                  <a:lnTo>
                    <a:pt x="283" y="3"/>
                  </a:lnTo>
                  <a:lnTo>
                    <a:pt x="289" y="3"/>
                  </a:lnTo>
                  <a:lnTo>
                    <a:pt x="296" y="3"/>
                  </a:lnTo>
                  <a:lnTo>
                    <a:pt x="300" y="5"/>
                  </a:lnTo>
                  <a:lnTo>
                    <a:pt x="301" y="5"/>
                  </a:lnTo>
                  <a:lnTo>
                    <a:pt x="308" y="5"/>
                  </a:lnTo>
                  <a:lnTo>
                    <a:pt x="310" y="5"/>
                  </a:lnTo>
                  <a:lnTo>
                    <a:pt x="308" y="8"/>
                  </a:lnTo>
                  <a:lnTo>
                    <a:pt x="308" y="22"/>
                  </a:lnTo>
                  <a:lnTo>
                    <a:pt x="308" y="32"/>
                  </a:lnTo>
                  <a:lnTo>
                    <a:pt x="308" y="34"/>
                  </a:lnTo>
                  <a:lnTo>
                    <a:pt x="308" y="36"/>
                  </a:lnTo>
                  <a:lnTo>
                    <a:pt x="308" y="37"/>
                  </a:lnTo>
                  <a:lnTo>
                    <a:pt x="308" y="43"/>
                  </a:lnTo>
                  <a:lnTo>
                    <a:pt x="308" y="49"/>
                  </a:lnTo>
                  <a:lnTo>
                    <a:pt x="308" y="53"/>
                  </a:lnTo>
                  <a:lnTo>
                    <a:pt x="308" y="56"/>
                  </a:lnTo>
                  <a:lnTo>
                    <a:pt x="308" y="58"/>
                  </a:lnTo>
                  <a:lnTo>
                    <a:pt x="308" y="60"/>
                  </a:lnTo>
                  <a:lnTo>
                    <a:pt x="308" y="65"/>
                  </a:lnTo>
                  <a:lnTo>
                    <a:pt x="308" y="70"/>
                  </a:lnTo>
                  <a:lnTo>
                    <a:pt x="308" y="74"/>
                  </a:lnTo>
                  <a:lnTo>
                    <a:pt x="308" y="79"/>
                  </a:lnTo>
                  <a:lnTo>
                    <a:pt x="308" y="86"/>
                  </a:lnTo>
                  <a:lnTo>
                    <a:pt x="308" y="92"/>
                  </a:lnTo>
                  <a:lnTo>
                    <a:pt x="308" y="104"/>
                  </a:lnTo>
                  <a:lnTo>
                    <a:pt x="307" y="120"/>
                  </a:lnTo>
                  <a:lnTo>
                    <a:pt x="307" y="132"/>
                  </a:lnTo>
                  <a:lnTo>
                    <a:pt x="307" y="137"/>
                  </a:lnTo>
                  <a:lnTo>
                    <a:pt x="307" y="139"/>
                  </a:lnTo>
                  <a:lnTo>
                    <a:pt x="307" y="142"/>
                  </a:lnTo>
                  <a:lnTo>
                    <a:pt x="307" y="144"/>
                  </a:lnTo>
                  <a:lnTo>
                    <a:pt x="307" y="153"/>
                  </a:lnTo>
                  <a:lnTo>
                    <a:pt x="307" y="154"/>
                  </a:lnTo>
                  <a:lnTo>
                    <a:pt x="307" y="156"/>
                  </a:lnTo>
                  <a:lnTo>
                    <a:pt x="307" y="158"/>
                  </a:lnTo>
                  <a:lnTo>
                    <a:pt x="307" y="160"/>
                  </a:lnTo>
                  <a:lnTo>
                    <a:pt x="307" y="161"/>
                  </a:lnTo>
                  <a:lnTo>
                    <a:pt x="307" y="163"/>
                  </a:lnTo>
                  <a:lnTo>
                    <a:pt x="307" y="165"/>
                  </a:lnTo>
                  <a:lnTo>
                    <a:pt x="307" y="166"/>
                  </a:lnTo>
                  <a:lnTo>
                    <a:pt x="307" y="168"/>
                  </a:lnTo>
                  <a:lnTo>
                    <a:pt x="307" y="172"/>
                  </a:lnTo>
                  <a:lnTo>
                    <a:pt x="307" y="175"/>
                  </a:lnTo>
                  <a:lnTo>
                    <a:pt x="307" y="177"/>
                  </a:lnTo>
                  <a:lnTo>
                    <a:pt x="307" y="185"/>
                  </a:lnTo>
                  <a:lnTo>
                    <a:pt x="307" y="187"/>
                  </a:lnTo>
                  <a:lnTo>
                    <a:pt x="307" y="187"/>
                  </a:lnTo>
                  <a:lnTo>
                    <a:pt x="307" y="191"/>
                  </a:lnTo>
                  <a:lnTo>
                    <a:pt x="307" y="194"/>
                  </a:lnTo>
                  <a:lnTo>
                    <a:pt x="307" y="197"/>
                  </a:lnTo>
                  <a:lnTo>
                    <a:pt x="307" y="199"/>
                  </a:lnTo>
                  <a:lnTo>
                    <a:pt x="307" y="201"/>
                  </a:lnTo>
                  <a:lnTo>
                    <a:pt x="307" y="204"/>
                  </a:lnTo>
                  <a:lnTo>
                    <a:pt x="307" y="213"/>
                  </a:lnTo>
                  <a:lnTo>
                    <a:pt x="307" y="218"/>
                  </a:lnTo>
                  <a:lnTo>
                    <a:pt x="307" y="218"/>
                  </a:lnTo>
                  <a:lnTo>
                    <a:pt x="307" y="221"/>
                  </a:lnTo>
                  <a:lnTo>
                    <a:pt x="307" y="225"/>
                  </a:lnTo>
                  <a:lnTo>
                    <a:pt x="303" y="225"/>
                  </a:lnTo>
                  <a:lnTo>
                    <a:pt x="300" y="225"/>
                  </a:lnTo>
                  <a:lnTo>
                    <a:pt x="296" y="225"/>
                  </a:lnTo>
                  <a:lnTo>
                    <a:pt x="291" y="225"/>
                  </a:lnTo>
                  <a:lnTo>
                    <a:pt x="289" y="225"/>
                  </a:lnTo>
                  <a:lnTo>
                    <a:pt x="288" y="225"/>
                  </a:lnTo>
                  <a:lnTo>
                    <a:pt x="284" y="223"/>
                  </a:lnTo>
                  <a:lnTo>
                    <a:pt x="284" y="225"/>
                  </a:lnTo>
                  <a:lnTo>
                    <a:pt x="283" y="225"/>
                  </a:lnTo>
                  <a:lnTo>
                    <a:pt x="283" y="225"/>
                  </a:lnTo>
                  <a:lnTo>
                    <a:pt x="279" y="225"/>
                  </a:lnTo>
                  <a:lnTo>
                    <a:pt x="271" y="225"/>
                  </a:lnTo>
                  <a:lnTo>
                    <a:pt x="255" y="223"/>
                  </a:lnTo>
                  <a:lnTo>
                    <a:pt x="245" y="223"/>
                  </a:lnTo>
                  <a:lnTo>
                    <a:pt x="236" y="223"/>
                  </a:lnTo>
                  <a:lnTo>
                    <a:pt x="228" y="223"/>
                  </a:lnTo>
                  <a:lnTo>
                    <a:pt x="222" y="223"/>
                  </a:lnTo>
                  <a:lnTo>
                    <a:pt x="219" y="223"/>
                  </a:lnTo>
                  <a:lnTo>
                    <a:pt x="217" y="223"/>
                  </a:lnTo>
                  <a:lnTo>
                    <a:pt x="210" y="223"/>
                  </a:lnTo>
                  <a:lnTo>
                    <a:pt x="209" y="223"/>
                  </a:lnTo>
                  <a:lnTo>
                    <a:pt x="207" y="223"/>
                  </a:lnTo>
                  <a:lnTo>
                    <a:pt x="203" y="223"/>
                  </a:lnTo>
                  <a:lnTo>
                    <a:pt x="202" y="223"/>
                  </a:lnTo>
                  <a:lnTo>
                    <a:pt x="195" y="223"/>
                  </a:lnTo>
                  <a:lnTo>
                    <a:pt x="193" y="223"/>
                  </a:lnTo>
                  <a:lnTo>
                    <a:pt x="191" y="221"/>
                  </a:lnTo>
                  <a:lnTo>
                    <a:pt x="186" y="221"/>
                  </a:lnTo>
                  <a:lnTo>
                    <a:pt x="176" y="221"/>
                  </a:lnTo>
                  <a:lnTo>
                    <a:pt x="172" y="221"/>
                  </a:lnTo>
                  <a:lnTo>
                    <a:pt x="162" y="221"/>
                  </a:lnTo>
                  <a:lnTo>
                    <a:pt x="155" y="221"/>
                  </a:lnTo>
                  <a:lnTo>
                    <a:pt x="150" y="221"/>
                  </a:lnTo>
                  <a:lnTo>
                    <a:pt x="147" y="221"/>
                  </a:lnTo>
                  <a:lnTo>
                    <a:pt x="145" y="221"/>
                  </a:lnTo>
                  <a:lnTo>
                    <a:pt x="143" y="221"/>
                  </a:lnTo>
                  <a:lnTo>
                    <a:pt x="142" y="221"/>
                  </a:lnTo>
                  <a:lnTo>
                    <a:pt x="140" y="221"/>
                  </a:lnTo>
                  <a:lnTo>
                    <a:pt x="133" y="221"/>
                  </a:lnTo>
                  <a:lnTo>
                    <a:pt x="131" y="221"/>
                  </a:lnTo>
                  <a:lnTo>
                    <a:pt x="128" y="220"/>
                  </a:lnTo>
                  <a:lnTo>
                    <a:pt x="117" y="220"/>
                  </a:lnTo>
                  <a:lnTo>
                    <a:pt x="116" y="220"/>
                  </a:lnTo>
                  <a:lnTo>
                    <a:pt x="114" y="220"/>
                  </a:lnTo>
                  <a:lnTo>
                    <a:pt x="104" y="220"/>
                  </a:lnTo>
                  <a:lnTo>
                    <a:pt x="102" y="220"/>
                  </a:lnTo>
                  <a:lnTo>
                    <a:pt x="102" y="220"/>
                  </a:lnTo>
                  <a:lnTo>
                    <a:pt x="92" y="220"/>
                  </a:lnTo>
                  <a:lnTo>
                    <a:pt x="88" y="220"/>
                  </a:lnTo>
                  <a:lnTo>
                    <a:pt x="83" y="218"/>
                  </a:lnTo>
                  <a:lnTo>
                    <a:pt x="74" y="218"/>
                  </a:lnTo>
                  <a:lnTo>
                    <a:pt x="71" y="218"/>
                  </a:lnTo>
                  <a:lnTo>
                    <a:pt x="69" y="218"/>
                  </a:lnTo>
                  <a:lnTo>
                    <a:pt x="68" y="218"/>
                  </a:lnTo>
                  <a:lnTo>
                    <a:pt x="61" y="218"/>
                  </a:lnTo>
                  <a:lnTo>
                    <a:pt x="59" y="218"/>
                  </a:lnTo>
                  <a:lnTo>
                    <a:pt x="57" y="218"/>
                  </a:lnTo>
                  <a:lnTo>
                    <a:pt x="56" y="218"/>
                  </a:lnTo>
                  <a:lnTo>
                    <a:pt x="47" y="218"/>
                  </a:lnTo>
                  <a:lnTo>
                    <a:pt x="45" y="218"/>
                  </a:lnTo>
                  <a:lnTo>
                    <a:pt x="43" y="218"/>
                  </a:lnTo>
                  <a:lnTo>
                    <a:pt x="42" y="218"/>
                  </a:lnTo>
                  <a:lnTo>
                    <a:pt x="38" y="218"/>
                  </a:lnTo>
                  <a:lnTo>
                    <a:pt x="31" y="218"/>
                  </a:lnTo>
                  <a:lnTo>
                    <a:pt x="30" y="218"/>
                  </a:lnTo>
                  <a:lnTo>
                    <a:pt x="26" y="218"/>
                  </a:lnTo>
                  <a:lnTo>
                    <a:pt x="13" y="218"/>
                  </a:lnTo>
                  <a:lnTo>
                    <a:pt x="9" y="218"/>
                  </a:lnTo>
                  <a:lnTo>
                    <a:pt x="7" y="218"/>
                  </a:lnTo>
                  <a:lnTo>
                    <a:pt x="7" y="216"/>
                  </a:lnTo>
                  <a:lnTo>
                    <a:pt x="6" y="215"/>
                  </a:lnTo>
                  <a:lnTo>
                    <a:pt x="4" y="213"/>
                  </a:lnTo>
                  <a:lnTo>
                    <a:pt x="4" y="211"/>
                  </a:lnTo>
                  <a:lnTo>
                    <a:pt x="2" y="209"/>
                  </a:lnTo>
                  <a:lnTo>
                    <a:pt x="2" y="206"/>
                  </a:lnTo>
                  <a:lnTo>
                    <a:pt x="2" y="203"/>
                  </a:lnTo>
                  <a:lnTo>
                    <a:pt x="0" y="203"/>
                  </a:lnTo>
                  <a:lnTo>
                    <a:pt x="0" y="201"/>
                  </a:lnTo>
                  <a:lnTo>
                    <a:pt x="0" y="199"/>
                  </a:lnTo>
                  <a:lnTo>
                    <a:pt x="2" y="199"/>
                  </a:lnTo>
                  <a:lnTo>
                    <a:pt x="2" y="197"/>
                  </a:lnTo>
                  <a:lnTo>
                    <a:pt x="2" y="196"/>
                  </a:lnTo>
                  <a:lnTo>
                    <a:pt x="4" y="191"/>
                  </a:lnTo>
                  <a:lnTo>
                    <a:pt x="4" y="189"/>
                  </a:lnTo>
                  <a:lnTo>
                    <a:pt x="6" y="187"/>
                  </a:lnTo>
                  <a:lnTo>
                    <a:pt x="6" y="187"/>
                  </a:lnTo>
                  <a:lnTo>
                    <a:pt x="6" y="185"/>
                  </a:lnTo>
                  <a:lnTo>
                    <a:pt x="7" y="185"/>
                  </a:lnTo>
                  <a:lnTo>
                    <a:pt x="9" y="184"/>
                  </a:lnTo>
                  <a:lnTo>
                    <a:pt x="11" y="182"/>
                  </a:lnTo>
                  <a:lnTo>
                    <a:pt x="13" y="182"/>
                  </a:lnTo>
                  <a:lnTo>
                    <a:pt x="14" y="180"/>
                  </a:lnTo>
                  <a:lnTo>
                    <a:pt x="16" y="182"/>
                  </a:lnTo>
                  <a:lnTo>
                    <a:pt x="18" y="182"/>
                  </a:lnTo>
                  <a:lnTo>
                    <a:pt x="21" y="184"/>
                  </a:lnTo>
                  <a:lnTo>
                    <a:pt x="25" y="185"/>
                  </a:lnTo>
                  <a:lnTo>
                    <a:pt x="26" y="185"/>
                  </a:lnTo>
                  <a:lnTo>
                    <a:pt x="28" y="185"/>
                  </a:lnTo>
                  <a:lnTo>
                    <a:pt x="30" y="185"/>
                  </a:lnTo>
                  <a:lnTo>
                    <a:pt x="31" y="185"/>
                  </a:lnTo>
                  <a:lnTo>
                    <a:pt x="33" y="184"/>
                  </a:lnTo>
                  <a:lnTo>
                    <a:pt x="37" y="182"/>
                  </a:lnTo>
                  <a:lnTo>
                    <a:pt x="37" y="180"/>
                  </a:lnTo>
                  <a:lnTo>
                    <a:pt x="38" y="178"/>
                  </a:lnTo>
                  <a:lnTo>
                    <a:pt x="40" y="177"/>
                  </a:lnTo>
                  <a:lnTo>
                    <a:pt x="42" y="175"/>
                  </a:lnTo>
                  <a:lnTo>
                    <a:pt x="42" y="173"/>
                  </a:lnTo>
                  <a:lnTo>
                    <a:pt x="42" y="173"/>
                  </a:lnTo>
                  <a:lnTo>
                    <a:pt x="42" y="172"/>
                  </a:lnTo>
                  <a:lnTo>
                    <a:pt x="42" y="170"/>
                  </a:lnTo>
                  <a:lnTo>
                    <a:pt x="42" y="168"/>
                  </a:lnTo>
                  <a:lnTo>
                    <a:pt x="42" y="166"/>
                  </a:lnTo>
                  <a:lnTo>
                    <a:pt x="42" y="165"/>
                  </a:lnTo>
                  <a:lnTo>
                    <a:pt x="42" y="163"/>
                  </a:lnTo>
                  <a:lnTo>
                    <a:pt x="42" y="161"/>
                  </a:lnTo>
                  <a:lnTo>
                    <a:pt x="42" y="160"/>
                  </a:lnTo>
                  <a:lnTo>
                    <a:pt x="40" y="158"/>
                  </a:lnTo>
                  <a:lnTo>
                    <a:pt x="40" y="158"/>
                  </a:lnTo>
                  <a:lnTo>
                    <a:pt x="38" y="156"/>
                  </a:lnTo>
                  <a:lnTo>
                    <a:pt x="38" y="154"/>
                  </a:lnTo>
                  <a:lnTo>
                    <a:pt x="38" y="153"/>
                  </a:lnTo>
                  <a:lnTo>
                    <a:pt x="38" y="151"/>
                  </a:lnTo>
                  <a:lnTo>
                    <a:pt x="38" y="149"/>
                  </a:lnTo>
                  <a:lnTo>
                    <a:pt x="38" y="148"/>
                  </a:lnTo>
                  <a:lnTo>
                    <a:pt x="38" y="146"/>
                  </a:lnTo>
                  <a:lnTo>
                    <a:pt x="38" y="142"/>
                  </a:lnTo>
                  <a:lnTo>
                    <a:pt x="42" y="139"/>
                  </a:lnTo>
                  <a:lnTo>
                    <a:pt x="43" y="132"/>
                  </a:lnTo>
                  <a:lnTo>
                    <a:pt x="47" y="129"/>
                  </a:lnTo>
                  <a:lnTo>
                    <a:pt x="49" y="127"/>
                  </a:lnTo>
                  <a:lnTo>
                    <a:pt x="50" y="123"/>
                  </a:lnTo>
                  <a:lnTo>
                    <a:pt x="52" y="122"/>
                  </a:lnTo>
                  <a:lnTo>
                    <a:pt x="54" y="120"/>
                  </a:lnTo>
                  <a:lnTo>
                    <a:pt x="54" y="118"/>
                  </a:lnTo>
                  <a:lnTo>
                    <a:pt x="56" y="117"/>
                  </a:lnTo>
                  <a:lnTo>
                    <a:pt x="56" y="115"/>
                  </a:lnTo>
                  <a:lnTo>
                    <a:pt x="57" y="113"/>
                  </a:lnTo>
                  <a:lnTo>
                    <a:pt x="59" y="111"/>
                  </a:lnTo>
                  <a:lnTo>
                    <a:pt x="62" y="111"/>
                  </a:lnTo>
                  <a:lnTo>
                    <a:pt x="64" y="110"/>
                  </a:lnTo>
                  <a:lnTo>
                    <a:pt x="66" y="110"/>
                  </a:lnTo>
                  <a:lnTo>
                    <a:pt x="68" y="110"/>
                  </a:lnTo>
                  <a:lnTo>
                    <a:pt x="69" y="110"/>
                  </a:lnTo>
                  <a:lnTo>
                    <a:pt x="71" y="110"/>
                  </a:lnTo>
                  <a:lnTo>
                    <a:pt x="71" y="110"/>
                  </a:lnTo>
                  <a:lnTo>
                    <a:pt x="73" y="110"/>
                  </a:lnTo>
                  <a:lnTo>
                    <a:pt x="74" y="110"/>
                  </a:lnTo>
                  <a:lnTo>
                    <a:pt x="76" y="110"/>
                  </a:lnTo>
                  <a:lnTo>
                    <a:pt x="78" y="110"/>
                  </a:lnTo>
                  <a:lnTo>
                    <a:pt x="80" y="108"/>
                  </a:lnTo>
                  <a:lnTo>
                    <a:pt x="81" y="108"/>
                  </a:lnTo>
                  <a:lnTo>
                    <a:pt x="83" y="108"/>
                  </a:lnTo>
                  <a:lnTo>
                    <a:pt x="83" y="106"/>
                  </a:lnTo>
                  <a:lnTo>
                    <a:pt x="85" y="106"/>
                  </a:lnTo>
                  <a:lnTo>
                    <a:pt x="86" y="106"/>
                  </a:lnTo>
                  <a:lnTo>
                    <a:pt x="86" y="104"/>
                  </a:lnTo>
                  <a:lnTo>
                    <a:pt x="86" y="103"/>
                  </a:lnTo>
                  <a:lnTo>
                    <a:pt x="86" y="101"/>
                  </a:lnTo>
                  <a:lnTo>
                    <a:pt x="88" y="101"/>
                  </a:lnTo>
                  <a:lnTo>
                    <a:pt x="88" y="99"/>
                  </a:lnTo>
                  <a:lnTo>
                    <a:pt x="88" y="98"/>
                  </a:lnTo>
                  <a:lnTo>
                    <a:pt x="90" y="98"/>
                  </a:lnTo>
                  <a:lnTo>
                    <a:pt x="90" y="96"/>
                  </a:lnTo>
                  <a:lnTo>
                    <a:pt x="90" y="94"/>
                  </a:lnTo>
                  <a:lnTo>
                    <a:pt x="90" y="92"/>
                  </a:lnTo>
                  <a:lnTo>
                    <a:pt x="90" y="87"/>
                  </a:lnTo>
                  <a:lnTo>
                    <a:pt x="90" y="86"/>
                  </a:lnTo>
                  <a:lnTo>
                    <a:pt x="90" y="84"/>
                  </a:lnTo>
                  <a:lnTo>
                    <a:pt x="90" y="79"/>
                  </a:lnTo>
                  <a:lnTo>
                    <a:pt x="88" y="79"/>
                  </a:lnTo>
                  <a:lnTo>
                    <a:pt x="88" y="77"/>
                  </a:lnTo>
                  <a:lnTo>
                    <a:pt x="88" y="75"/>
                  </a:lnTo>
                  <a:lnTo>
                    <a:pt x="88" y="74"/>
                  </a:lnTo>
                  <a:lnTo>
                    <a:pt x="88" y="72"/>
                  </a:lnTo>
                  <a:lnTo>
                    <a:pt x="88" y="70"/>
                  </a:lnTo>
                  <a:lnTo>
                    <a:pt x="88" y="68"/>
                  </a:lnTo>
                  <a:lnTo>
                    <a:pt x="88" y="67"/>
                  </a:lnTo>
                  <a:lnTo>
                    <a:pt x="88" y="67"/>
                  </a:lnTo>
                  <a:lnTo>
                    <a:pt x="90" y="67"/>
                  </a:lnTo>
                  <a:lnTo>
                    <a:pt x="90" y="65"/>
                  </a:lnTo>
                  <a:lnTo>
                    <a:pt x="92" y="65"/>
                  </a:lnTo>
                  <a:lnTo>
                    <a:pt x="92" y="63"/>
                  </a:lnTo>
                  <a:lnTo>
                    <a:pt x="92" y="61"/>
                  </a:lnTo>
                  <a:lnTo>
                    <a:pt x="93" y="61"/>
                  </a:lnTo>
                  <a:lnTo>
                    <a:pt x="93" y="60"/>
                  </a:lnTo>
                  <a:lnTo>
                    <a:pt x="95" y="60"/>
                  </a:lnTo>
                  <a:lnTo>
                    <a:pt x="95" y="58"/>
                  </a:lnTo>
                  <a:lnTo>
                    <a:pt x="97" y="58"/>
                  </a:lnTo>
                  <a:lnTo>
                    <a:pt x="97" y="56"/>
                  </a:lnTo>
                  <a:lnTo>
                    <a:pt x="99" y="56"/>
                  </a:lnTo>
                  <a:lnTo>
                    <a:pt x="100" y="56"/>
                  </a:lnTo>
                  <a:lnTo>
                    <a:pt x="102" y="56"/>
                  </a:lnTo>
                  <a:lnTo>
                    <a:pt x="102" y="56"/>
                  </a:lnTo>
                  <a:lnTo>
                    <a:pt x="104" y="56"/>
                  </a:lnTo>
                  <a:lnTo>
                    <a:pt x="105" y="58"/>
                  </a:lnTo>
                  <a:lnTo>
                    <a:pt x="107" y="58"/>
                  </a:lnTo>
                  <a:lnTo>
                    <a:pt x="107" y="60"/>
                  </a:lnTo>
                  <a:lnTo>
                    <a:pt x="109" y="60"/>
                  </a:lnTo>
                  <a:lnTo>
                    <a:pt x="111" y="61"/>
                  </a:lnTo>
                  <a:lnTo>
                    <a:pt x="112" y="63"/>
                  </a:lnTo>
                  <a:lnTo>
                    <a:pt x="114" y="65"/>
                  </a:lnTo>
                  <a:lnTo>
                    <a:pt x="116" y="67"/>
                  </a:lnTo>
                  <a:lnTo>
                    <a:pt x="116" y="67"/>
                  </a:lnTo>
                  <a:lnTo>
                    <a:pt x="116" y="67"/>
                  </a:lnTo>
                  <a:lnTo>
                    <a:pt x="117" y="67"/>
                  </a:lnTo>
                  <a:lnTo>
                    <a:pt x="119" y="68"/>
                  </a:lnTo>
                  <a:lnTo>
                    <a:pt x="121" y="70"/>
                  </a:lnTo>
                  <a:lnTo>
                    <a:pt x="123" y="70"/>
                  </a:lnTo>
                  <a:lnTo>
                    <a:pt x="124" y="72"/>
                  </a:lnTo>
                  <a:lnTo>
                    <a:pt x="126" y="72"/>
                  </a:lnTo>
                  <a:lnTo>
                    <a:pt x="128" y="72"/>
                  </a:lnTo>
                  <a:lnTo>
                    <a:pt x="129" y="74"/>
                  </a:lnTo>
                  <a:lnTo>
                    <a:pt x="131" y="74"/>
                  </a:lnTo>
                  <a:lnTo>
                    <a:pt x="131" y="74"/>
                  </a:lnTo>
                  <a:lnTo>
                    <a:pt x="136" y="74"/>
                  </a:lnTo>
                  <a:lnTo>
                    <a:pt x="142" y="72"/>
                  </a:lnTo>
                  <a:lnTo>
                    <a:pt x="143" y="70"/>
                  </a:lnTo>
                  <a:lnTo>
                    <a:pt x="147" y="68"/>
                  </a:lnTo>
                  <a:lnTo>
                    <a:pt x="148" y="67"/>
                  </a:lnTo>
                  <a:lnTo>
                    <a:pt x="154" y="60"/>
                  </a:lnTo>
                  <a:lnTo>
                    <a:pt x="155" y="55"/>
                  </a:lnTo>
                  <a:lnTo>
                    <a:pt x="155" y="51"/>
                  </a:lnTo>
                  <a:lnTo>
                    <a:pt x="155" y="44"/>
                  </a:lnTo>
                  <a:lnTo>
                    <a:pt x="154" y="41"/>
                  </a:lnTo>
                  <a:lnTo>
                    <a:pt x="152" y="37"/>
                  </a:lnTo>
                  <a:lnTo>
                    <a:pt x="150" y="37"/>
                  </a:lnTo>
                  <a:lnTo>
                    <a:pt x="148" y="37"/>
                  </a:lnTo>
                  <a:lnTo>
                    <a:pt x="147" y="37"/>
                  </a:lnTo>
                  <a:lnTo>
                    <a:pt x="147" y="37"/>
                  </a:lnTo>
                  <a:lnTo>
                    <a:pt x="145" y="37"/>
                  </a:lnTo>
                  <a:lnTo>
                    <a:pt x="143" y="37"/>
                  </a:lnTo>
                  <a:lnTo>
                    <a:pt x="142" y="37"/>
                  </a:lnTo>
                  <a:lnTo>
                    <a:pt x="135" y="43"/>
                  </a:lnTo>
                  <a:lnTo>
                    <a:pt x="135" y="44"/>
                  </a:lnTo>
                  <a:lnTo>
                    <a:pt x="133" y="44"/>
                  </a:lnTo>
                  <a:lnTo>
                    <a:pt x="131" y="44"/>
                  </a:lnTo>
                  <a:lnTo>
                    <a:pt x="131" y="46"/>
                  </a:lnTo>
                  <a:lnTo>
                    <a:pt x="131" y="46"/>
                  </a:lnTo>
                  <a:lnTo>
                    <a:pt x="129" y="46"/>
                  </a:lnTo>
                  <a:lnTo>
                    <a:pt x="128" y="46"/>
                  </a:lnTo>
                  <a:lnTo>
                    <a:pt x="126" y="46"/>
                  </a:lnTo>
                  <a:lnTo>
                    <a:pt x="124" y="46"/>
                  </a:lnTo>
                  <a:lnTo>
                    <a:pt x="123" y="46"/>
                  </a:lnTo>
                  <a:lnTo>
                    <a:pt x="121" y="46"/>
                  </a:lnTo>
                  <a:lnTo>
                    <a:pt x="121" y="44"/>
                  </a:lnTo>
                  <a:lnTo>
                    <a:pt x="119" y="44"/>
                  </a:lnTo>
                  <a:lnTo>
                    <a:pt x="119" y="43"/>
                  </a:lnTo>
                  <a:lnTo>
                    <a:pt x="117" y="43"/>
                  </a:lnTo>
                  <a:lnTo>
                    <a:pt x="117" y="41"/>
                  </a:lnTo>
                  <a:lnTo>
                    <a:pt x="116" y="41"/>
                  </a:lnTo>
                  <a:lnTo>
                    <a:pt x="116" y="39"/>
                  </a:lnTo>
                  <a:lnTo>
                    <a:pt x="116" y="39"/>
                  </a:lnTo>
                  <a:lnTo>
                    <a:pt x="116" y="37"/>
                  </a:lnTo>
                  <a:lnTo>
                    <a:pt x="114" y="37"/>
                  </a:lnTo>
                  <a:lnTo>
                    <a:pt x="114" y="37"/>
                  </a:lnTo>
                  <a:lnTo>
                    <a:pt x="112" y="37"/>
                  </a:lnTo>
                  <a:lnTo>
                    <a:pt x="112" y="36"/>
                  </a:lnTo>
                  <a:lnTo>
                    <a:pt x="112" y="34"/>
                  </a:lnTo>
                  <a:lnTo>
                    <a:pt x="111" y="34"/>
                  </a:lnTo>
                  <a:lnTo>
                    <a:pt x="111" y="32"/>
                  </a:lnTo>
                  <a:lnTo>
                    <a:pt x="111" y="31"/>
                  </a:lnTo>
                  <a:lnTo>
                    <a:pt x="111" y="29"/>
                  </a:lnTo>
                  <a:lnTo>
                    <a:pt x="112" y="27"/>
                  </a:lnTo>
                  <a:lnTo>
                    <a:pt x="112" y="25"/>
                  </a:lnTo>
                  <a:lnTo>
                    <a:pt x="114" y="25"/>
                  </a:lnTo>
                  <a:lnTo>
                    <a:pt x="114" y="24"/>
                  </a:lnTo>
                  <a:lnTo>
                    <a:pt x="116" y="24"/>
                  </a:lnTo>
                  <a:lnTo>
                    <a:pt x="116" y="22"/>
                  </a:lnTo>
                  <a:lnTo>
                    <a:pt x="116" y="22"/>
                  </a:lnTo>
                  <a:lnTo>
                    <a:pt x="117" y="22"/>
                  </a:lnTo>
                  <a:lnTo>
                    <a:pt x="119" y="22"/>
                  </a:lnTo>
                  <a:lnTo>
                    <a:pt x="121" y="22"/>
                  </a:lnTo>
                  <a:lnTo>
                    <a:pt x="123" y="22"/>
                  </a:lnTo>
                  <a:lnTo>
                    <a:pt x="124" y="22"/>
                  </a:lnTo>
                  <a:lnTo>
                    <a:pt x="126" y="22"/>
                  </a:lnTo>
                  <a:lnTo>
                    <a:pt x="128" y="22"/>
                  </a:lnTo>
                  <a:lnTo>
                    <a:pt x="129" y="22"/>
                  </a:lnTo>
                  <a:lnTo>
                    <a:pt x="131" y="22"/>
                  </a:lnTo>
                  <a:lnTo>
                    <a:pt x="131" y="22"/>
                  </a:lnTo>
                  <a:lnTo>
                    <a:pt x="133" y="22"/>
                  </a:lnTo>
                  <a:lnTo>
                    <a:pt x="135" y="22"/>
                  </a:lnTo>
                  <a:lnTo>
                    <a:pt x="136" y="22"/>
                  </a:lnTo>
                  <a:lnTo>
                    <a:pt x="138" y="22"/>
                  </a:lnTo>
                  <a:lnTo>
                    <a:pt x="140" y="22"/>
                  </a:lnTo>
                  <a:lnTo>
                    <a:pt x="142" y="22"/>
                  </a:lnTo>
                  <a:lnTo>
                    <a:pt x="142" y="20"/>
                  </a:lnTo>
                  <a:lnTo>
                    <a:pt x="143" y="20"/>
                  </a:lnTo>
                  <a:lnTo>
                    <a:pt x="143" y="18"/>
                  </a:lnTo>
                  <a:lnTo>
                    <a:pt x="145" y="18"/>
                  </a:lnTo>
                  <a:lnTo>
                    <a:pt x="145" y="17"/>
                  </a:lnTo>
                  <a:lnTo>
                    <a:pt x="147" y="13"/>
                  </a:lnTo>
                  <a:lnTo>
                    <a:pt x="147" y="10"/>
                  </a:lnTo>
                  <a:lnTo>
                    <a:pt x="147" y="6"/>
                  </a:lnTo>
                  <a:lnTo>
                    <a:pt x="147"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0" name="Freeform 159"/>
            <p:cNvSpPr>
              <a:spLocks/>
            </p:cNvSpPr>
            <p:nvPr/>
          </p:nvSpPr>
          <p:spPr bwMode="auto">
            <a:xfrm>
              <a:off x="3988684" y="1882569"/>
              <a:ext cx="428625" cy="327025"/>
            </a:xfrm>
            <a:custGeom>
              <a:avLst/>
              <a:gdLst/>
              <a:ahLst/>
              <a:cxnLst>
                <a:cxn ang="0">
                  <a:pos x="270" y="12"/>
                </a:cxn>
                <a:cxn ang="0">
                  <a:pos x="270" y="25"/>
                </a:cxn>
                <a:cxn ang="0">
                  <a:pos x="270" y="34"/>
                </a:cxn>
                <a:cxn ang="0">
                  <a:pos x="270" y="44"/>
                </a:cxn>
                <a:cxn ang="0">
                  <a:pos x="270" y="61"/>
                </a:cxn>
                <a:cxn ang="0">
                  <a:pos x="270" y="73"/>
                </a:cxn>
                <a:cxn ang="0">
                  <a:pos x="270" y="86"/>
                </a:cxn>
                <a:cxn ang="0">
                  <a:pos x="270" y="103"/>
                </a:cxn>
                <a:cxn ang="0">
                  <a:pos x="270" y="123"/>
                </a:cxn>
                <a:cxn ang="0">
                  <a:pos x="270" y="139"/>
                </a:cxn>
                <a:cxn ang="0">
                  <a:pos x="270" y="154"/>
                </a:cxn>
                <a:cxn ang="0">
                  <a:pos x="268" y="168"/>
                </a:cxn>
                <a:cxn ang="0">
                  <a:pos x="268" y="184"/>
                </a:cxn>
                <a:cxn ang="0">
                  <a:pos x="268" y="206"/>
                </a:cxn>
                <a:cxn ang="0">
                  <a:pos x="246" y="204"/>
                </a:cxn>
                <a:cxn ang="0">
                  <a:pos x="225" y="204"/>
                </a:cxn>
                <a:cxn ang="0">
                  <a:pos x="199" y="204"/>
                </a:cxn>
                <a:cxn ang="0">
                  <a:pos x="180" y="204"/>
                </a:cxn>
                <a:cxn ang="0">
                  <a:pos x="167" y="204"/>
                </a:cxn>
                <a:cxn ang="0">
                  <a:pos x="151" y="204"/>
                </a:cxn>
                <a:cxn ang="0">
                  <a:pos x="137" y="204"/>
                </a:cxn>
                <a:cxn ang="0">
                  <a:pos x="124" y="204"/>
                </a:cxn>
                <a:cxn ang="0">
                  <a:pos x="112" y="204"/>
                </a:cxn>
                <a:cxn ang="0">
                  <a:pos x="81" y="203"/>
                </a:cxn>
                <a:cxn ang="0">
                  <a:pos x="67" y="203"/>
                </a:cxn>
                <a:cxn ang="0">
                  <a:pos x="55" y="203"/>
                </a:cxn>
                <a:cxn ang="0">
                  <a:pos x="41" y="203"/>
                </a:cxn>
                <a:cxn ang="0">
                  <a:pos x="27" y="203"/>
                </a:cxn>
                <a:cxn ang="0">
                  <a:pos x="12" y="203"/>
                </a:cxn>
                <a:cxn ang="0">
                  <a:pos x="0" y="197"/>
                </a:cxn>
                <a:cxn ang="0">
                  <a:pos x="2" y="172"/>
                </a:cxn>
                <a:cxn ang="0">
                  <a:pos x="2" y="151"/>
                </a:cxn>
                <a:cxn ang="0">
                  <a:pos x="2" y="134"/>
                </a:cxn>
                <a:cxn ang="0">
                  <a:pos x="2" y="127"/>
                </a:cxn>
                <a:cxn ang="0">
                  <a:pos x="2" y="117"/>
                </a:cxn>
                <a:cxn ang="0">
                  <a:pos x="3" y="99"/>
                </a:cxn>
                <a:cxn ang="0">
                  <a:pos x="3" y="86"/>
                </a:cxn>
                <a:cxn ang="0">
                  <a:pos x="3" y="67"/>
                </a:cxn>
                <a:cxn ang="0">
                  <a:pos x="3" y="51"/>
                </a:cxn>
                <a:cxn ang="0">
                  <a:pos x="3" y="30"/>
                </a:cxn>
                <a:cxn ang="0">
                  <a:pos x="3" y="24"/>
                </a:cxn>
                <a:cxn ang="0">
                  <a:pos x="3" y="17"/>
                </a:cxn>
                <a:cxn ang="0">
                  <a:pos x="5" y="1"/>
                </a:cxn>
                <a:cxn ang="0">
                  <a:pos x="17" y="1"/>
                </a:cxn>
                <a:cxn ang="0">
                  <a:pos x="38" y="1"/>
                </a:cxn>
                <a:cxn ang="0">
                  <a:pos x="53" y="3"/>
                </a:cxn>
                <a:cxn ang="0">
                  <a:pos x="69" y="3"/>
                </a:cxn>
                <a:cxn ang="0">
                  <a:pos x="94" y="5"/>
                </a:cxn>
                <a:cxn ang="0">
                  <a:pos x="119" y="5"/>
                </a:cxn>
                <a:cxn ang="0">
                  <a:pos x="132" y="5"/>
                </a:cxn>
                <a:cxn ang="0">
                  <a:pos x="149" y="5"/>
                </a:cxn>
                <a:cxn ang="0">
                  <a:pos x="175" y="5"/>
                </a:cxn>
                <a:cxn ang="0">
                  <a:pos x="192" y="5"/>
                </a:cxn>
                <a:cxn ang="0">
                  <a:pos x="203" y="5"/>
                </a:cxn>
                <a:cxn ang="0">
                  <a:pos x="223" y="5"/>
                </a:cxn>
                <a:cxn ang="0">
                  <a:pos x="244" y="6"/>
                </a:cxn>
                <a:cxn ang="0">
                  <a:pos x="258" y="6"/>
                </a:cxn>
              </a:cxnLst>
              <a:rect l="0" t="0" r="r" b="b"/>
              <a:pathLst>
                <a:path w="270" h="206">
                  <a:moveTo>
                    <a:pt x="270" y="6"/>
                  </a:moveTo>
                  <a:lnTo>
                    <a:pt x="270" y="6"/>
                  </a:lnTo>
                  <a:lnTo>
                    <a:pt x="270" y="8"/>
                  </a:lnTo>
                  <a:lnTo>
                    <a:pt x="270" y="12"/>
                  </a:lnTo>
                  <a:lnTo>
                    <a:pt x="270" y="13"/>
                  </a:lnTo>
                  <a:lnTo>
                    <a:pt x="270" y="17"/>
                  </a:lnTo>
                  <a:lnTo>
                    <a:pt x="270" y="20"/>
                  </a:lnTo>
                  <a:lnTo>
                    <a:pt x="270" y="25"/>
                  </a:lnTo>
                  <a:lnTo>
                    <a:pt x="270" y="27"/>
                  </a:lnTo>
                  <a:lnTo>
                    <a:pt x="270" y="29"/>
                  </a:lnTo>
                  <a:lnTo>
                    <a:pt x="270" y="30"/>
                  </a:lnTo>
                  <a:lnTo>
                    <a:pt x="270" y="34"/>
                  </a:lnTo>
                  <a:lnTo>
                    <a:pt x="270" y="37"/>
                  </a:lnTo>
                  <a:lnTo>
                    <a:pt x="270" y="39"/>
                  </a:lnTo>
                  <a:lnTo>
                    <a:pt x="270" y="43"/>
                  </a:lnTo>
                  <a:lnTo>
                    <a:pt x="270" y="44"/>
                  </a:lnTo>
                  <a:lnTo>
                    <a:pt x="270" y="51"/>
                  </a:lnTo>
                  <a:lnTo>
                    <a:pt x="270" y="55"/>
                  </a:lnTo>
                  <a:lnTo>
                    <a:pt x="270" y="56"/>
                  </a:lnTo>
                  <a:lnTo>
                    <a:pt x="270" y="61"/>
                  </a:lnTo>
                  <a:lnTo>
                    <a:pt x="270" y="67"/>
                  </a:lnTo>
                  <a:lnTo>
                    <a:pt x="270" y="68"/>
                  </a:lnTo>
                  <a:lnTo>
                    <a:pt x="270" y="72"/>
                  </a:lnTo>
                  <a:lnTo>
                    <a:pt x="270" y="73"/>
                  </a:lnTo>
                  <a:lnTo>
                    <a:pt x="270" y="79"/>
                  </a:lnTo>
                  <a:lnTo>
                    <a:pt x="270" y="82"/>
                  </a:lnTo>
                  <a:lnTo>
                    <a:pt x="270" y="82"/>
                  </a:lnTo>
                  <a:lnTo>
                    <a:pt x="270" y="86"/>
                  </a:lnTo>
                  <a:lnTo>
                    <a:pt x="270" y="89"/>
                  </a:lnTo>
                  <a:lnTo>
                    <a:pt x="270" y="96"/>
                  </a:lnTo>
                  <a:lnTo>
                    <a:pt x="270" y="98"/>
                  </a:lnTo>
                  <a:lnTo>
                    <a:pt x="270" y="103"/>
                  </a:lnTo>
                  <a:lnTo>
                    <a:pt x="270" y="106"/>
                  </a:lnTo>
                  <a:lnTo>
                    <a:pt x="270" y="110"/>
                  </a:lnTo>
                  <a:lnTo>
                    <a:pt x="270" y="117"/>
                  </a:lnTo>
                  <a:lnTo>
                    <a:pt x="270" y="123"/>
                  </a:lnTo>
                  <a:lnTo>
                    <a:pt x="270" y="127"/>
                  </a:lnTo>
                  <a:lnTo>
                    <a:pt x="270" y="129"/>
                  </a:lnTo>
                  <a:lnTo>
                    <a:pt x="270" y="134"/>
                  </a:lnTo>
                  <a:lnTo>
                    <a:pt x="270" y="139"/>
                  </a:lnTo>
                  <a:lnTo>
                    <a:pt x="270" y="141"/>
                  </a:lnTo>
                  <a:lnTo>
                    <a:pt x="270" y="149"/>
                  </a:lnTo>
                  <a:lnTo>
                    <a:pt x="270" y="151"/>
                  </a:lnTo>
                  <a:lnTo>
                    <a:pt x="270" y="154"/>
                  </a:lnTo>
                  <a:lnTo>
                    <a:pt x="270" y="158"/>
                  </a:lnTo>
                  <a:lnTo>
                    <a:pt x="270" y="160"/>
                  </a:lnTo>
                  <a:lnTo>
                    <a:pt x="270" y="161"/>
                  </a:lnTo>
                  <a:lnTo>
                    <a:pt x="268" y="168"/>
                  </a:lnTo>
                  <a:lnTo>
                    <a:pt x="268" y="172"/>
                  </a:lnTo>
                  <a:lnTo>
                    <a:pt x="268" y="172"/>
                  </a:lnTo>
                  <a:lnTo>
                    <a:pt x="268" y="175"/>
                  </a:lnTo>
                  <a:lnTo>
                    <a:pt x="268" y="184"/>
                  </a:lnTo>
                  <a:lnTo>
                    <a:pt x="268" y="185"/>
                  </a:lnTo>
                  <a:lnTo>
                    <a:pt x="268" y="189"/>
                  </a:lnTo>
                  <a:lnTo>
                    <a:pt x="268" y="196"/>
                  </a:lnTo>
                  <a:lnTo>
                    <a:pt x="268" y="206"/>
                  </a:lnTo>
                  <a:lnTo>
                    <a:pt x="261" y="206"/>
                  </a:lnTo>
                  <a:lnTo>
                    <a:pt x="256" y="206"/>
                  </a:lnTo>
                  <a:lnTo>
                    <a:pt x="249" y="204"/>
                  </a:lnTo>
                  <a:lnTo>
                    <a:pt x="246" y="204"/>
                  </a:lnTo>
                  <a:lnTo>
                    <a:pt x="239" y="204"/>
                  </a:lnTo>
                  <a:lnTo>
                    <a:pt x="235" y="204"/>
                  </a:lnTo>
                  <a:lnTo>
                    <a:pt x="234" y="204"/>
                  </a:lnTo>
                  <a:lnTo>
                    <a:pt x="225" y="204"/>
                  </a:lnTo>
                  <a:lnTo>
                    <a:pt x="213" y="204"/>
                  </a:lnTo>
                  <a:lnTo>
                    <a:pt x="211" y="204"/>
                  </a:lnTo>
                  <a:lnTo>
                    <a:pt x="201" y="204"/>
                  </a:lnTo>
                  <a:lnTo>
                    <a:pt x="199" y="204"/>
                  </a:lnTo>
                  <a:lnTo>
                    <a:pt x="198" y="204"/>
                  </a:lnTo>
                  <a:lnTo>
                    <a:pt x="191" y="204"/>
                  </a:lnTo>
                  <a:lnTo>
                    <a:pt x="184" y="204"/>
                  </a:lnTo>
                  <a:lnTo>
                    <a:pt x="180" y="204"/>
                  </a:lnTo>
                  <a:lnTo>
                    <a:pt x="177" y="204"/>
                  </a:lnTo>
                  <a:lnTo>
                    <a:pt x="172" y="204"/>
                  </a:lnTo>
                  <a:lnTo>
                    <a:pt x="170" y="204"/>
                  </a:lnTo>
                  <a:lnTo>
                    <a:pt x="167" y="204"/>
                  </a:lnTo>
                  <a:lnTo>
                    <a:pt x="163" y="204"/>
                  </a:lnTo>
                  <a:lnTo>
                    <a:pt x="156" y="204"/>
                  </a:lnTo>
                  <a:lnTo>
                    <a:pt x="153" y="204"/>
                  </a:lnTo>
                  <a:lnTo>
                    <a:pt x="151" y="204"/>
                  </a:lnTo>
                  <a:lnTo>
                    <a:pt x="149" y="204"/>
                  </a:lnTo>
                  <a:lnTo>
                    <a:pt x="146" y="204"/>
                  </a:lnTo>
                  <a:lnTo>
                    <a:pt x="139" y="204"/>
                  </a:lnTo>
                  <a:lnTo>
                    <a:pt x="137" y="204"/>
                  </a:lnTo>
                  <a:lnTo>
                    <a:pt x="134" y="204"/>
                  </a:lnTo>
                  <a:lnTo>
                    <a:pt x="129" y="204"/>
                  </a:lnTo>
                  <a:lnTo>
                    <a:pt x="125" y="204"/>
                  </a:lnTo>
                  <a:lnTo>
                    <a:pt x="124" y="204"/>
                  </a:lnTo>
                  <a:lnTo>
                    <a:pt x="120" y="204"/>
                  </a:lnTo>
                  <a:lnTo>
                    <a:pt x="119" y="204"/>
                  </a:lnTo>
                  <a:lnTo>
                    <a:pt x="113" y="204"/>
                  </a:lnTo>
                  <a:lnTo>
                    <a:pt x="112" y="204"/>
                  </a:lnTo>
                  <a:lnTo>
                    <a:pt x="105" y="204"/>
                  </a:lnTo>
                  <a:lnTo>
                    <a:pt x="101" y="203"/>
                  </a:lnTo>
                  <a:lnTo>
                    <a:pt x="89" y="203"/>
                  </a:lnTo>
                  <a:lnTo>
                    <a:pt x="81" y="203"/>
                  </a:lnTo>
                  <a:lnTo>
                    <a:pt x="77" y="203"/>
                  </a:lnTo>
                  <a:lnTo>
                    <a:pt x="76" y="203"/>
                  </a:lnTo>
                  <a:lnTo>
                    <a:pt x="69" y="203"/>
                  </a:lnTo>
                  <a:lnTo>
                    <a:pt x="67" y="203"/>
                  </a:lnTo>
                  <a:lnTo>
                    <a:pt x="63" y="203"/>
                  </a:lnTo>
                  <a:lnTo>
                    <a:pt x="60" y="203"/>
                  </a:lnTo>
                  <a:lnTo>
                    <a:pt x="58" y="203"/>
                  </a:lnTo>
                  <a:lnTo>
                    <a:pt x="55" y="203"/>
                  </a:lnTo>
                  <a:lnTo>
                    <a:pt x="51" y="203"/>
                  </a:lnTo>
                  <a:lnTo>
                    <a:pt x="50" y="203"/>
                  </a:lnTo>
                  <a:lnTo>
                    <a:pt x="43" y="203"/>
                  </a:lnTo>
                  <a:lnTo>
                    <a:pt x="41" y="203"/>
                  </a:lnTo>
                  <a:lnTo>
                    <a:pt x="39" y="203"/>
                  </a:lnTo>
                  <a:lnTo>
                    <a:pt x="34" y="203"/>
                  </a:lnTo>
                  <a:lnTo>
                    <a:pt x="33" y="203"/>
                  </a:lnTo>
                  <a:lnTo>
                    <a:pt x="27" y="203"/>
                  </a:lnTo>
                  <a:lnTo>
                    <a:pt x="24" y="203"/>
                  </a:lnTo>
                  <a:lnTo>
                    <a:pt x="17" y="203"/>
                  </a:lnTo>
                  <a:lnTo>
                    <a:pt x="15" y="203"/>
                  </a:lnTo>
                  <a:lnTo>
                    <a:pt x="12" y="203"/>
                  </a:lnTo>
                  <a:lnTo>
                    <a:pt x="8" y="203"/>
                  </a:lnTo>
                  <a:lnTo>
                    <a:pt x="0" y="203"/>
                  </a:lnTo>
                  <a:lnTo>
                    <a:pt x="0" y="199"/>
                  </a:lnTo>
                  <a:lnTo>
                    <a:pt x="0" y="197"/>
                  </a:lnTo>
                  <a:lnTo>
                    <a:pt x="0" y="189"/>
                  </a:lnTo>
                  <a:lnTo>
                    <a:pt x="0" y="185"/>
                  </a:lnTo>
                  <a:lnTo>
                    <a:pt x="0" y="178"/>
                  </a:lnTo>
                  <a:lnTo>
                    <a:pt x="2" y="172"/>
                  </a:lnTo>
                  <a:lnTo>
                    <a:pt x="2" y="168"/>
                  </a:lnTo>
                  <a:lnTo>
                    <a:pt x="2" y="166"/>
                  </a:lnTo>
                  <a:lnTo>
                    <a:pt x="2" y="156"/>
                  </a:lnTo>
                  <a:lnTo>
                    <a:pt x="2" y="151"/>
                  </a:lnTo>
                  <a:lnTo>
                    <a:pt x="2" y="146"/>
                  </a:lnTo>
                  <a:lnTo>
                    <a:pt x="2" y="137"/>
                  </a:lnTo>
                  <a:lnTo>
                    <a:pt x="2" y="135"/>
                  </a:lnTo>
                  <a:lnTo>
                    <a:pt x="2" y="134"/>
                  </a:lnTo>
                  <a:lnTo>
                    <a:pt x="2" y="132"/>
                  </a:lnTo>
                  <a:lnTo>
                    <a:pt x="2" y="130"/>
                  </a:lnTo>
                  <a:lnTo>
                    <a:pt x="2" y="129"/>
                  </a:lnTo>
                  <a:lnTo>
                    <a:pt x="2" y="127"/>
                  </a:lnTo>
                  <a:lnTo>
                    <a:pt x="2" y="125"/>
                  </a:lnTo>
                  <a:lnTo>
                    <a:pt x="2" y="123"/>
                  </a:lnTo>
                  <a:lnTo>
                    <a:pt x="2" y="120"/>
                  </a:lnTo>
                  <a:lnTo>
                    <a:pt x="2" y="117"/>
                  </a:lnTo>
                  <a:lnTo>
                    <a:pt x="2" y="115"/>
                  </a:lnTo>
                  <a:lnTo>
                    <a:pt x="2" y="111"/>
                  </a:lnTo>
                  <a:lnTo>
                    <a:pt x="3" y="101"/>
                  </a:lnTo>
                  <a:lnTo>
                    <a:pt x="3" y="99"/>
                  </a:lnTo>
                  <a:lnTo>
                    <a:pt x="3" y="98"/>
                  </a:lnTo>
                  <a:lnTo>
                    <a:pt x="3" y="89"/>
                  </a:lnTo>
                  <a:lnTo>
                    <a:pt x="3" y="87"/>
                  </a:lnTo>
                  <a:lnTo>
                    <a:pt x="3" y="86"/>
                  </a:lnTo>
                  <a:lnTo>
                    <a:pt x="3" y="82"/>
                  </a:lnTo>
                  <a:lnTo>
                    <a:pt x="3" y="82"/>
                  </a:lnTo>
                  <a:lnTo>
                    <a:pt x="3" y="79"/>
                  </a:lnTo>
                  <a:lnTo>
                    <a:pt x="3" y="67"/>
                  </a:lnTo>
                  <a:lnTo>
                    <a:pt x="3" y="67"/>
                  </a:lnTo>
                  <a:lnTo>
                    <a:pt x="3" y="65"/>
                  </a:lnTo>
                  <a:lnTo>
                    <a:pt x="3" y="56"/>
                  </a:lnTo>
                  <a:lnTo>
                    <a:pt x="3" y="51"/>
                  </a:lnTo>
                  <a:lnTo>
                    <a:pt x="3" y="46"/>
                  </a:lnTo>
                  <a:lnTo>
                    <a:pt x="3" y="44"/>
                  </a:lnTo>
                  <a:lnTo>
                    <a:pt x="3" y="34"/>
                  </a:lnTo>
                  <a:lnTo>
                    <a:pt x="3" y="30"/>
                  </a:lnTo>
                  <a:lnTo>
                    <a:pt x="3" y="29"/>
                  </a:lnTo>
                  <a:lnTo>
                    <a:pt x="3" y="27"/>
                  </a:lnTo>
                  <a:lnTo>
                    <a:pt x="5" y="24"/>
                  </a:lnTo>
                  <a:lnTo>
                    <a:pt x="3" y="24"/>
                  </a:lnTo>
                  <a:lnTo>
                    <a:pt x="3" y="20"/>
                  </a:lnTo>
                  <a:lnTo>
                    <a:pt x="5" y="20"/>
                  </a:lnTo>
                  <a:lnTo>
                    <a:pt x="5" y="18"/>
                  </a:lnTo>
                  <a:lnTo>
                    <a:pt x="3" y="17"/>
                  </a:lnTo>
                  <a:lnTo>
                    <a:pt x="5" y="15"/>
                  </a:lnTo>
                  <a:lnTo>
                    <a:pt x="5" y="13"/>
                  </a:lnTo>
                  <a:lnTo>
                    <a:pt x="5" y="3"/>
                  </a:lnTo>
                  <a:lnTo>
                    <a:pt x="5" y="1"/>
                  </a:lnTo>
                  <a:lnTo>
                    <a:pt x="5" y="0"/>
                  </a:lnTo>
                  <a:lnTo>
                    <a:pt x="15" y="1"/>
                  </a:lnTo>
                  <a:lnTo>
                    <a:pt x="15" y="1"/>
                  </a:lnTo>
                  <a:lnTo>
                    <a:pt x="17" y="1"/>
                  </a:lnTo>
                  <a:lnTo>
                    <a:pt x="27" y="1"/>
                  </a:lnTo>
                  <a:lnTo>
                    <a:pt x="29" y="1"/>
                  </a:lnTo>
                  <a:lnTo>
                    <a:pt x="29" y="1"/>
                  </a:lnTo>
                  <a:lnTo>
                    <a:pt x="38" y="1"/>
                  </a:lnTo>
                  <a:lnTo>
                    <a:pt x="39" y="1"/>
                  </a:lnTo>
                  <a:lnTo>
                    <a:pt x="43" y="3"/>
                  </a:lnTo>
                  <a:lnTo>
                    <a:pt x="50" y="3"/>
                  </a:lnTo>
                  <a:lnTo>
                    <a:pt x="53" y="3"/>
                  </a:lnTo>
                  <a:lnTo>
                    <a:pt x="63" y="3"/>
                  </a:lnTo>
                  <a:lnTo>
                    <a:pt x="65" y="3"/>
                  </a:lnTo>
                  <a:lnTo>
                    <a:pt x="67" y="3"/>
                  </a:lnTo>
                  <a:lnTo>
                    <a:pt x="69" y="3"/>
                  </a:lnTo>
                  <a:lnTo>
                    <a:pt x="72" y="3"/>
                  </a:lnTo>
                  <a:lnTo>
                    <a:pt x="81" y="3"/>
                  </a:lnTo>
                  <a:lnTo>
                    <a:pt x="86" y="3"/>
                  </a:lnTo>
                  <a:lnTo>
                    <a:pt x="94" y="5"/>
                  </a:lnTo>
                  <a:lnTo>
                    <a:pt x="101" y="5"/>
                  </a:lnTo>
                  <a:lnTo>
                    <a:pt x="103" y="5"/>
                  </a:lnTo>
                  <a:lnTo>
                    <a:pt x="113" y="5"/>
                  </a:lnTo>
                  <a:lnTo>
                    <a:pt x="119" y="5"/>
                  </a:lnTo>
                  <a:lnTo>
                    <a:pt x="120" y="5"/>
                  </a:lnTo>
                  <a:lnTo>
                    <a:pt x="124" y="5"/>
                  </a:lnTo>
                  <a:lnTo>
                    <a:pt x="127" y="5"/>
                  </a:lnTo>
                  <a:lnTo>
                    <a:pt x="132" y="5"/>
                  </a:lnTo>
                  <a:lnTo>
                    <a:pt x="136" y="5"/>
                  </a:lnTo>
                  <a:lnTo>
                    <a:pt x="143" y="5"/>
                  </a:lnTo>
                  <a:lnTo>
                    <a:pt x="148" y="5"/>
                  </a:lnTo>
                  <a:lnTo>
                    <a:pt x="149" y="5"/>
                  </a:lnTo>
                  <a:lnTo>
                    <a:pt x="160" y="5"/>
                  </a:lnTo>
                  <a:lnTo>
                    <a:pt x="167" y="5"/>
                  </a:lnTo>
                  <a:lnTo>
                    <a:pt x="170" y="5"/>
                  </a:lnTo>
                  <a:lnTo>
                    <a:pt x="175" y="5"/>
                  </a:lnTo>
                  <a:lnTo>
                    <a:pt x="177" y="5"/>
                  </a:lnTo>
                  <a:lnTo>
                    <a:pt x="180" y="5"/>
                  </a:lnTo>
                  <a:lnTo>
                    <a:pt x="187" y="5"/>
                  </a:lnTo>
                  <a:lnTo>
                    <a:pt x="192" y="5"/>
                  </a:lnTo>
                  <a:lnTo>
                    <a:pt x="194" y="5"/>
                  </a:lnTo>
                  <a:lnTo>
                    <a:pt x="199" y="5"/>
                  </a:lnTo>
                  <a:lnTo>
                    <a:pt x="201" y="5"/>
                  </a:lnTo>
                  <a:lnTo>
                    <a:pt x="203" y="5"/>
                  </a:lnTo>
                  <a:lnTo>
                    <a:pt x="206" y="5"/>
                  </a:lnTo>
                  <a:lnTo>
                    <a:pt x="213" y="5"/>
                  </a:lnTo>
                  <a:lnTo>
                    <a:pt x="220" y="5"/>
                  </a:lnTo>
                  <a:lnTo>
                    <a:pt x="223" y="5"/>
                  </a:lnTo>
                  <a:lnTo>
                    <a:pt x="225" y="5"/>
                  </a:lnTo>
                  <a:lnTo>
                    <a:pt x="234" y="6"/>
                  </a:lnTo>
                  <a:lnTo>
                    <a:pt x="237" y="6"/>
                  </a:lnTo>
                  <a:lnTo>
                    <a:pt x="244" y="6"/>
                  </a:lnTo>
                  <a:lnTo>
                    <a:pt x="246" y="6"/>
                  </a:lnTo>
                  <a:lnTo>
                    <a:pt x="251" y="6"/>
                  </a:lnTo>
                  <a:lnTo>
                    <a:pt x="256" y="6"/>
                  </a:lnTo>
                  <a:lnTo>
                    <a:pt x="258" y="6"/>
                  </a:lnTo>
                  <a:lnTo>
                    <a:pt x="263" y="6"/>
                  </a:lnTo>
                  <a:lnTo>
                    <a:pt x="270" y="6"/>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1" name="Freeform 160"/>
            <p:cNvSpPr>
              <a:spLocks/>
            </p:cNvSpPr>
            <p:nvPr/>
          </p:nvSpPr>
          <p:spPr bwMode="auto">
            <a:xfrm>
              <a:off x="3617209" y="1928606"/>
              <a:ext cx="376238" cy="363538"/>
            </a:xfrm>
            <a:custGeom>
              <a:avLst/>
              <a:gdLst/>
              <a:ahLst/>
              <a:cxnLst>
                <a:cxn ang="0">
                  <a:pos x="237" y="27"/>
                </a:cxn>
                <a:cxn ang="0">
                  <a:pos x="237" y="53"/>
                </a:cxn>
                <a:cxn ang="0">
                  <a:pos x="237" y="69"/>
                </a:cxn>
                <a:cxn ang="0">
                  <a:pos x="236" y="88"/>
                </a:cxn>
                <a:cxn ang="0">
                  <a:pos x="236" y="100"/>
                </a:cxn>
                <a:cxn ang="0">
                  <a:pos x="236" y="108"/>
                </a:cxn>
                <a:cxn ang="0">
                  <a:pos x="236" y="139"/>
                </a:cxn>
                <a:cxn ang="0">
                  <a:pos x="234" y="168"/>
                </a:cxn>
                <a:cxn ang="0">
                  <a:pos x="234" y="187"/>
                </a:cxn>
                <a:cxn ang="0">
                  <a:pos x="234" y="203"/>
                </a:cxn>
                <a:cxn ang="0">
                  <a:pos x="234" y="217"/>
                </a:cxn>
                <a:cxn ang="0">
                  <a:pos x="232" y="229"/>
                </a:cxn>
                <a:cxn ang="0">
                  <a:pos x="205" y="227"/>
                </a:cxn>
                <a:cxn ang="0">
                  <a:pos x="179" y="227"/>
                </a:cxn>
                <a:cxn ang="0">
                  <a:pos x="167" y="227"/>
                </a:cxn>
                <a:cxn ang="0">
                  <a:pos x="156" y="227"/>
                </a:cxn>
                <a:cxn ang="0">
                  <a:pos x="148" y="225"/>
                </a:cxn>
                <a:cxn ang="0">
                  <a:pos x="136" y="225"/>
                </a:cxn>
                <a:cxn ang="0">
                  <a:pos x="122" y="225"/>
                </a:cxn>
                <a:cxn ang="0">
                  <a:pos x="98" y="225"/>
                </a:cxn>
                <a:cxn ang="0">
                  <a:pos x="82" y="225"/>
                </a:cxn>
                <a:cxn ang="0">
                  <a:pos x="67" y="225"/>
                </a:cxn>
                <a:cxn ang="0">
                  <a:pos x="53" y="223"/>
                </a:cxn>
                <a:cxn ang="0">
                  <a:pos x="34" y="223"/>
                </a:cxn>
                <a:cxn ang="0">
                  <a:pos x="22" y="223"/>
                </a:cxn>
                <a:cxn ang="0">
                  <a:pos x="7" y="223"/>
                </a:cxn>
                <a:cxn ang="0">
                  <a:pos x="0" y="218"/>
                </a:cxn>
                <a:cxn ang="0">
                  <a:pos x="0" y="204"/>
                </a:cxn>
                <a:cxn ang="0">
                  <a:pos x="0" y="194"/>
                </a:cxn>
                <a:cxn ang="0">
                  <a:pos x="0" y="182"/>
                </a:cxn>
                <a:cxn ang="0">
                  <a:pos x="2" y="161"/>
                </a:cxn>
                <a:cxn ang="0">
                  <a:pos x="2" y="141"/>
                </a:cxn>
                <a:cxn ang="0">
                  <a:pos x="2" y="127"/>
                </a:cxn>
                <a:cxn ang="0">
                  <a:pos x="2" y="112"/>
                </a:cxn>
                <a:cxn ang="0">
                  <a:pos x="2" y="101"/>
                </a:cxn>
                <a:cxn ang="0">
                  <a:pos x="2" y="93"/>
                </a:cxn>
                <a:cxn ang="0">
                  <a:pos x="2" y="72"/>
                </a:cxn>
                <a:cxn ang="0">
                  <a:pos x="3" y="19"/>
                </a:cxn>
                <a:cxn ang="0">
                  <a:pos x="7" y="0"/>
                </a:cxn>
                <a:cxn ang="0">
                  <a:pos x="26" y="0"/>
                </a:cxn>
                <a:cxn ang="0">
                  <a:pos x="52" y="0"/>
                </a:cxn>
                <a:cxn ang="0">
                  <a:pos x="64" y="0"/>
                </a:cxn>
                <a:cxn ang="0">
                  <a:pos x="70" y="0"/>
                </a:cxn>
                <a:cxn ang="0">
                  <a:pos x="82" y="0"/>
                </a:cxn>
                <a:cxn ang="0">
                  <a:pos x="98" y="1"/>
                </a:cxn>
                <a:cxn ang="0">
                  <a:pos x="115" y="1"/>
                </a:cxn>
                <a:cxn ang="0">
                  <a:pos x="139" y="1"/>
                </a:cxn>
                <a:cxn ang="0">
                  <a:pos x="150" y="1"/>
                </a:cxn>
                <a:cxn ang="0">
                  <a:pos x="160" y="1"/>
                </a:cxn>
                <a:cxn ang="0">
                  <a:pos x="172" y="1"/>
                </a:cxn>
                <a:cxn ang="0">
                  <a:pos x="193" y="3"/>
                </a:cxn>
                <a:cxn ang="0">
                  <a:pos x="211" y="3"/>
                </a:cxn>
                <a:cxn ang="0">
                  <a:pos x="218" y="3"/>
                </a:cxn>
                <a:cxn ang="0">
                  <a:pos x="229" y="3"/>
                </a:cxn>
                <a:cxn ang="0">
                  <a:pos x="236" y="5"/>
                </a:cxn>
              </a:cxnLst>
              <a:rect l="0" t="0" r="r" b="b"/>
              <a:pathLst>
                <a:path w="237" h="229">
                  <a:moveTo>
                    <a:pt x="237" y="5"/>
                  </a:moveTo>
                  <a:lnTo>
                    <a:pt x="237" y="15"/>
                  </a:lnTo>
                  <a:lnTo>
                    <a:pt x="237" y="17"/>
                  </a:lnTo>
                  <a:lnTo>
                    <a:pt x="237" y="22"/>
                  </a:lnTo>
                  <a:lnTo>
                    <a:pt x="237" y="27"/>
                  </a:lnTo>
                  <a:lnTo>
                    <a:pt x="237" y="36"/>
                  </a:lnTo>
                  <a:lnTo>
                    <a:pt x="237" y="38"/>
                  </a:lnTo>
                  <a:lnTo>
                    <a:pt x="237" y="38"/>
                  </a:lnTo>
                  <a:lnTo>
                    <a:pt x="237" y="50"/>
                  </a:lnTo>
                  <a:lnTo>
                    <a:pt x="237" y="53"/>
                  </a:lnTo>
                  <a:lnTo>
                    <a:pt x="237" y="53"/>
                  </a:lnTo>
                  <a:lnTo>
                    <a:pt x="237" y="57"/>
                  </a:lnTo>
                  <a:lnTo>
                    <a:pt x="237" y="58"/>
                  </a:lnTo>
                  <a:lnTo>
                    <a:pt x="237" y="60"/>
                  </a:lnTo>
                  <a:lnTo>
                    <a:pt x="237" y="69"/>
                  </a:lnTo>
                  <a:lnTo>
                    <a:pt x="237" y="70"/>
                  </a:lnTo>
                  <a:lnTo>
                    <a:pt x="237" y="72"/>
                  </a:lnTo>
                  <a:lnTo>
                    <a:pt x="236" y="82"/>
                  </a:lnTo>
                  <a:lnTo>
                    <a:pt x="236" y="86"/>
                  </a:lnTo>
                  <a:lnTo>
                    <a:pt x="236" y="88"/>
                  </a:lnTo>
                  <a:lnTo>
                    <a:pt x="236" y="91"/>
                  </a:lnTo>
                  <a:lnTo>
                    <a:pt x="236" y="94"/>
                  </a:lnTo>
                  <a:lnTo>
                    <a:pt x="236" y="96"/>
                  </a:lnTo>
                  <a:lnTo>
                    <a:pt x="236" y="98"/>
                  </a:lnTo>
                  <a:lnTo>
                    <a:pt x="236" y="100"/>
                  </a:lnTo>
                  <a:lnTo>
                    <a:pt x="236" y="101"/>
                  </a:lnTo>
                  <a:lnTo>
                    <a:pt x="236" y="103"/>
                  </a:lnTo>
                  <a:lnTo>
                    <a:pt x="236" y="105"/>
                  </a:lnTo>
                  <a:lnTo>
                    <a:pt x="236" y="106"/>
                  </a:lnTo>
                  <a:lnTo>
                    <a:pt x="236" y="108"/>
                  </a:lnTo>
                  <a:lnTo>
                    <a:pt x="236" y="117"/>
                  </a:lnTo>
                  <a:lnTo>
                    <a:pt x="236" y="122"/>
                  </a:lnTo>
                  <a:lnTo>
                    <a:pt x="236" y="127"/>
                  </a:lnTo>
                  <a:lnTo>
                    <a:pt x="236" y="137"/>
                  </a:lnTo>
                  <a:lnTo>
                    <a:pt x="236" y="139"/>
                  </a:lnTo>
                  <a:lnTo>
                    <a:pt x="236" y="143"/>
                  </a:lnTo>
                  <a:lnTo>
                    <a:pt x="234" y="149"/>
                  </a:lnTo>
                  <a:lnTo>
                    <a:pt x="234" y="156"/>
                  </a:lnTo>
                  <a:lnTo>
                    <a:pt x="234" y="160"/>
                  </a:lnTo>
                  <a:lnTo>
                    <a:pt x="234" y="168"/>
                  </a:lnTo>
                  <a:lnTo>
                    <a:pt x="234" y="170"/>
                  </a:lnTo>
                  <a:lnTo>
                    <a:pt x="234" y="174"/>
                  </a:lnTo>
                  <a:lnTo>
                    <a:pt x="234" y="177"/>
                  </a:lnTo>
                  <a:lnTo>
                    <a:pt x="234" y="184"/>
                  </a:lnTo>
                  <a:lnTo>
                    <a:pt x="234" y="187"/>
                  </a:lnTo>
                  <a:lnTo>
                    <a:pt x="234" y="192"/>
                  </a:lnTo>
                  <a:lnTo>
                    <a:pt x="234" y="194"/>
                  </a:lnTo>
                  <a:lnTo>
                    <a:pt x="234" y="199"/>
                  </a:lnTo>
                  <a:lnTo>
                    <a:pt x="234" y="201"/>
                  </a:lnTo>
                  <a:lnTo>
                    <a:pt x="234" y="203"/>
                  </a:lnTo>
                  <a:lnTo>
                    <a:pt x="234" y="204"/>
                  </a:lnTo>
                  <a:lnTo>
                    <a:pt x="234" y="208"/>
                  </a:lnTo>
                  <a:lnTo>
                    <a:pt x="234" y="211"/>
                  </a:lnTo>
                  <a:lnTo>
                    <a:pt x="234" y="213"/>
                  </a:lnTo>
                  <a:lnTo>
                    <a:pt x="234" y="217"/>
                  </a:lnTo>
                  <a:lnTo>
                    <a:pt x="234" y="222"/>
                  </a:lnTo>
                  <a:lnTo>
                    <a:pt x="234" y="225"/>
                  </a:lnTo>
                  <a:lnTo>
                    <a:pt x="234" y="227"/>
                  </a:lnTo>
                  <a:lnTo>
                    <a:pt x="234" y="229"/>
                  </a:lnTo>
                  <a:lnTo>
                    <a:pt x="232" y="229"/>
                  </a:lnTo>
                  <a:lnTo>
                    <a:pt x="220" y="227"/>
                  </a:lnTo>
                  <a:lnTo>
                    <a:pt x="218" y="227"/>
                  </a:lnTo>
                  <a:lnTo>
                    <a:pt x="217" y="227"/>
                  </a:lnTo>
                  <a:lnTo>
                    <a:pt x="208" y="227"/>
                  </a:lnTo>
                  <a:lnTo>
                    <a:pt x="205" y="227"/>
                  </a:lnTo>
                  <a:lnTo>
                    <a:pt x="196" y="227"/>
                  </a:lnTo>
                  <a:lnTo>
                    <a:pt x="193" y="227"/>
                  </a:lnTo>
                  <a:lnTo>
                    <a:pt x="189" y="227"/>
                  </a:lnTo>
                  <a:lnTo>
                    <a:pt x="182" y="227"/>
                  </a:lnTo>
                  <a:lnTo>
                    <a:pt x="179" y="227"/>
                  </a:lnTo>
                  <a:lnTo>
                    <a:pt x="175" y="227"/>
                  </a:lnTo>
                  <a:lnTo>
                    <a:pt x="174" y="227"/>
                  </a:lnTo>
                  <a:lnTo>
                    <a:pt x="174" y="227"/>
                  </a:lnTo>
                  <a:lnTo>
                    <a:pt x="172" y="227"/>
                  </a:lnTo>
                  <a:lnTo>
                    <a:pt x="167" y="227"/>
                  </a:lnTo>
                  <a:lnTo>
                    <a:pt x="165" y="227"/>
                  </a:lnTo>
                  <a:lnTo>
                    <a:pt x="163" y="227"/>
                  </a:lnTo>
                  <a:lnTo>
                    <a:pt x="162" y="227"/>
                  </a:lnTo>
                  <a:lnTo>
                    <a:pt x="158" y="227"/>
                  </a:lnTo>
                  <a:lnTo>
                    <a:pt x="156" y="227"/>
                  </a:lnTo>
                  <a:lnTo>
                    <a:pt x="156" y="225"/>
                  </a:lnTo>
                  <a:lnTo>
                    <a:pt x="155" y="225"/>
                  </a:lnTo>
                  <a:lnTo>
                    <a:pt x="153" y="225"/>
                  </a:lnTo>
                  <a:lnTo>
                    <a:pt x="151" y="225"/>
                  </a:lnTo>
                  <a:lnTo>
                    <a:pt x="148" y="225"/>
                  </a:lnTo>
                  <a:lnTo>
                    <a:pt x="146" y="225"/>
                  </a:lnTo>
                  <a:lnTo>
                    <a:pt x="144" y="225"/>
                  </a:lnTo>
                  <a:lnTo>
                    <a:pt x="143" y="225"/>
                  </a:lnTo>
                  <a:lnTo>
                    <a:pt x="138" y="225"/>
                  </a:lnTo>
                  <a:lnTo>
                    <a:pt x="136" y="225"/>
                  </a:lnTo>
                  <a:lnTo>
                    <a:pt x="134" y="225"/>
                  </a:lnTo>
                  <a:lnTo>
                    <a:pt x="132" y="225"/>
                  </a:lnTo>
                  <a:lnTo>
                    <a:pt x="127" y="225"/>
                  </a:lnTo>
                  <a:lnTo>
                    <a:pt x="125" y="225"/>
                  </a:lnTo>
                  <a:lnTo>
                    <a:pt x="122" y="225"/>
                  </a:lnTo>
                  <a:lnTo>
                    <a:pt x="115" y="225"/>
                  </a:lnTo>
                  <a:lnTo>
                    <a:pt x="110" y="225"/>
                  </a:lnTo>
                  <a:lnTo>
                    <a:pt x="107" y="225"/>
                  </a:lnTo>
                  <a:lnTo>
                    <a:pt x="105" y="225"/>
                  </a:lnTo>
                  <a:lnTo>
                    <a:pt x="98" y="225"/>
                  </a:lnTo>
                  <a:lnTo>
                    <a:pt x="98" y="225"/>
                  </a:lnTo>
                  <a:lnTo>
                    <a:pt x="93" y="225"/>
                  </a:lnTo>
                  <a:lnTo>
                    <a:pt x="91" y="225"/>
                  </a:lnTo>
                  <a:lnTo>
                    <a:pt x="86" y="225"/>
                  </a:lnTo>
                  <a:lnTo>
                    <a:pt x="82" y="225"/>
                  </a:lnTo>
                  <a:lnTo>
                    <a:pt x="82" y="225"/>
                  </a:lnTo>
                  <a:lnTo>
                    <a:pt x="79" y="225"/>
                  </a:lnTo>
                  <a:lnTo>
                    <a:pt x="77" y="225"/>
                  </a:lnTo>
                  <a:lnTo>
                    <a:pt x="70" y="225"/>
                  </a:lnTo>
                  <a:lnTo>
                    <a:pt x="67" y="225"/>
                  </a:lnTo>
                  <a:lnTo>
                    <a:pt x="65" y="225"/>
                  </a:lnTo>
                  <a:lnTo>
                    <a:pt x="60" y="225"/>
                  </a:lnTo>
                  <a:lnTo>
                    <a:pt x="60" y="223"/>
                  </a:lnTo>
                  <a:lnTo>
                    <a:pt x="57" y="223"/>
                  </a:lnTo>
                  <a:lnTo>
                    <a:pt x="53" y="223"/>
                  </a:lnTo>
                  <a:lnTo>
                    <a:pt x="53" y="223"/>
                  </a:lnTo>
                  <a:lnTo>
                    <a:pt x="52" y="223"/>
                  </a:lnTo>
                  <a:lnTo>
                    <a:pt x="48" y="223"/>
                  </a:lnTo>
                  <a:lnTo>
                    <a:pt x="36" y="223"/>
                  </a:lnTo>
                  <a:lnTo>
                    <a:pt x="34" y="223"/>
                  </a:lnTo>
                  <a:lnTo>
                    <a:pt x="33" y="223"/>
                  </a:lnTo>
                  <a:lnTo>
                    <a:pt x="29" y="223"/>
                  </a:lnTo>
                  <a:lnTo>
                    <a:pt x="24" y="223"/>
                  </a:lnTo>
                  <a:lnTo>
                    <a:pt x="22" y="223"/>
                  </a:lnTo>
                  <a:lnTo>
                    <a:pt x="22" y="223"/>
                  </a:lnTo>
                  <a:lnTo>
                    <a:pt x="21" y="223"/>
                  </a:lnTo>
                  <a:lnTo>
                    <a:pt x="17" y="223"/>
                  </a:lnTo>
                  <a:lnTo>
                    <a:pt x="15" y="223"/>
                  </a:lnTo>
                  <a:lnTo>
                    <a:pt x="10" y="223"/>
                  </a:lnTo>
                  <a:lnTo>
                    <a:pt x="7" y="223"/>
                  </a:lnTo>
                  <a:lnTo>
                    <a:pt x="5" y="223"/>
                  </a:lnTo>
                  <a:lnTo>
                    <a:pt x="3" y="223"/>
                  </a:lnTo>
                  <a:lnTo>
                    <a:pt x="0" y="223"/>
                  </a:lnTo>
                  <a:lnTo>
                    <a:pt x="0" y="220"/>
                  </a:lnTo>
                  <a:lnTo>
                    <a:pt x="0" y="218"/>
                  </a:lnTo>
                  <a:lnTo>
                    <a:pt x="0" y="218"/>
                  </a:lnTo>
                  <a:lnTo>
                    <a:pt x="0" y="215"/>
                  </a:lnTo>
                  <a:lnTo>
                    <a:pt x="0" y="211"/>
                  </a:lnTo>
                  <a:lnTo>
                    <a:pt x="0" y="206"/>
                  </a:lnTo>
                  <a:lnTo>
                    <a:pt x="0" y="204"/>
                  </a:lnTo>
                  <a:lnTo>
                    <a:pt x="0" y="203"/>
                  </a:lnTo>
                  <a:lnTo>
                    <a:pt x="0" y="199"/>
                  </a:lnTo>
                  <a:lnTo>
                    <a:pt x="0" y="198"/>
                  </a:lnTo>
                  <a:lnTo>
                    <a:pt x="0" y="196"/>
                  </a:lnTo>
                  <a:lnTo>
                    <a:pt x="0" y="194"/>
                  </a:lnTo>
                  <a:lnTo>
                    <a:pt x="0" y="192"/>
                  </a:lnTo>
                  <a:lnTo>
                    <a:pt x="0" y="191"/>
                  </a:lnTo>
                  <a:lnTo>
                    <a:pt x="0" y="189"/>
                  </a:lnTo>
                  <a:lnTo>
                    <a:pt x="0" y="187"/>
                  </a:lnTo>
                  <a:lnTo>
                    <a:pt x="0" y="182"/>
                  </a:lnTo>
                  <a:lnTo>
                    <a:pt x="0" y="177"/>
                  </a:lnTo>
                  <a:lnTo>
                    <a:pt x="0" y="174"/>
                  </a:lnTo>
                  <a:lnTo>
                    <a:pt x="2" y="170"/>
                  </a:lnTo>
                  <a:lnTo>
                    <a:pt x="2" y="165"/>
                  </a:lnTo>
                  <a:lnTo>
                    <a:pt x="2" y="161"/>
                  </a:lnTo>
                  <a:lnTo>
                    <a:pt x="2" y="158"/>
                  </a:lnTo>
                  <a:lnTo>
                    <a:pt x="2" y="158"/>
                  </a:lnTo>
                  <a:lnTo>
                    <a:pt x="2" y="153"/>
                  </a:lnTo>
                  <a:lnTo>
                    <a:pt x="2" y="144"/>
                  </a:lnTo>
                  <a:lnTo>
                    <a:pt x="2" y="141"/>
                  </a:lnTo>
                  <a:lnTo>
                    <a:pt x="2" y="139"/>
                  </a:lnTo>
                  <a:lnTo>
                    <a:pt x="2" y="137"/>
                  </a:lnTo>
                  <a:lnTo>
                    <a:pt x="2" y="134"/>
                  </a:lnTo>
                  <a:lnTo>
                    <a:pt x="2" y="131"/>
                  </a:lnTo>
                  <a:lnTo>
                    <a:pt x="2" y="127"/>
                  </a:lnTo>
                  <a:lnTo>
                    <a:pt x="2" y="127"/>
                  </a:lnTo>
                  <a:lnTo>
                    <a:pt x="2" y="125"/>
                  </a:lnTo>
                  <a:lnTo>
                    <a:pt x="2" y="117"/>
                  </a:lnTo>
                  <a:lnTo>
                    <a:pt x="2" y="115"/>
                  </a:lnTo>
                  <a:lnTo>
                    <a:pt x="2" y="112"/>
                  </a:lnTo>
                  <a:lnTo>
                    <a:pt x="2" y="108"/>
                  </a:lnTo>
                  <a:lnTo>
                    <a:pt x="2" y="106"/>
                  </a:lnTo>
                  <a:lnTo>
                    <a:pt x="2" y="105"/>
                  </a:lnTo>
                  <a:lnTo>
                    <a:pt x="2" y="103"/>
                  </a:lnTo>
                  <a:lnTo>
                    <a:pt x="2" y="101"/>
                  </a:lnTo>
                  <a:lnTo>
                    <a:pt x="2" y="100"/>
                  </a:lnTo>
                  <a:lnTo>
                    <a:pt x="2" y="98"/>
                  </a:lnTo>
                  <a:lnTo>
                    <a:pt x="2" y="96"/>
                  </a:lnTo>
                  <a:lnTo>
                    <a:pt x="2" y="94"/>
                  </a:lnTo>
                  <a:lnTo>
                    <a:pt x="2" y="93"/>
                  </a:lnTo>
                  <a:lnTo>
                    <a:pt x="2" y="84"/>
                  </a:lnTo>
                  <a:lnTo>
                    <a:pt x="2" y="82"/>
                  </a:lnTo>
                  <a:lnTo>
                    <a:pt x="2" y="79"/>
                  </a:lnTo>
                  <a:lnTo>
                    <a:pt x="2" y="77"/>
                  </a:lnTo>
                  <a:lnTo>
                    <a:pt x="2" y="72"/>
                  </a:lnTo>
                  <a:lnTo>
                    <a:pt x="2" y="60"/>
                  </a:lnTo>
                  <a:lnTo>
                    <a:pt x="3" y="44"/>
                  </a:lnTo>
                  <a:lnTo>
                    <a:pt x="3" y="32"/>
                  </a:lnTo>
                  <a:lnTo>
                    <a:pt x="3" y="26"/>
                  </a:lnTo>
                  <a:lnTo>
                    <a:pt x="3" y="19"/>
                  </a:lnTo>
                  <a:lnTo>
                    <a:pt x="3" y="14"/>
                  </a:lnTo>
                  <a:lnTo>
                    <a:pt x="3" y="10"/>
                  </a:lnTo>
                  <a:lnTo>
                    <a:pt x="3" y="5"/>
                  </a:lnTo>
                  <a:lnTo>
                    <a:pt x="3" y="0"/>
                  </a:lnTo>
                  <a:lnTo>
                    <a:pt x="7" y="0"/>
                  </a:lnTo>
                  <a:lnTo>
                    <a:pt x="15" y="0"/>
                  </a:lnTo>
                  <a:lnTo>
                    <a:pt x="17" y="0"/>
                  </a:lnTo>
                  <a:lnTo>
                    <a:pt x="21" y="0"/>
                  </a:lnTo>
                  <a:lnTo>
                    <a:pt x="22" y="0"/>
                  </a:lnTo>
                  <a:lnTo>
                    <a:pt x="26" y="0"/>
                  </a:lnTo>
                  <a:lnTo>
                    <a:pt x="33" y="0"/>
                  </a:lnTo>
                  <a:lnTo>
                    <a:pt x="38" y="0"/>
                  </a:lnTo>
                  <a:lnTo>
                    <a:pt x="41" y="0"/>
                  </a:lnTo>
                  <a:lnTo>
                    <a:pt x="48" y="0"/>
                  </a:lnTo>
                  <a:lnTo>
                    <a:pt x="52" y="0"/>
                  </a:lnTo>
                  <a:lnTo>
                    <a:pt x="53" y="0"/>
                  </a:lnTo>
                  <a:lnTo>
                    <a:pt x="58" y="0"/>
                  </a:lnTo>
                  <a:lnTo>
                    <a:pt x="60" y="0"/>
                  </a:lnTo>
                  <a:lnTo>
                    <a:pt x="62" y="0"/>
                  </a:lnTo>
                  <a:lnTo>
                    <a:pt x="64" y="0"/>
                  </a:lnTo>
                  <a:lnTo>
                    <a:pt x="65" y="0"/>
                  </a:lnTo>
                  <a:lnTo>
                    <a:pt x="67" y="0"/>
                  </a:lnTo>
                  <a:lnTo>
                    <a:pt x="67" y="0"/>
                  </a:lnTo>
                  <a:lnTo>
                    <a:pt x="69" y="0"/>
                  </a:lnTo>
                  <a:lnTo>
                    <a:pt x="70" y="0"/>
                  </a:lnTo>
                  <a:lnTo>
                    <a:pt x="74" y="0"/>
                  </a:lnTo>
                  <a:lnTo>
                    <a:pt x="76" y="0"/>
                  </a:lnTo>
                  <a:lnTo>
                    <a:pt x="77" y="0"/>
                  </a:lnTo>
                  <a:lnTo>
                    <a:pt x="79" y="0"/>
                  </a:lnTo>
                  <a:lnTo>
                    <a:pt x="82" y="0"/>
                  </a:lnTo>
                  <a:lnTo>
                    <a:pt x="84" y="0"/>
                  </a:lnTo>
                  <a:lnTo>
                    <a:pt x="89" y="0"/>
                  </a:lnTo>
                  <a:lnTo>
                    <a:pt x="93" y="0"/>
                  </a:lnTo>
                  <a:lnTo>
                    <a:pt x="96" y="1"/>
                  </a:lnTo>
                  <a:lnTo>
                    <a:pt x="98" y="1"/>
                  </a:lnTo>
                  <a:lnTo>
                    <a:pt x="103" y="1"/>
                  </a:lnTo>
                  <a:lnTo>
                    <a:pt x="107" y="1"/>
                  </a:lnTo>
                  <a:lnTo>
                    <a:pt x="108" y="1"/>
                  </a:lnTo>
                  <a:lnTo>
                    <a:pt x="112" y="1"/>
                  </a:lnTo>
                  <a:lnTo>
                    <a:pt x="115" y="1"/>
                  </a:lnTo>
                  <a:lnTo>
                    <a:pt x="119" y="1"/>
                  </a:lnTo>
                  <a:lnTo>
                    <a:pt x="122" y="1"/>
                  </a:lnTo>
                  <a:lnTo>
                    <a:pt x="132" y="1"/>
                  </a:lnTo>
                  <a:lnTo>
                    <a:pt x="138" y="1"/>
                  </a:lnTo>
                  <a:lnTo>
                    <a:pt x="139" y="1"/>
                  </a:lnTo>
                  <a:lnTo>
                    <a:pt x="143" y="1"/>
                  </a:lnTo>
                  <a:lnTo>
                    <a:pt x="144" y="1"/>
                  </a:lnTo>
                  <a:lnTo>
                    <a:pt x="146" y="1"/>
                  </a:lnTo>
                  <a:lnTo>
                    <a:pt x="148" y="1"/>
                  </a:lnTo>
                  <a:lnTo>
                    <a:pt x="150" y="1"/>
                  </a:lnTo>
                  <a:lnTo>
                    <a:pt x="151" y="1"/>
                  </a:lnTo>
                  <a:lnTo>
                    <a:pt x="153" y="1"/>
                  </a:lnTo>
                  <a:lnTo>
                    <a:pt x="155" y="1"/>
                  </a:lnTo>
                  <a:lnTo>
                    <a:pt x="158" y="1"/>
                  </a:lnTo>
                  <a:lnTo>
                    <a:pt x="160" y="1"/>
                  </a:lnTo>
                  <a:lnTo>
                    <a:pt x="162" y="1"/>
                  </a:lnTo>
                  <a:lnTo>
                    <a:pt x="165" y="1"/>
                  </a:lnTo>
                  <a:lnTo>
                    <a:pt x="168" y="1"/>
                  </a:lnTo>
                  <a:lnTo>
                    <a:pt x="170" y="1"/>
                  </a:lnTo>
                  <a:lnTo>
                    <a:pt x="172" y="1"/>
                  </a:lnTo>
                  <a:lnTo>
                    <a:pt x="174" y="1"/>
                  </a:lnTo>
                  <a:lnTo>
                    <a:pt x="177" y="1"/>
                  </a:lnTo>
                  <a:lnTo>
                    <a:pt x="179" y="1"/>
                  </a:lnTo>
                  <a:lnTo>
                    <a:pt x="182" y="3"/>
                  </a:lnTo>
                  <a:lnTo>
                    <a:pt x="193" y="3"/>
                  </a:lnTo>
                  <a:lnTo>
                    <a:pt x="205" y="3"/>
                  </a:lnTo>
                  <a:lnTo>
                    <a:pt x="206" y="3"/>
                  </a:lnTo>
                  <a:lnTo>
                    <a:pt x="208" y="3"/>
                  </a:lnTo>
                  <a:lnTo>
                    <a:pt x="210" y="3"/>
                  </a:lnTo>
                  <a:lnTo>
                    <a:pt x="211" y="3"/>
                  </a:lnTo>
                  <a:lnTo>
                    <a:pt x="213" y="3"/>
                  </a:lnTo>
                  <a:lnTo>
                    <a:pt x="215" y="3"/>
                  </a:lnTo>
                  <a:lnTo>
                    <a:pt x="217" y="3"/>
                  </a:lnTo>
                  <a:lnTo>
                    <a:pt x="218" y="3"/>
                  </a:lnTo>
                  <a:lnTo>
                    <a:pt x="218" y="3"/>
                  </a:lnTo>
                  <a:lnTo>
                    <a:pt x="220" y="3"/>
                  </a:lnTo>
                  <a:lnTo>
                    <a:pt x="222" y="3"/>
                  </a:lnTo>
                  <a:lnTo>
                    <a:pt x="224" y="3"/>
                  </a:lnTo>
                  <a:lnTo>
                    <a:pt x="225" y="3"/>
                  </a:lnTo>
                  <a:lnTo>
                    <a:pt x="229" y="3"/>
                  </a:lnTo>
                  <a:lnTo>
                    <a:pt x="230" y="3"/>
                  </a:lnTo>
                  <a:lnTo>
                    <a:pt x="230" y="5"/>
                  </a:lnTo>
                  <a:lnTo>
                    <a:pt x="234" y="5"/>
                  </a:lnTo>
                  <a:lnTo>
                    <a:pt x="234" y="5"/>
                  </a:lnTo>
                  <a:lnTo>
                    <a:pt x="236" y="5"/>
                  </a:lnTo>
                  <a:lnTo>
                    <a:pt x="237" y="5"/>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2" name="Freeform 164"/>
            <p:cNvSpPr>
              <a:spLocks/>
            </p:cNvSpPr>
            <p:nvPr/>
          </p:nvSpPr>
          <p:spPr bwMode="auto">
            <a:xfrm>
              <a:off x="4410959" y="2100056"/>
              <a:ext cx="620713" cy="496888"/>
            </a:xfrm>
            <a:custGeom>
              <a:avLst/>
              <a:gdLst/>
              <a:ahLst/>
              <a:cxnLst>
                <a:cxn ang="0">
                  <a:pos x="50" y="4"/>
                </a:cxn>
                <a:cxn ang="0">
                  <a:pos x="93" y="2"/>
                </a:cxn>
                <a:cxn ang="0">
                  <a:pos x="136" y="2"/>
                </a:cxn>
                <a:cxn ang="0">
                  <a:pos x="186" y="2"/>
                </a:cxn>
                <a:cxn ang="0">
                  <a:pos x="231" y="2"/>
                </a:cxn>
                <a:cxn ang="0">
                  <a:pos x="277" y="0"/>
                </a:cxn>
                <a:cxn ang="0">
                  <a:pos x="293" y="12"/>
                </a:cxn>
                <a:cxn ang="0">
                  <a:pos x="291" y="28"/>
                </a:cxn>
                <a:cxn ang="0">
                  <a:pos x="291" y="41"/>
                </a:cxn>
                <a:cxn ang="0">
                  <a:pos x="296" y="50"/>
                </a:cxn>
                <a:cxn ang="0">
                  <a:pos x="300" y="57"/>
                </a:cxn>
                <a:cxn ang="0">
                  <a:pos x="289" y="60"/>
                </a:cxn>
                <a:cxn ang="0">
                  <a:pos x="289" y="69"/>
                </a:cxn>
                <a:cxn ang="0">
                  <a:pos x="289" y="79"/>
                </a:cxn>
                <a:cxn ang="0">
                  <a:pos x="291" y="93"/>
                </a:cxn>
                <a:cxn ang="0">
                  <a:pos x="291" y="103"/>
                </a:cxn>
                <a:cxn ang="0">
                  <a:pos x="295" y="119"/>
                </a:cxn>
                <a:cxn ang="0">
                  <a:pos x="293" y="122"/>
                </a:cxn>
                <a:cxn ang="0">
                  <a:pos x="305" y="124"/>
                </a:cxn>
                <a:cxn ang="0">
                  <a:pos x="307" y="129"/>
                </a:cxn>
                <a:cxn ang="0">
                  <a:pos x="312" y="117"/>
                </a:cxn>
                <a:cxn ang="0">
                  <a:pos x="322" y="112"/>
                </a:cxn>
                <a:cxn ang="0">
                  <a:pos x="320" y="129"/>
                </a:cxn>
                <a:cxn ang="0">
                  <a:pos x="322" y="143"/>
                </a:cxn>
                <a:cxn ang="0">
                  <a:pos x="326" y="134"/>
                </a:cxn>
                <a:cxn ang="0">
                  <a:pos x="332" y="143"/>
                </a:cxn>
                <a:cxn ang="0">
                  <a:pos x="339" y="139"/>
                </a:cxn>
                <a:cxn ang="0">
                  <a:pos x="358" y="145"/>
                </a:cxn>
                <a:cxn ang="0">
                  <a:pos x="379" y="152"/>
                </a:cxn>
                <a:cxn ang="0">
                  <a:pos x="382" y="164"/>
                </a:cxn>
                <a:cxn ang="0">
                  <a:pos x="379" y="184"/>
                </a:cxn>
                <a:cxn ang="0">
                  <a:pos x="358" y="167"/>
                </a:cxn>
                <a:cxn ang="0">
                  <a:pos x="336" y="162"/>
                </a:cxn>
                <a:cxn ang="0">
                  <a:pos x="341" y="184"/>
                </a:cxn>
                <a:cxn ang="0">
                  <a:pos x="320" y="220"/>
                </a:cxn>
                <a:cxn ang="0">
                  <a:pos x="303" y="213"/>
                </a:cxn>
                <a:cxn ang="0">
                  <a:pos x="291" y="231"/>
                </a:cxn>
                <a:cxn ang="0">
                  <a:pos x="272" y="236"/>
                </a:cxn>
                <a:cxn ang="0">
                  <a:pos x="250" y="241"/>
                </a:cxn>
                <a:cxn ang="0">
                  <a:pos x="255" y="267"/>
                </a:cxn>
                <a:cxn ang="0">
                  <a:pos x="252" y="284"/>
                </a:cxn>
                <a:cxn ang="0">
                  <a:pos x="238" y="294"/>
                </a:cxn>
                <a:cxn ang="0">
                  <a:pos x="207" y="296"/>
                </a:cxn>
                <a:cxn ang="0">
                  <a:pos x="212" y="272"/>
                </a:cxn>
                <a:cxn ang="0">
                  <a:pos x="193" y="269"/>
                </a:cxn>
                <a:cxn ang="0">
                  <a:pos x="183" y="258"/>
                </a:cxn>
                <a:cxn ang="0">
                  <a:pos x="167" y="248"/>
                </a:cxn>
                <a:cxn ang="0">
                  <a:pos x="157" y="270"/>
                </a:cxn>
                <a:cxn ang="0">
                  <a:pos x="160" y="299"/>
                </a:cxn>
                <a:cxn ang="0">
                  <a:pos x="121" y="306"/>
                </a:cxn>
                <a:cxn ang="0">
                  <a:pos x="105" y="289"/>
                </a:cxn>
                <a:cxn ang="0">
                  <a:pos x="80" y="286"/>
                </a:cxn>
                <a:cxn ang="0">
                  <a:pos x="66" y="282"/>
                </a:cxn>
                <a:cxn ang="0">
                  <a:pos x="57" y="291"/>
                </a:cxn>
                <a:cxn ang="0">
                  <a:pos x="40" y="301"/>
                </a:cxn>
                <a:cxn ang="0">
                  <a:pos x="28" y="313"/>
                </a:cxn>
                <a:cxn ang="0">
                  <a:pos x="6" y="312"/>
                </a:cxn>
                <a:cxn ang="0">
                  <a:pos x="0" y="272"/>
                </a:cxn>
                <a:cxn ang="0">
                  <a:pos x="0" y="224"/>
                </a:cxn>
                <a:cxn ang="0">
                  <a:pos x="0" y="200"/>
                </a:cxn>
                <a:cxn ang="0">
                  <a:pos x="2" y="126"/>
                </a:cxn>
                <a:cxn ang="0">
                  <a:pos x="2" y="78"/>
                </a:cxn>
                <a:cxn ang="0">
                  <a:pos x="4" y="21"/>
                </a:cxn>
              </a:cxnLst>
              <a:rect l="0" t="0" r="r" b="b"/>
              <a:pathLst>
                <a:path w="391" h="313">
                  <a:moveTo>
                    <a:pt x="4" y="4"/>
                  </a:moveTo>
                  <a:lnTo>
                    <a:pt x="7" y="4"/>
                  </a:lnTo>
                  <a:lnTo>
                    <a:pt x="14" y="4"/>
                  </a:lnTo>
                  <a:lnTo>
                    <a:pt x="19" y="4"/>
                  </a:lnTo>
                  <a:lnTo>
                    <a:pt x="23" y="4"/>
                  </a:lnTo>
                  <a:lnTo>
                    <a:pt x="25" y="4"/>
                  </a:lnTo>
                  <a:lnTo>
                    <a:pt x="28" y="4"/>
                  </a:lnTo>
                  <a:lnTo>
                    <a:pt x="30" y="4"/>
                  </a:lnTo>
                  <a:lnTo>
                    <a:pt x="35" y="4"/>
                  </a:lnTo>
                  <a:lnTo>
                    <a:pt x="45" y="4"/>
                  </a:lnTo>
                  <a:lnTo>
                    <a:pt x="47" y="4"/>
                  </a:lnTo>
                  <a:lnTo>
                    <a:pt x="50" y="4"/>
                  </a:lnTo>
                  <a:lnTo>
                    <a:pt x="52" y="4"/>
                  </a:lnTo>
                  <a:lnTo>
                    <a:pt x="54" y="4"/>
                  </a:lnTo>
                  <a:lnTo>
                    <a:pt x="64" y="4"/>
                  </a:lnTo>
                  <a:lnTo>
                    <a:pt x="68" y="4"/>
                  </a:lnTo>
                  <a:lnTo>
                    <a:pt x="69" y="4"/>
                  </a:lnTo>
                  <a:lnTo>
                    <a:pt x="71" y="4"/>
                  </a:lnTo>
                  <a:lnTo>
                    <a:pt x="74" y="4"/>
                  </a:lnTo>
                  <a:lnTo>
                    <a:pt x="81" y="2"/>
                  </a:lnTo>
                  <a:lnTo>
                    <a:pt x="86" y="2"/>
                  </a:lnTo>
                  <a:lnTo>
                    <a:pt x="88" y="2"/>
                  </a:lnTo>
                  <a:lnTo>
                    <a:pt x="92" y="2"/>
                  </a:lnTo>
                  <a:lnTo>
                    <a:pt x="93" y="2"/>
                  </a:lnTo>
                  <a:lnTo>
                    <a:pt x="97" y="2"/>
                  </a:lnTo>
                  <a:lnTo>
                    <a:pt x="102" y="2"/>
                  </a:lnTo>
                  <a:lnTo>
                    <a:pt x="104" y="2"/>
                  </a:lnTo>
                  <a:lnTo>
                    <a:pt x="107" y="2"/>
                  </a:lnTo>
                  <a:lnTo>
                    <a:pt x="111" y="2"/>
                  </a:lnTo>
                  <a:lnTo>
                    <a:pt x="114" y="2"/>
                  </a:lnTo>
                  <a:lnTo>
                    <a:pt x="119" y="2"/>
                  </a:lnTo>
                  <a:lnTo>
                    <a:pt x="123" y="2"/>
                  </a:lnTo>
                  <a:lnTo>
                    <a:pt x="126" y="2"/>
                  </a:lnTo>
                  <a:lnTo>
                    <a:pt x="129" y="2"/>
                  </a:lnTo>
                  <a:lnTo>
                    <a:pt x="133" y="2"/>
                  </a:lnTo>
                  <a:lnTo>
                    <a:pt x="136" y="2"/>
                  </a:lnTo>
                  <a:lnTo>
                    <a:pt x="147" y="2"/>
                  </a:lnTo>
                  <a:lnTo>
                    <a:pt x="154" y="2"/>
                  </a:lnTo>
                  <a:lnTo>
                    <a:pt x="155" y="2"/>
                  </a:lnTo>
                  <a:lnTo>
                    <a:pt x="155" y="2"/>
                  </a:lnTo>
                  <a:lnTo>
                    <a:pt x="157" y="2"/>
                  </a:lnTo>
                  <a:lnTo>
                    <a:pt x="159" y="2"/>
                  </a:lnTo>
                  <a:lnTo>
                    <a:pt x="167" y="2"/>
                  </a:lnTo>
                  <a:lnTo>
                    <a:pt x="171" y="2"/>
                  </a:lnTo>
                  <a:lnTo>
                    <a:pt x="171" y="2"/>
                  </a:lnTo>
                  <a:lnTo>
                    <a:pt x="174" y="2"/>
                  </a:lnTo>
                  <a:lnTo>
                    <a:pt x="181" y="2"/>
                  </a:lnTo>
                  <a:lnTo>
                    <a:pt x="186" y="2"/>
                  </a:lnTo>
                  <a:lnTo>
                    <a:pt x="191" y="2"/>
                  </a:lnTo>
                  <a:lnTo>
                    <a:pt x="202" y="2"/>
                  </a:lnTo>
                  <a:lnTo>
                    <a:pt x="202" y="2"/>
                  </a:lnTo>
                  <a:lnTo>
                    <a:pt x="203" y="2"/>
                  </a:lnTo>
                  <a:lnTo>
                    <a:pt x="210" y="2"/>
                  </a:lnTo>
                  <a:lnTo>
                    <a:pt x="214" y="2"/>
                  </a:lnTo>
                  <a:lnTo>
                    <a:pt x="217" y="2"/>
                  </a:lnTo>
                  <a:lnTo>
                    <a:pt x="221" y="2"/>
                  </a:lnTo>
                  <a:lnTo>
                    <a:pt x="224" y="2"/>
                  </a:lnTo>
                  <a:lnTo>
                    <a:pt x="226" y="2"/>
                  </a:lnTo>
                  <a:lnTo>
                    <a:pt x="229" y="2"/>
                  </a:lnTo>
                  <a:lnTo>
                    <a:pt x="231" y="2"/>
                  </a:lnTo>
                  <a:lnTo>
                    <a:pt x="231" y="2"/>
                  </a:lnTo>
                  <a:lnTo>
                    <a:pt x="236" y="2"/>
                  </a:lnTo>
                  <a:lnTo>
                    <a:pt x="246" y="2"/>
                  </a:lnTo>
                  <a:lnTo>
                    <a:pt x="246" y="2"/>
                  </a:lnTo>
                  <a:lnTo>
                    <a:pt x="248" y="2"/>
                  </a:lnTo>
                  <a:lnTo>
                    <a:pt x="255" y="0"/>
                  </a:lnTo>
                  <a:lnTo>
                    <a:pt x="258" y="0"/>
                  </a:lnTo>
                  <a:lnTo>
                    <a:pt x="262" y="0"/>
                  </a:lnTo>
                  <a:lnTo>
                    <a:pt x="262" y="0"/>
                  </a:lnTo>
                  <a:lnTo>
                    <a:pt x="264" y="0"/>
                  </a:lnTo>
                  <a:lnTo>
                    <a:pt x="269" y="0"/>
                  </a:lnTo>
                  <a:lnTo>
                    <a:pt x="277" y="0"/>
                  </a:lnTo>
                  <a:lnTo>
                    <a:pt x="279" y="0"/>
                  </a:lnTo>
                  <a:lnTo>
                    <a:pt x="281" y="0"/>
                  </a:lnTo>
                  <a:lnTo>
                    <a:pt x="286" y="2"/>
                  </a:lnTo>
                  <a:lnTo>
                    <a:pt x="288" y="2"/>
                  </a:lnTo>
                  <a:lnTo>
                    <a:pt x="289" y="2"/>
                  </a:lnTo>
                  <a:lnTo>
                    <a:pt x="289" y="4"/>
                  </a:lnTo>
                  <a:lnTo>
                    <a:pt x="289" y="5"/>
                  </a:lnTo>
                  <a:lnTo>
                    <a:pt x="291" y="5"/>
                  </a:lnTo>
                  <a:lnTo>
                    <a:pt x="291" y="7"/>
                  </a:lnTo>
                  <a:lnTo>
                    <a:pt x="291" y="9"/>
                  </a:lnTo>
                  <a:lnTo>
                    <a:pt x="291" y="10"/>
                  </a:lnTo>
                  <a:lnTo>
                    <a:pt x="293" y="12"/>
                  </a:lnTo>
                  <a:lnTo>
                    <a:pt x="293" y="14"/>
                  </a:lnTo>
                  <a:lnTo>
                    <a:pt x="293" y="16"/>
                  </a:lnTo>
                  <a:lnTo>
                    <a:pt x="291" y="16"/>
                  </a:lnTo>
                  <a:lnTo>
                    <a:pt x="291" y="17"/>
                  </a:lnTo>
                  <a:lnTo>
                    <a:pt x="291" y="19"/>
                  </a:lnTo>
                  <a:lnTo>
                    <a:pt x="291" y="19"/>
                  </a:lnTo>
                  <a:lnTo>
                    <a:pt x="291" y="21"/>
                  </a:lnTo>
                  <a:lnTo>
                    <a:pt x="291" y="23"/>
                  </a:lnTo>
                  <a:lnTo>
                    <a:pt x="293" y="24"/>
                  </a:lnTo>
                  <a:lnTo>
                    <a:pt x="293" y="26"/>
                  </a:lnTo>
                  <a:lnTo>
                    <a:pt x="293" y="28"/>
                  </a:lnTo>
                  <a:lnTo>
                    <a:pt x="291" y="28"/>
                  </a:lnTo>
                  <a:lnTo>
                    <a:pt x="291" y="29"/>
                  </a:lnTo>
                  <a:lnTo>
                    <a:pt x="291" y="31"/>
                  </a:lnTo>
                  <a:lnTo>
                    <a:pt x="293" y="31"/>
                  </a:lnTo>
                  <a:lnTo>
                    <a:pt x="293" y="33"/>
                  </a:lnTo>
                  <a:lnTo>
                    <a:pt x="295" y="33"/>
                  </a:lnTo>
                  <a:lnTo>
                    <a:pt x="295" y="35"/>
                  </a:lnTo>
                  <a:lnTo>
                    <a:pt x="295" y="35"/>
                  </a:lnTo>
                  <a:lnTo>
                    <a:pt x="293" y="35"/>
                  </a:lnTo>
                  <a:lnTo>
                    <a:pt x="293" y="36"/>
                  </a:lnTo>
                  <a:lnTo>
                    <a:pt x="293" y="38"/>
                  </a:lnTo>
                  <a:lnTo>
                    <a:pt x="291" y="40"/>
                  </a:lnTo>
                  <a:lnTo>
                    <a:pt x="291" y="41"/>
                  </a:lnTo>
                  <a:lnTo>
                    <a:pt x="293" y="43"/>
                  </a:lnTo>
                  <a:lnTo>
                    <a:pt x="293" y="45"/>
                  </a:lnTo>
                  <a:lnTo>
                    <a:pt x="295" y="45"/>
                  </a:lnTo>
                  <a:lnTo>
                    <a:pt x="296" y="45"/>
                  </a:lnTo>
                  <a:lnTo>
                    <a:pt x="298" y="45"/>
                  </a:lnTo>
                  <a:lnTo>
                    <a:pt x="298" y="47"/>
                  </a:lnTo>
                  <a:lnTo>
                    <a:pt x="300" y="47"/>
                  </a:lnTo>
                  <a:lnTo>
                    <a:pt x="300" y="48"/>
                  </a:lnTo>
                  <a:lnTo>
                    <a:pt x="300" y="50"/>
                  </a:lnTo>
                  <a:lnTo>
                    <a:pt x="298" y="50"/>
                  </a:lnTo>
                  <a:lnTo>
                    <a:pt x="298" y="50"/>
                  </a:lnTo>
                  <a:lnTo>
                    <a:pt x="296" y="50"/>
                  </a:lnTo>
                  <a:lnTo>
                    <a:pt x="295" y="50"/>
                  </a:lnTo>
                  <a:lnTo>
                    <a:pt x="295" y="52"/>
                  </a:lnTo>
                  <a:lnTo>
                    <a:pt x="295" y="53"/>
                  </a:lnTo>
                  <a:lnTo>
                    <a:pt x="296" y="55"/>
                  </a:lnTo>
                  <a:lnTo>
                    <a:pt x="298" y="55"/>
                  </a:lnTo>
                  <a:lnTo>
                    <a:pt x="300" y="53"/>
                  </a:lnTo>
                  <a:lnTo>
                    <a:pt x="301" y="53"/>
                  </a:lnTo>
                  <a:lnTo>
                    <a:pt x="301" y="55"/>
                  </a:lnTo>
                  <a:lnTo>
                    <a:pt x="303" y="55"/>
                  </a:lnTo>
                  <a:lnTo>
                    <a:pt x="303" y="57"/>
                  </a:lnTo>
                  <a:lnTo>
                    <a:pt x="301" y="57"/>
                  </a:lnTo>
                  <a:lnTo>
                    <a:pt x="300" y="57"/>
                  </a:lnTo>
                  <a:lnTo>
                    <a:pt x="298" y="57"/>
                  </a:lnTo>
                  <a:lnTo>
                    <a:pt x="296" y="57"/>
                  </a:lnTo>
                  <a:lnTo>
                    <a:pt x="295" y="57"/>
                  </a:lnTo>
                  <a:lnTo>
                    <a:pt x="295" y="59"/>
                  </a:lnTo>
                  <a:lnTo>
                    <a:pt x="293" y="59"/>
                  </a:lnTo>
                  <a:lnTo>
                    <a:pt x="293" y="60"/>
                  </a:lnTo>
                  <a:lnTo>
                    <a:pt x="291" y="62"/>
                  </a:lnTo>
                  <a:lnTo>
                    <a:pt x="291" y="64"/>
                  </a:lnTo>
                  <a:lnTo>
                    <a:pt x="291" y="64"/>
                  </a:lnTo>
                  <a:lnTo>
                    <a:pt x="291" y="62"/>
                  </a:lnTo>
                  <a:lnTo>
                    <a:pt x="291" y="60"/>
                  </a:lnTo>
                  <a:lnTo>
                    <a:pt x="289" y="60"/>
                  </a:lnTo>
                  <a:lnTo>
                    <a:pt x="289" y="59"/>
                  </a:lnTo>
                  <a:lnTo>
                    <a:pt x="288" y="59"/>
                  </a:lnTo>
                  <a:lnTo>
                    <a:pt x="286" y="59"/>
                  </a:lnTo>
                  <a:lnTo>
                    <a:pt x="284" y="60"/>
                  </a:lnTo>
                  <a:lnTo>
                    <a:pt x="284" y="62"/>
                  </a:lnTo>
                  <a:lnTo>
                    <a:pt x="284" y="64"/>
                  </a:lnTo>
                  <a:lnTo>
                    <a:pt x="286" y="66"/>
                  </a:lnTo>
                  <a:lnTo>
                    <a:pt x="288" y="66"/>
                  </a:lnTo>
                  <a:lnTo>
                    <a:pt x="289" y="66"/>
                  </a:lnTo>
                  <a:lnTo>
                    <a:pt x="289" y="66"/>
                  </a:lnTo>
                  <a:lnTo>
                    <a:pt x="289" y="67"/>
                  </a:lnTo>
                  <a:lnTo>
                    <a:pt x="289" y="69"/>
                  </a:lnTo>
                  <a:lnTo>
                    <a:pt x="289" y="71"/>
                  </a:lnTo>
                  <a:lnTo>
                    <a:pt x="288" y="71"/>
                  </a:lnTo>
                  <a:lnTo>
                    <a:pt x="288" y="72"/>
                  </a:lnTo>
                  <a:lnTo>
                    <a:pt x="286" y="72"/>
                  </a:lnTo>
                  <a:lnTo>
                    <a:pt x="284" y="72"/>
                  </a:lnTo>
                  <a:lnTo>
                    <a:pt x="284" y="74"/>
                  </a:lnTo>
                  <a:lnTo>
                    <a:pt x="286" y="74"/>
                  </a:lnTo>
                  <a:lnTo>
                    <a:pt x="286" y="76"/>
                  </a:lnTo>
                  <a:lnTo>
                    <a:pt x="288" y="78"/>
                  </a:lnTo>
                  <a:lnTo>
                    <a:pt x="289" y="78"/>
                  </a:lnTo>
                  <a:lnTo>
                    <a:pt x="289" y="79"/>
                  </a:lnTo>
                  <a:lnTo>
                    <a:pt x="289" y="79"/>
                  </a:lnTo>
                  <a:lnTo>
                    <a:pt x="291" y="81"/>
                  </a:lnTo>
                  <a:lnTo>
                    <a:pt x="291" y="83"/>
                  </a:lnTo>
                  <a:lnTo>
                    <a:pt x="291" y="84"/>
                  </a:lnTo>
                  <a:lnTo>
                    <a:pt x="291" y="84"/>
                  </a:lnTo>
                  <a:lnTo>
                    <a:pt x="293" y="86"/>
                  </a:lnTo>
                  <a:lnTo>
                    <a:pt x="295" y="86"/>
                  </a:lnTo>
                  <a:lnTo>
                    <a:pt x="295" y="88"/>
                  </a:lnTo>
                  <a:lnTo>
                    <a:pt x="295" y="90"/>
                  </a:lnTo>
                  <a:lnTo>
                    <a:pt x="295" y="91"/>
                  </a:lnTo>
                  <a:lnTo>
                    <a:pt x="295" y="93"/>
                  </a:lnTo>
                  <a:lnTo>
                    <a:pt x="293" y="93"/>
                  </a:lnTo>
                  <a:lnTo>
                    <a:pt x="291" y="93"/>
                  </a:lnTo>
                  <a:lnTo>
                    <a:pt x="291" y="91"/>
                  </a:lnTo>
                  <a:lnTo>
                    <a:pt x="291" y="91"/>
                  </a:lnTo>
                  <a:lnTo>
                    <a:pt x="289" y="91"/>
                  </a:lnTo>
                  <a:lnTo>
                    <a:pt x="289" y="93"/>
                  </a:lnTo>
                  <a:lnTo>
                    <a:pt x="289" y="95"/>
                  </a:lnTo>
                  <a:lnTo>
                    <a:pt x="289" y="95"/>
                  </a:lnTo>
                  <a:lnTo>
                    <a:pt x="289" y="96"/>
                  </a:lnTo>
                  <a:lnTo>
                    <a:pt x="289" y="98"/>
                  </a:lnTo>
                  <a:lnTo>
                    <a:pt x="289" y="100"/>
                  </a:lnTo>
                  <a:lnTo>
                    <a:pt x="289" y="102"/>
                  </a:lnTo>
                  <a:lnTo>
                    <a:pt x="291" y="102"/>
                  </a:lnTo>
                  <a:lnTo>
                    <a:pt x="291" y="103"/>
                  </a:lnTo>
                  <a:lnTo>
                    <a:pt x="291" y="103"/>
                  </a:lnTo>
                  <a:lnTo>
                    <a:pt x="293" y="103"/>
                  </a:lnTo>
                  <a:lnTo>
                    <a:pt x="293" y="105"/>
                  </a:lnTo>
                  <a:lnTo>
                    <a:pt x="295" y="107"/>
                  </a:lnTo>
                  <a:lnTo>
                    <a:pt x="295" y="109"/>
                  </a:lnTo>
                  <a:lnTo>
                    <a:pt x="296" y="109"/>
                  </a:lnTo>
                  <a:lnTo>
                    <a:pt x="296" y="110"/>
                  </a:lnTo>
                  <a:lnTo>
                    <a:pt x="298" y="112"/>
                  </a:lnTo>
                  <a:lnTo>
                    <a:pt x="298" y="115"/>
                  </a:lnTo>
                  <a:lnTo>
                    <a:pt x="296" y="117"/>
                  </a:lnTo>
                  <a:lnTo>
                    <a:pt x="296" y="119"/>
                  </a:lnTo>
                  <a:lnTo>
                    <a:pt x="295" y="119"/>
                  </a:lnTo>
                  <a:lnTo>
                    <a:pt x="293" y="121"/>
                  </a:lnTo>
                  <a:lnTo>
                    <a:pt x="293" y="119"/>
                  </a:lnTo>
                  <a:lnTo>
                    <a:pt x="291" y="119"/>
                  </a:lnTo>
                  <a:lnTo>
                    <a:pt x="291" y="117"/>
                  </a:lnTo>
                  <a:lnTo>
                    <a:pt x="291" y="115"/>
                  </a:lnTo>
                  <a:lnTo>
                    <a:pt x="289" y="117"/>
                  </a:lnTo>
                  <a:lnTo>
                    <a:pt x="289" y="119"/>
                  </a:lnTo>
                  <a:lnTo>
                    <a:pt x="289" y="121"/>
                  </a:lnTo>
                  <a:lnTo>
                    <a:pt x="289" y="122"/>
                  </a:lnTo>
                  <a:lnTo>
                    <a:pt x="291" y="122"/>
                  </a:lnTo>
                  <a:lnTo>
                    <a:pt x="291" y="124"/>
                  </a:lnTo>
                  <a:lnTo>
                    <a:pt x="293" y="122"/>
                  </a:lnTo>
                  <a:lnTo>
                    <a:pt x="295" y="122"/>
                  </a:lnTo>
                  <a:lnTo>
                    <a:pt x="296" y="122"/>
                  </a:lnTo>
                  <a:lnTo>
                    <a:pt x="296" y="121"/>
                  </a:lnTo>
                  <a:lnTo>
                    <a:pt x="298" y="121"/>
                  </a:lnTo>
                  <a:lnTo>
                    <a:pt x="298" y="119"/>
                  </a:lnTo>
                  <a:lnTo>
                    <a:pt x="300" y="119"/>
                  </a:lnTo>
                  <a:lnTo>
                    <a:pt x="301" y="119"/>
                  </a:lnTo>
                  <a:lnTo>
                    <a:pt x="303" y="119"/>
                  </a:lnTo>
                  <a:lnTo>
                    <a:pt x="303" y="121"/>
                  </a:lnTo>
                  <a:lnTo>
                    <a:pt x="305" y="121"/>
                  </a:lnTo>
                  <a:lnTo>
                    <a:pt x="305" y="122"/>
                  </a:lnTo>
                  <a:lnTo>
                    <a:pt x="305" y="124"/>
                  </a:lnTo>
                  <a:lnTo>
                    <a:pt x="305" y="126"/>
                  </a:lnTo>
                  <a:lnTo>
                    <a:pt x="305" y="126"/>
                  </a:lnTo>
                  <a:lnTo>
                    <a:pt x="305" y="127"/>
                  </a:lnTo>
                  <a:lnTo>
                    <a:pt x="303" y="129"/>
                  </a:lnTo>
                  <a:lnTo>
                    <a:pt x="301" y="131"/>
                  </a:lnTo>
                  <a:lnTo>
                    <a:pt x="303" y="133"/>
                  </a:lnTo>
                  <a:lnTo>
                    <a:pt x="305" y="134"/>
                  </a:lnTo>
                  <a:lnTo>
                    <a:pt x="307" y="134"/>
                  </a:lnTo>
                  <a:lnTo>
                    <a:pt x="307" y="133"/>
                  </a:lnTo>
                  <a:lnTo>
                    <a:pt x="307" y="133"/>
                  </a:lnTo>
                  <a:lnTo>
                    <a:pt x="307" y="131"/>
                  </a:lnTo>
                  <a:lnTo>
                    <a:pt x="307" y="129"/>
                  </a:lnTo>
                  <a:lnTo>
                    <a:pt x="307" y="127"/>
                  </a:lnTo>
                  <a:lnTo>
                    <a:pt x="307" y="126"/>
                  </a:lnTo>
                  <a:lnTo>
                    <a:pt x="307" y="126"/>
                  </a:lnTo>
                  <a:lnTo>
                    <a:pt x="307" y="124"/>
                  </a:lnTo>
                  <a:lnTo>
                    <a:pt x="307" y="124"/>
                  </a:lnTo>
                  <a:lnTo>
                    <a:pt x="307" y="122"/>
                  </a:lnTo>
                  <a:lnTo>
                    <a:pt x="307" y="122"/>
                  </a:lnTo>
                  <a:lnTo>
                    <a:pt x="308" y="121"/>
                  </a:lnTo>
                  <a:lnTo>
                    <a:pt x="308" y="119"/>
                  </a:lnTo>
                  <a:lnTo>
                    <a:pt x="308" y="117"/>
                  </a:lnTo>
                  <a:lnTo>
                    <a:pt x="310" y="117"/>
                  </a:lnTo>
                  <a:lnTo>
                    <a:pt x="312" y="117"/>
                  </a:lnTo>
                  <a:lnTo>
                    <a:pt x="312" y="115"/>
                  </a:lnTo>
                  <a:lnTo>
                    <a:pt x="312" y="114"/>
                  </a:lnTo>
                  <a:lnTo>
                    <a:pt x="310" y="114"/>
                  </a:lnTo>
                  <a:lnTo>
                    <a:pt x="310" y="112"/>
                  </a:lnTo>
                  <a:lnTo>
                    <a:pt x="312" y="110"/>
                  </a:lnTo>
                  <a:lnTo>
                    <a:pt x="313" y="110"/>
                  </a:lnTo>
                  <a:lnTo>
                    <a:pt x="315" y="110"/>
                  </a:lnTo>
                  <a:lnTo>
                    <a:pt x="317" y="110"/>
                  </a:lnTo>
                  <a:lnTo>
                    <a:pt x="319" y="110"/>
                  </a:lnTo>
                  <a:lnTo>
                    <a:pt x="319" y="110"/>
                  </a:lnTo>
                  <a:lnTo>
                    <a:pt x="320" y="110"/>
                  </a:lnTo>
                  <a:lnTo>
                    <a:pt x="322" y="112"/>
                  </a:lnTo>
                  <a:lnTo>
                    <a:pt x="322" y="114"/>
                  </a:lnTo>
                  <a:lnTo>
                    <a:pt x="322" y="115"/>
                  </a:lnTo>
                  <a:lnTo>
                    <a:pt x="322" y="117"/>
                  </a:lnTo>
                  <a:lnTo>
                    <a:pt x="320" y="119"/>
                  </a:lnTo>
                  <a:lnTo>
                    <a:pt x="320" y="121"/>
                  </a:lnTo>
                  <a:lnTo>
                    <a:pt x="320" y="122"/>
                  </a:lnTo>
                  <a:lnTo>
                    <a:pt x="322" y="124"/>
                  </a:lnTo>
                  <a:lnTo>
                    <a:pt x="322" y="126"/>
                  </a:lnTo>
                  <a:lnTo>
                    <a:pt x="322" y="126"/>
                  </a:lnTo>
                  <a:lnTo>
                    <a:pt x="322" y="127"/>
                  </a:lnTo>
                  <a:lnTo>
                    <a:pt x="322" y="129"/>
                  </a:lnTo>
                  <a:lnTo>
                    <a:pt x="320" y="129"/>
                  </a:lnTo>
                  <a:lnTo>
                    <a:pt x="319" y="129"/>
                  </a:lnTo>
                  <a:lnTo>
                    <a:pt x="317" y="129"/>
                  </a:lnTo>
                  <a:lnTo>
                    <a:pt x="317" y="131"/>
                  </a:lnTo>
                  <a:lnTo>
                    <a:pt x="319" y="133"/>
                  </a:lnTo>
                  <a:lnTo>
                    <a:pt x="317" y="134"/>
                  </a:lnTo>
                  <a:lnTo>
                    <a:pt x="317" y="136"/>
                  </a:lnTo>
                  <a:lnTo>
                    <a:pt x="317" y="138"/>
                  </a:lnTo>
                  <a:lnTo>
                    <a:pt x="317" y="139"/>
                  </a:lnTo>
                  <a:lnTo>
                    <a:pt x="319" y="139"/>
                  </a:lnTo>
                  <a:lnTo>
                    <a:pt x="320" y="139"/>
                  </a:lnTo>
                  <a:lnTo>
                    <a:pt x="322" y="141"/>
                  </a:lnTo>
                  <a:lnTo>
                    <a:pt x="322" y="143"/>
                  </a:lnTo>
                  <a:lnTo>
                    <a:pt x="324" y="143"/>
                  </a:lnTo>
                  <a:lnTo>
                    <a:pt x="324" y="141"/>
                  </a:lnTo>
                  <a:lnTo>
                    <a:pt x="324" y="139"/>
                  </a:lnTo>
                  <a:lnTo>
                    <a:pt x="324" y="139"/>
                  </a:lnTo>
                  <a:lnTo>
                    <a:pt x="322" y="138"/>
                  </a:lnTo>
                  <a:lnTo>
                    <a:pt x="322" y="138"/>
                  </a:lnTo>
                  <a:lnTo>
                    <a:pt x="322" y="136"/>
                  </a:lnTo>
                  <a:lnTo>
                    <a:pt x="322" y="134"/>
                  </a:lnTo>
                  <a:lnTo>
                    <a:pt x="322" y="134"/>
                  </a:lnTo>
                  <a:lnTo>
                    <a:pt x="322" y="133"/>
                  </a:lnTo>
                  <a:lnTo>
                    <a:pt x="324" y="133"/>
                  </a:lnTo>
                  <a:lnTo>
                    <a:pt x="326" y="134"/>
                  </a:lnTo>
                  <a:lnTo>
                    <a:pt x="327" y="134"/>
                  </a:lnTo>
                  <a:lnTo>
                    <a:pt x="327" y="136"/>
                  </a:lnTo>
                  <a:lnTo>
                    <a:pt x="327" y="138"/>
                  </a:lnTo>
                  <a:lnTo>
                    <a:pt x="327" y="139"/>
                  </a:lnTo>
                  <a:lnTo>
                    <a:pt x="327" y="139"/>
                  </a:lnTo>
                  <a:lnTo>
                    <a:pt x="327" y="141"/>
                  </a:lnTo>
                  <a:lnTo>
                    <a:pt x="326" y="141"/>
                  </a:lnTo>
                  <a:lnTo>
                    <a:pt x="326" y="143"/>
                  </a:lnTo>
                  <a:lnTo>
                    <a:pt x="327" y="143"/>
                  </a:lnTo>
                  <a:lnTo>
                    <a:pt x="329" y="143"/>
                  </a:lnTo>
                  <a:lnTo>
                    <a:pt x="331" y="143"/>
                  </a:lnTo>
                  <a:lnTo>
                    <a:pt x="332" y="143"/>
                  </a:lnTo>
                  <a:lnTo>
                    <a:pt x="334" y="141"/>
                  </a:lnTo>
                  <a:lnTo>
                    <a:pt x="336" y="139"/>
                  </a:lnTo>
                  <a:lnTo>
                    <a:pt x="336" y="139"/>
                  </a:lnTo>
                  <a:lnTo>
                    <a:pt x="332" y="138"/>
                  </a:lnTo>
                  <a:lnTo>
                    <a:pt x="331" y="138"/>
                  </a:lnTo>
                  <a:lnTo>
                    <a:pt x="331" y="136"/>
                  </a:lnTo>
                  <a:lnTo>
                    <a:pt x="332" y="136"/>
                  </a:lnTo>
                  <a:lnTo>
                    <a:pt x="334" y="136"/>
                  </a:lnTo>
                  <a:lnTo>
                    <a:pt x="336" y="138"/>
                  </a:lnTo>
                  <a:lnTo>
                    <a:pt x="336" y="139"/>
                  </a:lnTo>
                  <a:lnTo>
                    <a:pt x="338" y="139"/>
                  </a:lnTo>
                  <a:lnTo>
                    <a:pt x="339" y="139"/>
                  </a:lnTo>
                  <a:lnTo>
                    <a:pt x="341" y="139"/>
                  </a:lnTo>
                  <a:lnTo>
                    <a:pt x="343" y="141"/>
                  </a:lnTo>
                  <a:lnTo>
                    <a:pt x="348" y="141"/>
                  </a:lnTo>
                  <a:lnTo>
                    <a:pt x="351" y="141"/>
                  </a:lnTo>
                  <a:lnTo>
                    <a:pt x="351" y="139"/>
                  </a:lnTo>
                  <a:lnTo>
                    <a:pt x="353" y="139"/>
                  </a:lnTo>
                  <a:lnTo>
                    <a:pt x="355" y="139"/>
                  </a:lnTo>
                  <a:lnTo>
                    <a:pt x="356" y="139"/>
                  </a:lnTo>
                  <a:lnTo>
                    <a:pt x="356" y="141"/>
                  </a:lnTo>
                  <a:lnTo>
                    <a:pt x="358" y="141"/>
                  </a:lnTo>
                  <a:lnTo>
                    <a:pt x="358" y="143"/>
                  </a:lnTo>
                  <a:lnTo>
                    <a:pt x="358" y="145"/>
                  </a:lnTo>
                  <a:lnTo>
                    <a:pt x="360" y="145"/>
                  </a:lnTo>
                  <a:lnTo>
                    <a:pt x="360" y="146"/>
                  </a:lnTo>
                  <a:lnTo>
                    <a:pt x="360" y="148"/>
                  </a:lnTo>
                  <a:lnTo>
                    <a:pt x="362" y="150"/>
                  </a:lnTo>
                  <a:lnTo>
                    <a:pt x="363" y="152"/>
                  </a:lnTo>
                  <a:lnTo>
                    <a:pt x="365" y="152"/>
                  </a:lnTo>
                  <a:lnTo>
                    <a:pt x="367" y="150"/>
                  </a:lnTo>
                  <a:lnTo>
                    <a:pt x="367" y="150"/>
                  </a:lnTo>
                  <a:lnTo>
                    <a:pt x="369" y="148"/>
                  </a:lnTo>
                  <a:lnTo>
                    <a:pt x="370" y="148"/>
                  </a:lnTo>
                  <a:lnTo>
                    <a:pt x="375" y="152"/>
                  </a:lnTo>
                  <a:lnTo>
                    <a:pt x="379" y="152"/>
                  </a:lnTo>
                  <a:lnTo>
                    <a:pt x="381" y="152"/>
                  </a:lnTo>
                  <a:lnTo>
                    <a:pt x="381" y="153"/>
                  </a:lnTo>
                  <a:lnTo>
                    <a:pt x="382" y="153"/>
                  </a:lnTo>
                  <a:lnTo>
                    <a:pt x="382" y="153"/>
                  </a:lnTo>
                  <a:lnTo>
                    <a:pt x="382" y="155"/>
                  </a:lnTo>
                  <a:lnTo>
                    <a:pt x="384" y="155"/>
                  </a:lnTo>
                  <a:lnTo>
                    <a:pt x="384" y="157"/>
                  </a:lnTo>
                  <a:lnTo>
                    <a:pt x="384" y="158"/>
                  </a:lnTo>
                  <a:lnTo>
                    <a:pt x="384" y="160"/>
                  </a:lnTo>
                  <a:lnTo>
                    <a:pt x="382" y="160"/>
                  </a:lnTo>
                  <a:lnTo>
                    <a:pt x="382" y="162"/>
                  </a:lnTo>
                  <a:lnTo>
                    <a:pt x="382" y="164"/>
                  </a:lnTo>
                  <a:lnTo>
                    <a:pt x="382" y="165"/>
                  </a:lnTo>
                  <a:lnTo>
                    <a:pt x="382" y="167"/>
                  </a:lnTo>
                  <a:lnTo>
                    <a:pt x="384" y="170"/>
                  </a:lnTo>
                  <a:lnTo>
                    <a:pt x="384" y="174"/>
                  </a:lnTo>
                  <a:lnTo>
                    <a:pt x="384" y="176"/>
                  </a:lnTo>
                  <a:lnTo>
                    <a:pt x="386" y="176"/>
                  </a:lnTo>
                  <a:lnTo>
                    <a:pt x="386" y="177"/>
                  </a:lnTo>
                  <a:lnTo>
                    <a:pt x="387" y="177"/>
                  </a:lnTo>
                  <a:lnTo>
                    <a:pt x="389" y="179"/>
                  </a:lnTo>
                  <a:lnTo>
                    <a:pt x="391" y="179"/>
                  </a:lnTo>
                  <a:lnTo>
                    <a:pt x="389" y="179"/>
                  </a:lnTo>
                  <a:lnTo>
                    <a:pt x="379" y="184"/>
                  </a:lnTo>
                  <a:lnTo>
                    <a:pt x="375" y="184"/>
                  </a:lnTo>
                  <a:lnTo>
                    <a:pt x="372" y="184"/>
                  </a:lnTo>
                  <a:lnTo>
                    <a:pt x="370" y="184"/>
                  </a:lnTo>
                  <a:lnTo>
                    <a:pt x="369" y="183"/>
                  </a:lnTo>
                  <a:lnTo>
                    <a:pt x="367" y="181"/>
                  </a:lnTo>
                  <a:lnTo>
                    <a:pt x="365" y="179"/>
                  </a:lnTo>
                  <a:lnTo>
                    <a:pt x="363" y="176"/>
                  </a:lnTo>
                  <a:lnTo>
                    <a:pt x="362" y="174"/>
                  </a:lnTo>
                  <a:lnTo>
                    <a:pt x="360" y="170"/>
                  </a:lnTo>
                  <a:lnTo>
                    <a:pt x="360" y="170"/>
                  </a:lnTo>
                  <a:lnTo>
                    <a:pt x="360" y="169"/>
                  </a:lnTo>
                  <a:lnTo>
                    <a:pt x="358" y="167"/>
                  </a:lnTo>
                  <a:lnTo>
                    <a:pt x="356" y="165"/>
                  </a:lnTo>
                  <a:lnTo>
                    <a:pt x="355" y="162"/>
                  </a:lnTo>
                  <a:lnTo>
                    <a:pt x="353" y="160"/>
                  </a:lnTo>
                  <a:lnTo>
                    <a:pt x="351" y="160"/>
                  </a:lnTo>
                  <a:lnTo>
                    <a:pt x="351" y="158"/>
                  </a:lnTo>
                  <a:lnTo>
                    <a:pt x="350" y="157"/>
                  </a:lnTo>
                  <a:lnTo>
                    <a:pt x="348" y="157"/>
                  </a:lnTo>
                  <a:lnTo>
                    <a:pt x="346" y="157"/>
                  </a:lnTo>
                  <a:lnTo>
                    <a:pt x="343" y="157"/>
                  </a:lnTo>
                  <a:lnTo>
                    <a:pt x="341" y="158"/>
                  </a:lnTo>
                  <a:lnTo>
                    <a:pt x="338" y="158"/>
                  </a:lnTo>
                  <a:lnTo>
                    <a:pt x="336" y="162"/>
                  </a:lnTo>
                  <a:lnTo>
                    <a:pt x="336" y="164"/>
                  </a:lnTo>
                  <a:lnTo>
                    <a:pt x="334" y="165"/>
                  </a:lnTo>
                  <a:lnTo>
                    <a:pt x="334" y="167"/>
                  </a:lnTo>
                  <a:lnTo>
                    <a:pt x="334" y="170"/>
                  </a:lnTo>
                  <a:lnTo>
                    <a:pt x="336" y="170"/>
                  </a:lnTo>
                  <a:lnTo>
                    <a:pt x="336" y="174"/>
                  </a:lnTo>
                  <a:lnTo>
                    <a:pt x="336" y="176"/>
                  </a:lnTo>
                  <a:lnTo>
                    <a:pt x="338" y="177"/>
                  </a:lnTo>
                  <a:lnTo>
                    <a:pt x="339" y="179"/>
                  </a:lnTo>
                  <a:lnTo>
                    <a:pt x="339" y="181"/>
                  </a:lnTo>
                  <a:lnTo>
                    <a:pt x="341" y="183"/>
                  </a:lnTo>
                  <a:lnTo>
                    <a:pt x="341" y="184"/>
                  </a:lnTo>
                  <a:lnTo>
                    <a:pt x="341" y="186"/>
                  </a:lnTo>
                  <a:lnTo>
                    <a:pt x="339" y="189"/>
                  </a:lnTo>
                  <a:lnTo>
                    <a:pt x="339" y="193"/>
                  </a:lnTo>
                  <a:lnTo>
                    <a:pt x="336" y="196"/>
                  </a:lnTo>
                  <a:lnTo>
                    <a:pt x="336" y="198"/>
                  </a:lnTo>
                  <a:lnTo>
                    <a:pt x="332" y="200"/>
                  </a:lnTo>
                  <a:lnTo>
                    <a:pt x="331" y="203"/>
                  </a:lnTo>
                  <a:lnTo>
                    <a:pt x="329" y="207"/>
                  </a:lnTo>
                  <a:lnTo>
                    <a:pt x="327" y="210"/>
                  </a:lnTo>
                  <a:lnTo>
                    <a:pt x="324" y="215"/>
                  </a:lnTo>
                  <a:lnTo>
                    <a:pt x="322" y="219"/>
                  </a:lnTo>
                  <a:lnTo>
                    <a:pt x="320" y="220"/>
                  </a:lnTo>
                  <a:lnTo>
                    <a:pt x="319" y="220"/>
                  </a:lnTo>
                  <a:lnTo>
                    <a:pt x="317" y="222"/>
                  </a:lnTo>
                  <a:lnTo>
                    <a:pt x="315" y="220"/>
                  </a:lnTo>
                  <a:lnTo>
                    <a:pt x="313" y="219"/>
                  </a:lnTo>
                  <a:lnTo>
                    <a:pt x="313" y="217"/>
                  </a:lnTo>
                  <a:lnTo>
                    <a:pt x="312" y="217"/>
                  </a:lnTo>
                  <a:lnTo>
                    <a:pt x="310" y="215"/>
                  </a:lnTo>
                  <a:lnTo>
                    <a:pt x="308" y="215"/>
                  </a:lnTo>
                  <a:lnTo>
                    <a:pt x="307" y="215"/>
                  </a:lnTo>
                  <a:lnTo>
                    <a:pt x="307" y="213"/>
                  </a:lnTo>
                  <a:lnTo>
                    <a:pt x="305" y="213"/>
                  </a:lnTo>
                  <a:lnTo>
                    <a:pt x="303" y="213"/>
                  </a:lnTo>
                  <a:lnTo>
                    <a:pt x="303" y="215"/>
                  </a:lnTo>
                  <a:lnTo>
                    <a:pt x="301" y="215"/>
                  </a:lnTo>
                  <a:lnTo>
                    <a:pt x="296" y="219"/>
                  </a:lnTo>
                  <a:lnTo>
                    <a:pt x="296" y="220"/>
                  </a:lnTo>
                  <a:lnTo>
                    <a:pt x="295" y="220"/>
                  </a:lnTo>
                  <a:lnTo>
                    <a:pt x="295" y="222"/>
                  </a:lnTo>
                  <a:lnTo>
                    <a:pt x="293" y="224"/>
                  </a:lnTo>
                  <a:lnTo>
                    <a:pt x="293" y="226"/>
                  </a:lnTo>
                  <a:lnTo>
                    <a:pt x="295" y="227"/>
                  </a:lnTo>
                  <a:lnTo>
                    <a:pt x="295" y="229"/>
                  </a:lnTo>
                  <a:lnTo>
                    <a:pt x="293" y="231"/>
                  </a:lnTo>
                  <a:lnTo>
                    <a:pt x="291" y="231"/>
                  </a:lnTo>
                  <a:lnTo>
                    <a:pt x="291" y="231"/>
                  </a:lnTo>
                  <a:lnTo>
                    <a:pt x="291" y="232"/>
                  </a:lnTo>
                  <a:lnTo>
                    <a:pt x="289" y="232"/>
                  </a:lnTo>
                  <a:lnTo>
                    <a:pt x="288" y="234"/>
                  </a:lnTo>
                  <a:lnTo>
                    <a:pt x="286" y="234"/>
                  </a:lnTo>
                  <a:lnTo>
                    <a:pt x="284" y="236"/>
                  </a:lnTo>
                  <a:lnTo>
                    <a:pt x="281" y="236"/>
                  </a:lnTo>
                  <a:lnTo>
                    <a:pt x="279" y="236"/>
                  </a:lnTo>
                  <a:lnTo>
                    <a:pt x="277" y="236"/>
                  </a:lnTo>
                  <a:lnTo>
                    <a:pt x="276" y="236"/>
                  </a:lnTo>
                  <a:lnTo>
                    <a:pt x="274" y="236"/>
                  </a:lnTo>
                  <a:lnTo>
                    <a:pt x="272" y="236"/>
                  </a:lnTo>
                  <a:lnTo>
                    <a:pt x="270" y="234"/>
                  </a:lnTo>
                  <a:lnTo>
                    <a:pt x="269" y="234"/>
                  </a:lnTo>
                  <a:lnTo>
                    <a:pt x="267" y="234"/>
                  </a:lnTo>
                  <a:lnTo>
                    <a:pt x="264" y="234"/>
                  </a:lnTo>
                  <a:lnTo>
                    <a:pt x="262" y="234"/>
                  </a:lnTo>
                  <a:lnTo>
                    <a:pt x="262" y="234"/>
                  </a:lnTo>
                  <a:lnTo>
                    <a:pt x="260" y="234"/>
                  </a:lnTo>
                  <a:lnTo>
                    <a:pt x="258" y="234"/>
                  </a:lnTo>
                  <a:lnTo>
                    <a:pt x="257" y="236"/>
                  </a:lnTo>
                  <a:lnTo>
                    <a:pt x="253" y="236"/>
                  </a:lnTo>
                  <a:lnTo>
                    <a:pt x="252" y="238"/>
                  </a:lnTo>
                  <a:lnTo>
                    <a:pt x="250" y="241"/>
                  </a:lnTo>
                  <a:lnTo>
                    <a:pt x="250" y="243"/>
                  </a:lnTo>
                  <a:lnTo>
                    <a:pt x="248" y="244"/>
                  </a:lnTo>
                  <a:lnTo>
                    <a:pt x="246" y="246"/>
                  </a:lnTo>
                  <a:lnTo>
                    <a:pt x="246" y="248"/>
                  </a:lnTo>
                  <a:lnTo>
                    <a:pt x="246" y="251"/>
                  </a:lnTo>
                  <a:lnTo>
                    <a:pt x="246" y="253"/>
                  </a:lnTo>
                  <a:lnTo>
                    <a:pt x="248" y="255"/>
                  </a:lnTo>
                  <a:lnTo>
                    <a:pt x="250" y="260"/>
                  </a:lnTo>
                  <a:lnTo>
                    <a:pt x="252" y="262"/>
                  </a:lnTo>
                  <a:lnTo>
                    <a:pt x="253" y="263"/>
                  </a:lnTo>
                  <a:lnTo>
                    <a:pt x="255" y="265"/>
                  </a:lnTo>
                  <a:lnTo>
                    <a:pt x="255" y="267"/>
                  </a:lnTo>
                  <a:lnTo>
                    <a:pt x="257" y="270"/>
                  </a:lnTo>
                  <a:lnTo>
                    <a:pt x="258" y="274"/>
                  </a:lnTo>
                  <a:lnTo>
                    <a:pt x="258" y="275"/>
                  </a:lnTo>
                  <a:lnTo>
                    <a:pt x="258" y="275"/>
                  </a:lnTo>
                  <a:lnTo>
                    <a:pt x="258" y="277"/>
                  </a:lnTo>
                  <a:lnTo>
                    <a:pt x="257" y="277"/>
                  </a:lnTo>
                  <a:lnTo>
                    <a:pt x="257" y="279"/>
                  </a:lnTo>
                  <a:lnTo>
                    <a:pt x="255" y="281"/>
                  </a:lnTo>
                  <a:lnTo>
                    <a:pt x="255" y="282"/>
                  </a:lnTo>
                  <a:lnTo>
                    <a:pt x="253" y="282"/>
                  </a:lnTo>
                  <a:lnTo>
                    <a:pt x="253" y="284"/>
                  </a:lnTo>
                  <a:lnTo>
                    <a:pt x="252" y="284"/>
                  </a:lnTo>
                  <a:lnTo>
                    <a:pt x="252" y="286"/>
                  </a:lnTo>
                  <a:lnTo>
                    <a:pt x="250" y="287"/>
                  </a:lnTo>
                  <a:lnTo>
                    <a:pt x="250" y="289"/>
                  </a:lnTo>
                  <a:lnTo>
                    <a:pt x="248" y="291"/>
                  </a:lnTo>
                  <a:lnTo>
                    <a:pt x="248" y="291"/>
                  </a:lnTo>
                  <a:lnTo>
                    <a:pt x="246" y="291"/>
                  </a:lnTo>
                  <a:lnTo>
                    <a:pt x="246" y="291"/>
                  </a:lnTo>
                  <a:lnTo>
                    <a:pt x="245" y="293"/>
                  </a:lnTo>
                  <a:lnTo>
                    <a:pt x="243" y="294"/>
                  </a:lnTo>
                  <a:lnTo>
                    <a:pt x="241" y="294"/>
                  </a:lnTo>
                  <a:lnTo>
                    <a:pt x="240" y="294"/>
                  </a:lnTo>
                  <a:lnTo>
                    <a:pt x="238" y="294"/>
                  </a:lnTo>
                  <a:lnTo>
                    <a:pt x="236" y="296"/>
                  </a:lnTo>
                  <a:lnTo>
                    <a:pt x="234" y="294"/>
                  </a:lnTo>
                  <a:lnTo>
                    <a:pt x="233" y="294"/>
                  </a:lnTo>
                  <a:lnTo>
                    <a:pt x="231" y="294"/>
                  </a:lnTo>
                  <a:lnTo>
                    <a:pt x="231" y="296"/>
                  </a:lnTo>
                  <a:lnTo>
                    <a:pt x="229" y="296"/>
                  </a:lnTo>
                  <a:lnTo>
                    <a:pt x="222" y="298"/>
                  </a:lnTo>
                  <a:lnTo>
                    <a:pt x="217" y="299"/>
                  </a:lnTo>
                  <a:lnTo>
                    <a:pt x="215" y="299"/>
                  </a:lnTo>
                  <a:lnTo>
                    <a:pt x="212" y="298"/>
                  </a:lnTo>
                  <a:lnTo>
                    <a:pt x="210" y="298"/>
                  </a:lnTo>
                  <a:lnTo>
                    <a:pt x="207" y="296"/>
                  </a:lnTo>
                  <a:lnTo>
                    <a:pt x="207" y="294"/>
                  </a:lnTo>
                  <a:lnTo>
                    <a:pt x="205" y="291"/>
                  </a:lnTo>
                  <a:lnTo>
                    <a:pt x="205" y="287"/>
                  </a:lnTo>
                  <a:lnTo>
                    <a:pt x="207" y="286"/>
                  </a:lnTo>
                  <a:lnTo>
                    <a:pt x="209" y="282"/>
                  </a:lnTo>
                  <a:lnTo>
                    <a:pt x="210" y="281"/>
                  </a:lnTo>
                  <a:lnTo>
                    <a:pt x="212" y="279"/>
                  </a:lnTo>
                  <a:lnTo>
                    <a:pt x="212" y="277"/>
                  </a:lnTo>
                  <a:lnTo>
                    <a:pt x="214" y="275"/>
                  </a:lnTo>
                  <a:lnTo>
                    <a:pt x="214" y="275"/>
                  </a:lnTo>
                  <a:lnTo>
                    <a:pt x="214" y="274"/>
                  </a:lnTo>
                  <a:lnTo>
                    <a:pt x="212" y="272"/>
                  </a:lnTo>
                  <a:lnTo>
                    <a:pt x="212" y="270"/>
                  </a:lnTo>
                  <a:lnTo>
                    <a:pt x="210" y="270"/>
                  </a:lnTo>
                  <a:lnTo>
                    <a:pt x="209" y="269"/>
                  </a:lnTo>
                  <a:lnTo>
                    <a:pt x="207" y="267"/>
                  </a:lnTo>
                  <a:lnTo>
                    <a:pt x="205" y="267"/>
                  </a:lnTo>
                  <a:lnTo>
                    <a:pt x="203" y="267"/>
                  </a:lnTo>
                  <a:lnTo>
                    <a:pt x="202" y="267"/>
                  </a:lnTo>
                  <a:lnTo>
                    <a:pt x="202" y="269"/>
                  </a:lnTo>
                  <a:lnTo>
                    <a:pt x="200" y="269"/>
                  </a:lnTo>
                  <a:lnTo>
                    <a:pt x="197" y="269"/>
                  </a:lnTo>
                  <a:lnTo>
                    <a:pt x="195" y="269"/>
                  </a:lnTo>
                  <a:lnTo>
                    <a:pt x="193" y="269"/>
                  </a:lnTo>
                  <a:lnTo>
                    <a:pt x="191" y="267"/>
                  </a:lnTo>
                  <a:lnTo>
                    <a:pt x="190" y="267"/>
                  </a:lnTo>
                  <a:lnTo>
                    <a:pt x="188" y="267"/>
                  </a:lnTo>
                  <a:lnTo>
                    <a:pt x="186" y="267"/>
                  </a:lnTo>
                  <a:lnTo>
                    <a:pt x="186" y="265"/>
                  </a:lnTo>
                  <a:lnTo>
                    <a:pt x="186" y="265"/>
                  </a:lnTo>
                  <a:lnTo>
                    <a:pt x="186" y="263"/>
                  </a:lnTo>
                  <a:lnTo>
                    <a:pt x="184" y="263"/>
                  </a:lnTo>
                  <a:lnTo>
                    <a:pt x="184" y="262"/>
                  </a:lnTo>
                  <a:lnTo>
                    <a:pt x="184" y="260"/>
                  </a:lnTo>
                  <a:lnTo>
                    <a:pt x="183" y="260"/>
                  </a:lnTo>
                  <a:lnTo>
                    <a:pt x="183" y="258"/>
                  </a:lnTo>
                  <a:lnTo>
                    <a:pt x="183" y="256"/>
                  </a:lnTo>
                  <a:lnTo>
                    <a:pt x="183" y="255"/>
                  </a:lnTo>
                  <a:lnTo>
                    <a:pt x="181" y="255"/>
                  </a:lnTo>
                  <a:lnTo>
                    <a:pt x="181" y="253"/>
                  </a:lnTo>
                  <a:lnTo>
                    <a:pt x="179" y="251"/>
                  </a:lnTo>
                  <a:lnTo>
                    <a:pt x="178" y="250"/>
                  </a:lnTo>
                  <a:lnTo>
                    <a:pt x="176" y="248"/>
                  </a:lnTo>
                  <a:lnTo>
                    <a:pt x="174" y="248"/>
                  </a:lnTo>
                  <a:lnTo>
                    <a:pt x="172" y="248"/>
                  </a:lnTo>
                  <a:lnTo>
                    <a:pt x="171" y="248"/>
                  </a:lnTo>
                  <a:lnTo>
                    <a:pt x="169" y="248"/>
                  </a:lnTo>
                  <a:lnTo>
                    <a:pt x="167" y="248"/>
                  </a:lnTo>
                  <a:lnTo>
                    <a:pt x="166" y="250"/>
                  </a:lnTo>
                  <a:lnTo>
                    <a:pt x="164" y="251"/>
                  </a:lnTo>
                  <a:lnTo>
                    <a:pt x="162" y="253"/>
                  </a:lnTo>
                  <a:lnTo>
                    <a:pt x="160" y="255"/>
                  </a:lnTo>
                  <a:lnTo>
                    <a:pt x="159" y="256"/>
                  </a:lnTo>
                  <a:lnTo>
                    <a:pt x="159" y="258"/>
                  </a:lnTo>
                  <a:lnTo>
                    <a:pt x="159" y="260"/>
                  </a:lnTo>
                  <a:lnTo>
                    <a:pt x="157" y="260"/>
                  </a:lnTo>
                  <a:lnTo>
                    <a:pt x="157" y="263"/>
                  </a:lnTo>
                  <a:lnTo>
                    <a:pt x="157" y="265"/>
                  </a:lnTo>
                  <a:lnTo>
                    <a:pt x="157" y="267"/>
                  </a:lnTo>
                  <a:lnTo>
                    <a:pt x="157" y="270"/>
                  </a:lnTo>
                  <a:lnTo>
                    <a:pt x="157" y="272"/>
                  </a:lnTo>
                  <a:lnTo>
                    <a:pt x="157" y="274"/>
                  </a:lnTo>
                  <a:lnTo>
                    <a:pt x="157" y="275"/>
                  </a:lnTo>
                  <a:lnTo>
                    <a:pt x="159" y="275"/>
                  </a:lnTo>
                  <a:lnTo>
                    <a:pt x="159" y="279"/>
                  </a:lnTo>
                  <a:lnTo>
                    <a:pt x="159" y="281"/>
                  </a:lnTo>
                  <a:lnTo>
                    <a:pt x="160" y="284"/>
                  </a:lnTo>
                  <a:lnTo>
                    <a:pt x="162" y="291"/>
                  </a:lnTo>
                  <a:lnTo>
                    <a:pt x="162" y="293"/>
                  </a:lnTo>
                  <a:lnTo>
                    <a:pt x="162" y="294"/>
                  </a:lnTo>
                  <a:lnTo>
                    <a:pt x="162" y="298"/>
                  </a:lnTo>
                  <a:lnTo>
                    <a:pt x="160" y="299"/>
                  </a:lnTo>
                  <a:lnTo>
                    <a:pt x="159" y="301"/>
                  </a:lnTo>
                  <a:lnTo>
                    <a:pt x="155" y="305"/>
                  </a:lnTo>
                  <a:lnTo>
                    <a:pt x="155" y="306"/>
                  </a:lnTo>
                  <a:lnTo>
                    <a:pt x="152" y="306"/>
                  </a:lnTo>
                  <a:lnTo>
                    <a:pt x="148" y="306"/>
                  </a:lnTo>
                  <a:lnTo>
                    <a:pt x="145" y="306"/>
                  </a:lnTo>
                  <a:lnTo>
                    <a:pt x="138" y="308"/>
                  </a:lnTo>
                  <a:lnTo>
                    <a:pt x="138" y="306"/>
                  </a:lnTo>
                  <a:lnTo>
                    <a:pt x="133" y="306"/>
                  </a:lnTo>
                  <a:lnTo>
                    <a:pt x="128" y="306"/>
                  </a:lnTo>
                  <a:lnTo>
                    <a:pt x="124" y="306"/>
                  </a:lnTo>
                  <a:lnTo>
                    <a:pt x="121" y="306"/>
                  </a:lnTo>
                  <a:lnTo>
                    <a:pt x="119" y="306"/>
                  </a:lnTo>
                  <a:lnTo>
                    <a:pt x="119" y="305"/>
                  </a:lnTo>
                  <a:lnTo>
                    <a:pt x="117" y="305"/>
                  </a:lnTo>
                  <a:lnTo>
                    <a:pt x="116" y="303"/>
                  </a:lnTo>
                  <a:lnTo>
                    <a:pt x="114" y="301"/>
                  </a:lnTo>
                  <a:lnTo>
                    <a:pt x="114" y="298"/>
                  </a:lnTo>
                  <a:lnTo>
                    <a:pt x="111" y="294"/>
                  </a:lnTo>
                  <a:lnTo>
                    <a:pt x="111" y="293"/>
                  </a:lnTo>
                  <a:lnTo>
                    <a:pt x="109" y="291"/>
                  </a:lnTo>
                  <a:lnTo>
                    <a:pt x="107" y="291"/>
                  </a:lnTo>
                  <a:lnTo>
                    <a:pt x="105" y="291"/>
                  </a:lnTo>
                  <a:lnTo>
                    <a:pt x="105" y="289"/>
                  </a:lnTo>
                  <a:lnTo>
                    <a:pt x="104" y="289"/>
                  </a:lnTo>
                  <a:lnTo>
                    <a:pt x="100" y="287"/>
                  </a:lnTo>
                  <a:lnTo>
                    <a:pt x="98" y="287"/>
                  </a:lnTo>
                  <a:lnTo>
                    <a:pt x="97" y="287"/>
                  </a:lnTo>
                  <a:lnTo>
                    <a:pt x="95" y="287"/>
                  </a:lnTo>
                  <a:lnTo>
                    <a:pt x="95" y="287"/>
                  </a:lnTo>
                  <a:lnTo>
                    <a:pt x="93" y="287"/>
                  </a:lnTo>
                  <a:lnTo>
                    <a:pt x="92" y="287"/>
                  </a:lnTo>
                  <a:lnTo>
                    <a:pt x="90" y="287"/>
                  </a:lnTo>
                  <a:lnTo>
                    <a:pt x="88" y="287"/>
                  </a:lnTo>
                  <a:lnTo>
                    <a:pt x="86" y="286"/>
                  </a:lnTo>
                  <a:lnTo>
                    <a:pt x="80" y="286"/>
                  </a:lnTo>
                  <a:lnTo>
                    <a:pt x="80" y="286"/>
                  </a:lnTo>
                  <a:lnTo>
                    <a:pt x="78" y="286"/>
                  </a:lnTo>
                  <a:lnTo>
                    <a:pt x="76" y="284"/>
                  </a:lnTo>
                  <a:lnTo>
                    <a:pt x="74" y="284"/>
                  </a:lnTo>
                  <a:lnTo>
                    <a:pt x="74" y="282"/>
                  </a:lnTo>
                  <a:lnTo>
                    <a:pt x="73" y="282"/>
                  </a:lnTo>
                  <a:lnTo>
                    <a:pt x="71" y="282"/>
                  </a:lnTo>
                  <a:lnTo>
                    <a:pt x="69" y="282"/>
                  </a:lnTo>
                  <a:lnTo>
                    <a:pt x="68" y="284"/>
                  </a:lnTo>
                  <a:lnTo>
                    <a:pt x="66" y="284"/>
                  </a:lnTo>
                  <a:lnTo>
                    <a:pt x="66" y="282"/>
                  </a:lnTo>
                  <a:lnTo>
                    <a:pt x="66" y="282"/>
                  </a:lnTo>
                  <a:lnTo>
                    <a:pt x="64" y="282"/>
                  </a:lnTo>
                  <a:lnTo>
                    <a:pt x="62" y="282"/>
                  </a:lnTo>
                  <a:lnTo>
                    <a:pt x="62" y="284"/>
                  </a:lnTo>
                  <a:lnTo>
                    <a:pt x="61" y="284"/>
                  </a:lnTo>
                  <a:lnTo>
                    <a:pt x="61" y="286"/>
                  </a:lnTo>
                  <a:lnTo>
                    <a:pt x="62" y="286"/>
                  </a:lnTo>
                  <a:lnTo>
                    <a:pt x="62" y="287"/>
                  </a:lnTo>
                  <a:lnTo>
                    <a:pt x="62" y="289"/>
                  </a:lnTo>
                  <a:lnTo>
                    <a:pt x="61" y="289"/>
                  </a:lnTo>
                  <a:lnTo>
                    <a:pt x="59" y="291"/>
                  </a:lnTo>
                  <a:lnTo>
                    <a:pt x="59" y="291"/>
                  </a:lnTo>
                  <a:lnTo>
                    <a:pt x="57" y="291"/>
                  </a:lnTo>
                  <a:lnTo>
                    <a:pt x="55" y="291"/>
                  </a:lnTo>
                  <a:lnTo>
                    <a:pt x="54" y="291"/>
                  </a:lnTo>
                  <a:lnTo>
                    <a:pt x="52" y="291"/>
                  </a:lnTo>
                  <a:lnTo>
                    <a:pt x="50" y="293"/>
                  </a:lnTo>
                  <a:lnTo>
                    <a:pt x="50" y="293"/>
                  </a:lnTo>
                  <a:lnTo>
                    <a:pt x="49" y="293"/>
                  </a:lnTo>
                  <a:lnTo>
                    <a:pt x="47" y="294"/>
                  </a:lnTo>
                  <a:lnTo>
                    <a:pt x="45" y="296"/>
                  </a:lnTo>
                  <a:lnTo>
                    <a:pt x="43" y="296"/>
                  </a:lnTo>
                  <a:lnTo>
                    <a:pt x="43" y="298"/>
                  </a:lnTo>
                  <a:lnTo>
                    <a:pt x="42" y="299"/>
                  </a:lnTo>
                  <a:lnTo>
                    <a:pt x="40" y="301"/>
                  </a:lnTo>
                  <a:lnTo>
                    <a:pt x="40" y="303"/>
                  </a:lnTo>
                  <a:lnTo>
                    <a:pt x="40" y="305"/>
                  </a:lnTo>
                  <a:lnTo>
                    <a:pt x="38" y="306"/>
                  </a:lnTo>
                  <a:lnTo>
                    <a:pt x="38" y="306"/>
                  </a:lnTo>
                  <a:lnTo>
                    <a:pt x="37" y="308"/>
                  </a:lnTo>
                  <a:lnTo>
                    <a:pt x="37" y="310"/>
                  </a:lnTo>
                  <a:lnTo>
                    <a:pt x="35" y="310"/>
                  </a:lnTo>
                  <a:lnTo>
                    <a:pt x="35" y="312"/>
                  </a:lnTo>
                  <a:lnTo>
                    <a:pt x="35" y="312"/>
                  </a:lnTo>
                  <a:lnTo>
                    <a:pt x="33" y="313"/>
                  </a:lnTo>
                  <a:lnTo>
                    <a:pt x="31" y="313"/>
                  </a:lnTo>
                  <a:lnTo>
                    <a:pt x="28" y="313"/>
                  </a:lnTo>
                  <a:lnTo>
                    <a:pt x="26" y="313"/>
                  </a:lnTo>
                  <a:lnTo>
                    <a:pt x="25" y="313"/>
                  </a:lnTo>
                  <a:lnTo>
                    <a:pt x="23" y="313"/>
                  </a:lnTo>
                  <a:lnTo>
                    <a:pt x="21" y="313"/>
                  </a:lnTo>
                  <a:lnTo>
                    <a:pt x="19" y="313"/>
                  </a:lnTo>
                  <a:lnTo>
                    <a:pt x="19" y="312"/>
                  </a:lnTo>
                  <a:lnTo>
                    <a:pt x="16" y="312"/>
                  </a:lnTo>
                  <a:lnTo>
                    <a:pt x="14" y="312"/>
                  </a:lnTo>
                  <a:lnTo>
                    <a:pt x="12" y="312"/>
                  </a:lnTo>
                  <a:lnTo>
                    <a:pt x="9" y="312"/>
                  </a:lnTo>
                  <a:lnTo>
                    <a:pt x="7" y="312"/>
                  </a:lnTo>
                  <a:lnTo>
                    <a:pt x="6" y="312"/>
                  </a:lnTo>
                  <a:lnTo>
                    <a:pt x="6" y="312"/>
                  </a:lnTo>
                  <a:lnTo>
                    <a:pt x="0" y="313"/>
                  </a:lnTo>
                  <a:lnTo>
                    <a:pt x="0" y="312"/>
                  </a:lnTo>
                  <a:lnTo>
                    <a:pt x="0" y="308"/>
                  </a:lnTo>
                  <a:lnTo>
                    <a:pt x="0" y="305"/>
                  </a:lnTo>
                  <a:lnTo>
                    <a:pt x="0" y="303"/>
                  </a:lnTo>
                  <a:lnTo>
                    <a:pt x="0" y="301"/>
                  </a:lnTo>
                  <a:lnTo>
                    <a:pt x="0" y="291"/>
                  </a:lnTo>
                  <a:lnTo>
                    <a:pt x="0" y="282"/>
                  </a:lnTo>
                  <a:lnTo>
                    <a:pt x="0" y="281"/>
                  </a:lnTo>
                  <a:lnTo>
                    <a:pt x="0" y="279"/>
                  </a:lnTo>
                  <a:lnTo>
                    <a:pt x="0" y="272"/>
                  </a:lnTo>
                  <a:lnTo>
                    <a:pt x="0" y="269"/>
                  </a:lnTo>
                  <a:lnTo>
                    <a:pt x="0" y="263"/>
                  </a:lnTo>
                  <a:lnTo>
                    <a:pt x="0" y="258"/>
                  </a:lnTo>
                  <a:lnTo>
                    <a:pt x="0" y="253"/>
                  </a:lnTo>
                  <a:lnTo>
                    <a:pt x="0" y="251"/>
                  </a:lnTo>
                  <a:lnTo>
                    <a:pt x="0" y="244"/>
                  </a:lnTo>
                  <a:lnTo>
                    <a:pt x="0" y="238"/>
                  </a:lnTo>
                  <a:lnTo>
                    <a:pt x="0" y="236"/>
                  </a:lnTo>
                  <a:lnTo>
                    <a:pt x="0" y="231"/>
                  </a:lnTo>
                  <a:lnTo>
                    <a:pt x="0" y="229"/>
                  </a:lnTo>
                  <a:lnTo>
                    <a:pt x="0" y="226"/>
                  </a:lnTo>
                  <a:lnTo>
                    <a:pt x="0" y="224"/>
                  </a:lnTo>
                  <a:lnTo>
                    <a:pt x="0" y="222"/>
                  </a:lnTo>
                  <a:lnTo>
                    <a:pt x="0" y="220"/>
                  </a:lnTo>
                  <a:lnTo>
                    <a:pt x="0" y="217"/>
                  </a:lnTo>
                  <a:lnTo>
                    <a:pt x="0" y="215"/>
                  </a:lnTo>
                  <a:lnTo>
                    <a:pt x="0" y="213"/>
                  </a:lnTo>
                  <a:lnTo>
                    <a:pt x="0" y="212"/>
                  </a:lnTo>
                  <a:lnTo>
                    <a:pt x="0" y="208"/>
                  </a:lnTo>
                  <a:lnTo>
                    <a:pt x="0" y="207"/>
                  </a:lnTo>
                  <a:lnTo>
                    <a:pt x="0" y="203"/>
                  </a:lnTo>
                  <a:lnTo>
                    <a:pt x="0" y="201"/>
                  </a:lnTo>
                  <a:lnTo>
                    <a:pt x="0" y="200"/>
                  </a:lnTo>
                  <a:lnTo>
                    <a:pt x="0" y="200"/>
                  </a:lnTo>
                  <a:lnTo>
                    <a:pt x="0" y="191"/>
                  </a:lnTo>
                  <a:lnTo>
                    <a:pt x="2" y="184"/>
                  </a:lnTo>
                  <a:lnTo>
                    <a:pt x="2" y="181"/>
                  </a:lnTo>
                  <a:lnTo>
                    <a:pt x="2" y="170"/>
                  </a:lnTo>
                  <a:lnTo>
                    <a:pt x="2" y="170"/>
                  </a:lnTo>
                  <a:lnTo>
                    <a:pt x="2" y="169"/>
                  </a:lnTo>
                  <a:lnTo>
                    <a:pt x="2" y="167"/>
                  </a:lnTo>
                  <a:lnTo>
                    <a:pt x="2" y="162"/>
                  </a:lnTo>
                  <a:lnTo>
                    <a:pt x="2" y="157"/>
                  </a:lnTo>
                  <a:lnTo>
                    <a:pt x="2" y="146"/>
                  </a:lnTo>
                  <a:lnTo>
                    <a:pt x="2" y="136"/>
                  </a:lnTo>
                  <a:lnTo>
                    <a:pt x="2" y="126"/>
                  </a:lnTo>
                  <a:lnTo>
                    <a:pt x="2" y="122"/>
                  </a:lnTo>
                  <a:lnTo>
                    <a:pt x="2" y="119"/>
                  </a:lnTo>
                  <a:lnTo>
                    <a:pt x="2" y="114"/>
                  </a:lnTo>
                  <a:lnTo>
                    <a:pt x="2" y="110"/>
                  </a:lnTo>
                  <a:lnTo>
                    <a:pt x="2" y="103"/>
                  </a:lnTo>
                  <a:lnTo>
                    <a:pt x="2" y="102"/>
                  </a:lnTo>
                  <a:lnTo>
                    <a:pt x="2" y="98"/>
                  </a:lnTo>
                  <a:lnTo>
                    <a:pt x="2" y="91"/>
                  </a:lnTo>
                  <a:lnTo>
                    <a:pt x="2" y="90"/>
                  </a:lnTo>
                  <a:lnTo>
                    <a:pt x="2" y="88"/>
                  </a:lnTo>
                  <a:lnTo>
                    <a:pt x="2" y="79"/>
                  </a:lnTo>
                  <a:lnTo>
                    <a:pt x="2" y="78"/>
                  </a:lnTo>
                  <a:lnTo>
                    <a:pt x="2" y="69"/>
                  </a:lnTo>
                  <a:lnTo>
                    <a:pt x="2" y="59"/>
                  </a:lnTo>
                  <a:lnTo>
                    <a:pt x="2" y="52"/>
                  </a:lnTo>
                  <a:lnTo>
                    <a:pt x="2" y="48"/>
                  </a:lnTo>
                  <a:lnTo>
                    <a:pt x="2" y="47"/>
                  </a:lnTo>
                  <a:lnTo>
                    <a:pt x="2" y="38"/>
                  </a:lnTo>
                  <a:lnTo>
                    <a:pt x="2" y="35"/>
                  </a:lnTo>
                  <a:lnTo>
                    <a:pt x="2" y="35"/>
                  </a:lnTo>
                  <a:lnTo>
                    <a:pt x="2" y="31"/>
                  </a:lnTo>
                  <a:lnTo>
                    <a:pt x="4" y="24"/>
                  </a:lnTo>
                  <a:lnTo>
                    <a:pt x="4" y="23"/>
                  </a:lnTo>
                  <a:lnTo>
                    <a:pt x="4" y="21"/>
                  </a:lnTo>
                  <a:lnTo>
                    <a:pt x="4" y="17"/>
                  </a:lnTo>
                  <a:lnTo>
                    <a:pt x="4" y="14"/>
                  </a:lnTo>
                  <a:lnTo>
                    <a:pt x="4" y="12"/>
                  </a:lnTo>
                  <a:lnTo>
                    <a:pt x="4" y="4"/>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3" name="Freeform 167"/>
            <p:cNvSpPr>
              <a:spLocks/>
            </p:cNvSpPr>
            <p:nvPr/>
          </p:nvSpPr>
          <p:spPr bwMode="auto">
            <a:xfrm>
              <a:off x="3144134" y="2179431"/>
              <a:ext cx="476250" cy="473075"/>
            </a:xfrm>
            <a:custGeom>
              <a:avLst/>
              <a:gdLst/>
              <a:ahLst/>
              <a:cxnLst>
                <a:cxn ang="0">
                  <a:pos x="31" y="0"/>
                </a:cxn>
                <a:cxn ang="0">
                  <a:pos x="52" y="0"/>
                </a:cxn>
                <a:cxn ang="0">
                  <a:pos x="81" y="2"/>
                </a:cxn>
                <a:cxn ang="0">
                  <a:pos x="110" y="2"/>
                </a:cxn>
                <a:cxn ang="0">
                  <a:pos x="138" y="3"/>
                </a:cxn>
                <a:cxn ang="0">
                  <a:pos x="179" y="3"/>
                </a:cxn>
                <a:cxn ang="0">
                  <a:pos x="202" y="5"/>
                </a:cxn>
                <a:cxn ang="0">
                  <a:pos x="238" y="5"/>
                </a:cxn>
                <a:cxn ang="0">
                  <a:pos x="277" y="5"/>
                </a:cxn>
                <a:cxn ang="0">
                  <a:pos x="300" y="7"/>
                </a:cxn>
                <a:cxn ang="0">
                  <a:pos x="298" y="33"/>
                </a:cxn>
                <a:cxn ang="0">
                  <a:pos x="298" y="46"/>
                </a:cxn>
                <a:cxn ang="0">
                  <a:pos x="298" y="65"/>
                </a:cxn>
                <a:cxn ang="0">
                  <a:pos x="298" y="89"/>
                </a:cxn>
                <a:cxn ang="0">
                  <a:pos x="296" y="115"/>
                </a:cxn>
                <a:cxn ang="0">
                  <a:pos x="296" y="136"/>
                </a:cxn>
                <a:cxn ang="0">
                  <a:pos x="296" y="165"/>
                </a:cxn>
                <a:cxn ang="0">
                  <a:pos x="296" y="188"/>
                </a:cxn>
                <a:cxn ang="0">
                  <a:pos x="294" y="227"/>
                </a:cxn>
                <a:cxn ang="0">
                  <a:pos x="294" y="243"/>
                </a:cxn>
                <a:cxn ang="0">
                  <a:pos x="294" y="260"/>
                </a:cxn>
                <a:cxn ang="0">
                  <a:pos x="293" y="272"/>
                </a:cxn>
                <a:cxn ang="0">
                  <a:pos x="293" y="287"/>
                </a:cxn>
                <a:cxn ang="0">
                  <a:pos x="274" y="298"/>
                </a:cxn>
                <a:cxn ang="0">
                  <a:pos x="253" y="275"/>
                </a:cxn>
                <a:cxn ang="0">
                  <a:pos x="214" y="284"/>
                </a:cxn>
                <a:cxn ang="0">
                  <a:pos x="190" y="258"/>
                </a:cxn>
                <a:cxn ang="0">
                  <a:pos x="184" y="255"/>
                </a:cxn>
                <a:cxn ang="0">
                  <a:pos x="172" y="256"/>
                </a:cxn>
                <a:cxn ang="0">
                  <a:pos x="160" y="251"/>
                </a:cxn>
                <a:cxn ang="0">
                  <a:pos x="155" y="241"/>
                </a:cxn>
                <a:cxn ang="0">
                  <a:pos x="159" y="232"/>
                </a:cxn>
                <a:cxn ang="0">
                  <a:pos x="160" y="224"/>
                </a:cxn>
                <a:cxn ang="0">
                  <a:pos x="155" y="212"/>
                </a:cxn>
                <a:cxn ang="0">
                  <a:pos x="147" y="205"/>
                </a:cxn>
                <a:cxn ang="0">
                  <a:pos x="136" y="198"/>
                </a:cxn>
                <a:cxn ang="0">
                  <a:pos x="126" y="194"/>
                </a:cxn>
                <a:cxn ang="0">
                  <a:pos x="119" y="182"/>
                </a:cxn>
                <a:cxn ang="0">
                  <a:pos x="114" y="172"/>
                </a:cxn>
                <a:cxn ang="0">
                  <a:pos x="112" y="155"/>
                </a:cxn>
                <a:cxn ang="0">
                  <a:pos x="110" y="146"/>
                </a:cxn>
                <a:cxn ang="0">
                  <a:pos x="114" y="136"/>
                </a:cxn>
                <a:cxn ang="0">
                  <a:pos x="124" y="133"/>
                </a:cxn>
                <a:cxn ang="0">
                  <a:pos x="131" y="122"/>
                </a:cxn>
                <a:cxn ang="0">
                  <a:pos x="124" y="110"/>
                </a:cxn>
                <a:cxn ang="0">
                  <a:pos x="110" y="114"/>
                </a:cxn>
                <a:cxn ang="0">
                  <a:pos x="98" y="115"/>
                </a:cxn>
                <a:cxn ang="0">
                  <a:pos x="92" y="105"/>
                </a:cxn>
                <a:cxn ang="0">
                  <a:pos x="88" y="95"/>
                </a:cxn>
                <a:cxn ang="0">
                  <a:pos x="79" y="89"/>
                </a:cxn>
                <a:cxn ang="0">
                  <a:pos x="74" y="84"/>
                </a:cxn>
                <a:cxn ang="0">
                  <a:pos x="71" y="74"/>
                </a:cxn>
                <a:cxn ang="0">
                  <a:pos x="61" y="65"/>
                </a:cxn>
                <a:cxn ang="0">
                  <a:pos x="40" y="57"/>
                </a:cxn>
                <a:cxn ang="0">
                  <a:pos x="33" y="45"/>
                </a:cxn>
                <a:cxn ang="0">
                  <a:pos x="31" y="29"/>
                </a:cxn>
                <a:cxn ang="0">
                  <a:pos x="24" y="21"/>
                </a:cxn>
                <a:cxn ang="0">
                  <a:pos x="4" y="3"/>
                </a:cxn>
              </a:cxnLst>
              <a:rect l="0" t="0" r="r" b="b"/>
              <a:pathLst>
                <a:path w="300" h="298">
                  <a:moveTo>
                    <a:pt x="0" y="0"/>
                  </a:moveTo>
                  <a:lnTo>
                    <a:pt x="2" y="0"/>
                  </a:lnTo>
                  <a:lnTo>
                    <a:pt x="6" y="0"/>
                  </a:lnTo>
                  <a:lnTo>
                    <a:pt x="19" y="0"/>
                  </a:lnTo>
                  <a:lnTo>
                    <a:pt x="23" y="0"/>
                  </a:lnTo>
                  <a:lnTo>
                    <a:pt x="24" y="0"/>
                  </a:lnTo>
                  <a:lnTo>
                    <a:pt x="31" y="0"/>
                  </a:lnTo>
                  <a:lnTo>
                    <a:pt x="35" y="0"/>
                  </a:lnTo>
                  <a:lnTo>
                    <a:pt x="36" y="0"/>
                  </a:lnTo>
                  <a:lnTo>
                    <a:pt x="38" y="0"/>
                  </a:lnTo>
                  <a:lnTo>
                    <a:pt x="40" y="0"/>
                  </a:lnTo>
                  <a:lnTo>
                    <a:pt x="49" y="0"/>
                  </a:lnTo>
                  <a:lnTo>
                    <a:pt x="50" y="0"/>
                  </a:lnTo>
                  <a:lnTo>
                    <a:pt x="52" y="0"/>
                  </a:lnTo>
                  <a:lnTo>
                    <a:pt x="54" y="0"/>
                  </a:lnTo>
                  <a:lnTo>
                    <a:pt x="61" y="0"/>
                  </a:lnTo>
                  <a:lnTo>
                    <a:pt x="62" y="0"/>
                  </a:lnTo>
                  <a:lnTo>
                    <a:pt x="64" y="0"/>
                  </a:lnTo>
                  <a:lnTo>
                    <a:pt x="67" y="0"/>
                  </a:lnTo>
                  <a:lnTo>
                    <a:pt x="76" y="0"/>
                  </a:lnTo>
                  <a:lnTo>
                    <a:pt x="81" y="2"/>
                  </a:lnTo>
                  <a:lnTo>
                    <a:pt x="85" y="2"/>
                  </a:lnTo>
                  <a:lnTo>
                    <a:pt x="95" y="2"/>
                  </a:lnTo>
                  <a:lnTo>
                    <a:pt x="95" y="2"/>
                  </a:lnTo>
                  <a:lnTo>
                    <a:pt x="97" y="2"/>
                  </a:lnTo>
                  <a:lnTo>
                    <a:pt x="107" y="2"/>
                  </a:lnTo>
                  <a:lnTo>
                    <a:pt x="109" y="2"/>
                  </a:lnTo>
                  <a:lnTo>
                    <a:pt x="110" y="2"/>
                  </a:lnTo>
                  <a:lnTo>
                    <a:pt x="121" y="2"/>
                  </a:lnTo>
                  <a:lnTo>
                    <a:pt x="124" y="3"/>
                  </a:lnTo>
                  <a:lnTo>
                    <a:pt x="126" y="3"/>
                  </a:lnTo>
                  <a:lnTo>
                    <a:pt x="133" y="3"/>
                  </a:lnTo>
                  <a:lnTo>
                    <a:pt x="135" y="3"/>
                  </a:lnTo>
                  <a:lnTo>
                    <a:pt x="136" y="3"/>
                  </a:lnTo>
                  <a:lnTo>
                    <a:pt x="138" y="3"/>
                  </a:lnTo>
                  <a:lnTo>
                    <a:pt x="140" y="3"/>
                  </a:lnTo>
                  <a:lnTo>
                    <a:pt x="143" y="3"/>
                  </a:lnTo>
                  <a:lnTo>
                    <a:pt x="148" y="3"/>
                  </a:lnTo>
                  <a:lnTo>
                    <a:pt x="155" y="3"/>
                  </a:lnTo>
                  <a:lnTo>
                    <a:pt x="165" y="3"/>
                  </a:lnTo>
                  <a:lnTo>
                    <a:pt x="169" y="3"/>
                  </a:lnTo>
                  <a:lnTo>
                    <a:pt x="179" y="3"/>
                  </a:lnTo>
                  <a:lnTo>
                    <a:pt x="184" y="3"/>
                  </a:lnTo>
                  <a:lnTo>
                    <a:pt x="186" y="5"/>
                  </a:lnTo>
                  <a:lnTo>
                    <a:pt x="188" y="5"/>
                  </a:lnTo>
                  <a:lnTo>
                    <a:pt x="195" y="5"/>
                  </a:lnTo>
                  <a:lnTo>
                    <a:pt x="196" y="5"/>
                  </a:lnTo>
                  <a:lnTo>
                    <a:pt x="200" y="5"/>
                  </a:lnTo>
                  <a:lnTo>
                    <a:pt x="202" y="5"/>
                  </a:lnTo>
                  <a:lnTo>
                    <a:pt x="203" y="5"/>
                  </a:lnTo>
                  <a:lnTo>
                    <a:pt x="210" y="5"/>
                  </a:lnTo>
                  <a:lnTo>
                    <a:pt x="212" y="5"/>
                  </a:lnTo>
                  <a:lnTo>
                    <a:pt x="215" y="5"/>
                  </a:lnTo>
                  <a:lnTo>
                    <a:pt x="221" y="5"/>
                  </a:lnTo>
                  <a:lnTo>
                    <a:pt x="229" y="5"/>
                  </a:lnTo>
                  <a:lnTo>
                    <a:pt x="238" y="5"/>
                  </a:lnTo>
                  <a:lnTo>
                    <a:pt x="248" y="5"/>
                  </a:lnTo>
                  <a:lnTo>
                    <a:pt x="264" y="7"/>
                  </a:lnTo>
                  <a:lnTo>
                    <a:pt x="272" y="7"/>
                  </a:lnTo>
                  <a:lnTo>
                    <a:pt x="276" y="7"/>
                  </a:lnTo>
                  <a:lnTo>
                    <a:pt x="276" y="7"/>
                  </a:lnTo>
                  <a:lnTo>
                    <a:pt x="277" y="7"/>
                  </a:lnTo>
                  <a:lnTo>
                    <a:pt x="277" y="5"/>
                  </a:lnTo>
                  <a:lnTo>
                    <a:pt x="281" y="7"/>
                  </a:lnTo>
                  <a:lnTo>
                    <a:pt x="282" y="7"/>
                  </a:lnTo>
                  <a:lnTo>
                    <a:pt x="284" y="7"/>
                  </a:lnTo>
                  <a:lnTo>
                    <a:pt x="289" y="7"/>
                  </a:lnTo>
                  <a:lnTo>
                    <a:pt x="293" y="7"/>
                  </a:lnTo>
                  <a:lnTo>
                    <a:pt x="296" y="7"/>
                  </a:lnTo>
                  <a:lnTo>
                    <a:pt x="300" y="7"/>
                  </a:lnTo>
                  <a:lnTo>
                    <a:pt x="300" y="12"/>
                  </a:lnTo>
                  <a:lnTo>
                    <a:pt x="298" y="16"/>
                  </a:lnTo>
                  <a:lnTo>
                    <a:pt x="298" y="19"/>
                  </a:lnTo>
                  <a:lnTo>
                    <a:pt x="298" y="24"/>
                  </a:lnTo>
                  <a:lnTo>
                    <a:pt x="298" y="29"/>
                  </a:lnTo>
                  <a:lnTo>
                    <a:pt x="298" y="31"/>
                  </a:lnTo>
                  <a:lnTo>
                    <a:pt x="298" y="33"/>
                  </a:lnTo>
                  <a:lnTo>
                    <a:pt x="298" y="34"/>
                  </a:lnTo>
                  <a:lnTo>
                    <a:pt x="298" y="36"/>
                  </a:lnTo>
                  <a:lnTo>
                    <a:pt x="298" y="38"/>
                  </a:lnTo>
                  <a:lnTo>
                    <a:pt x="298" y="40"/>
                  </a:lnTo>
                  <a:lnTo>
                    <a:pt x="298" y="41"/>
                  </a:lnTo>
                  <a:lnTo>
                    <a:pt x="298" y="45"/>
                  </a:lnTo>
                  <a:lnTo>
                    <a:pt x="298" y="46"/>
                  </a:lnTo>
                  <a:lnTo>
                    <a:pt x="298" y="48"/>
                  </a:lnTo>
                  <a:lnTo>
                    <a:pt x="298" y="53"/>
                  </a:lnTo>
                  <a:lnTo>
                    <a:pt x="298" y="57"/>
                  </a:lnTo>
                  <a:lnTo>
                    <a:pt x="298" y="60"/>
                  </a:lnTo>
                  <a:lnTo>
                    <a:pt x="298" y="60"/>
                  </a:lnTo>
                  <a:lnTo>
                    <a:pt x="298" y="62"/>
                  </a:lnTo>
                  <a:lnTo>
                    <a:pt x="298" y="65"/>
                  </a:lnTo>
                  <a:lnTo>
                    <a:pt x="298" y="69"/>
                  </a:lnTo>
                  <a:lnTo>
                    <a:pt x="298" y="71"/>
                  </a:lnTo>
                  <a:lnTo>
                    <a:pt x="298" y="76"/>
                  </a:lnTo>
                  <a:lnTo>
                    <a:pt x="298" y="76"/>
                  </a:lnTo>
                  <a:lnTo>
                    <a:pt x="298" y="83"/>
                  </a:lnTo>
                  <a:lnTo>
                    <a:pt x="298" y="84"/>
                  </a:lnTo>
                  <a:lnTo>
                    <a:pt x="298" y="89"/>
                  </a:lnTo>
                  <a:lnTo>
                    <a:pt x="298" y="91"/>
                  </a:lnTo>
                  <a:lnTo>
                    <a:pt x="298" y="93"/>
                  </a:lnTo>
                  <a:lnTo>
                    <a:pt x="298" y="95"/>
                  </a:lnTo>
                  <a:lnTo>
                    <a:pt x="298" y="103"/>
                  </a:lnTo>
                  <a:lnTo>
                    <a:pt x="298" y="105"/>
                  </a:lnTo>
                  <a:lnTo>
                    <a:pt x="296" y="112"/>
                  </a:lnTo>
                  <a:lnTo>
                    <a:pt x="296" y="115"/>
                  </a:lnTo>
                  <a:lnTo>
                    <a:pt x="296" y="119"/>
                  </a:lnTo>
                  <a:lnTo>
                    <a:pt x="296" y="120"/>
                  </a:lnTo>
                  <a:lnTo>
                    <a:pt x="296" y="126"/>
                  </a:lnTo>
                  <a:lnTo>
                    <a:pt x="296" y="127"/>
                  </a:lnTo>
                  <a:lnTo>
                    <a:pt x="296" y="131"/>
                  </a:lnTo>
                  <a:lnTo>
                    <a:pt x="296" y="134"/>
                  </a:lnTo>
                  <a:lnTo>
                    <a:pt x="296" y="136"/>
                  </a:lnTo>
                  <a:lnTo>
                    <a:pt x="296" y="136"/>
                  </a:lnTo>
                  <a:lnTo>
                    <a:pt x="296" y="143"/>
                  </a:lnTo>
                  <a:lnTo>
                    <a:pt x="296" y="150"/>
                  </a:lnTo>
                  <a:lnTo>
                    <a:pt x="296" y="153"/>
                  </a:lnTo>
                  <a:lnTo>
                    <a:pt x="296" y="157"/>
                  </a:lnTo>
                  <a:lnTo>
                    <a:pt x="296" y="160"/>
                  </a:lnTo>
                  <a:lnTo>
                    <a:pt x="296" y="165"/>
                  </a:lnTo>
                  <a:lnTo>
                    <a:pt x="296" y="177"/>
                  </a:lnTo>
                  <a:lnTo>
                    <a:pt x="296" y="179"/>
                  </a:lnTo>
                  <a:lnTo>
                    <a:pt x="296" y="181"/>
                  </a:lnTo>
                  <a:lnTo>
                    <a:pt x="296" y="181"/>
                  </a:lnTo>
                  <a:lnTo>
                    <a:pt x="296" y="182"/>
                  </a:lnTo>
                  <a:lnTo>
                    <a:pt x="296" y="186"/>
                  </a:lnTo>
                  <a:lnTo>
                    <a:pt x="296" y="188"/>
                  </a:lnTo>
                  <a:lnTo>
                    <a:pt x="296" y="191"/>
                  </a:lnTo>
                  <a:lnTo>
                    <a:pt x="296" y="193"/>
                  </a:lnTo>
                  <a:lnTo>
                    <a:pt x="296" y="210"/>
                  </a:lnTo>
                  <a:lnTo>
                    <a:pt x="294" y="215"/>
                  </a:lnTo>
                  <a:lnTo>
                    <a:pt x="294" y="217"/>
                  </a:lnTo>
                  <a:lnTo>
                    <a:pt x="294" y="225"/>
                  </a:lnTo>
                  <a:lnTo>
                    <a:pt x="294" y="227"/>
                  </a:lnTo>
                  <a:lnTo>
                    <a:pt x="294" y="229"/>
                  </a:lnTo>
                  <a:lnTo>
                    <a:pt x="294" y="231"/>
                  </a:lnTo>
                  <a:lnTo>
                    <a:pt x="294" y="232"/>
                  </a:lnTo>
                  <a:lnTo>
                    <a:pt x="294" y="234"/>
                  </a:lnTo>
                  <a:lnTo>
                    <a:pt x="294" y="237"/>
                  </a:lnTo>
                  <a:lnTo>
                    <a:pt x="294" y="239"/>
                  </a:lnTo>
                  <a:lnTo>
                    <a:pt x="294" y="243"/>
                  </a:lnTo>
                  <a:lnTo>
                    <a:pt x="294" y="248"/>
                  </a:lnTo>
                  <a:lnTo>
                    <a:pt x="294" y="249"/>
                  </a:lnTo>
                  <a:lnTo>
                    <a:pt x="294" y="251"/>
                  </a:lnTo>
                  <a:lnTo>
                    <a:pt x="294" y="253"/>
                  </a:lnTo>
                  <a:lnTo>
                    <a:pt x="294" y="255"/>
                  </a:lnTo>
                  <a:lnTo>
                    <a:pt x="294" y="256"/>
                  </a:lnTo>
                  <a:lnTo>
                    <a:pt x="294" y="260"/>
                  </a:lnTo>
                  <a:lnTo>
                    <a:pt x="294" y="265"/>
                  </a:lnTo>
                  <a:lnTo>
                    <a:pt x="294" y="268"/>
                  </a:lnTo>
                  <a:lnTo>
                    <a:pt x="294" y="270"/>
                  </a:lnTo>
                  <a:lnTo>
                    <a:pt x="293" y="272"/>
                  </a:lnTo>
                  <a:lnTo>
                    <a:pt x="294" y="272"/>
                  </a:lnTo>
                  <a:lnTo>
                    <a:pt x="294" y="272"/>
                  </a:lnTo>
                  <a:lnTo>
                    <a:pt x="293" y="272"/>
                  </a:lnTo>
                  <a:lnTo>
                    <a:pt x="293" y="274"/>
                  </a:lnTo>
                  <a:lnTo>
                    <a:pt x="293" y="275"/>
                  </a:lnTo>
                  <a:lnTo>
                    <a:pt x="293" y="279"/>
                  </a:lnTo>
                  <a:lnTo>
                    <a:pt x="293" y="282"/>
                  </a:lnTo>
                  <a:lnTo>
                    <a:pt x="293" y="284"/>
                  </a:lnTo>
                  <a:lnTo>
                    <a:pt x="293" y="286"/>
                  </a:lnTo>
                  <a:lnTo>
                    <a:pt x="293" y="287"/>
                  </a:lnTo>
                  <a:lnTo>
                    <a:pt x="293" y="289"/>
                  </a:lnTo>
                  <a:lnTo>
                    <a:pt x="293" y="291"/>
                  </a:lnTo>
                  <a:lnTo>
                    <a:pt x="293" y="292"/>
                  </a:lnTo>
                  <a:lnTo>
                    <a:pt x="289" y="292"/>
                  </a:lnTo>
                  <a:lnTo>
                    <a:pt x="286" y="292"/>
                  </a:lnTo>
                  <a:lnTo>
                    <a:pt x="279" y="296"/>
                  </a:lnTo>
                  <a:lnTo>
                    <a:pt x="274" y="298"/>
                  </a:lnTo>
                  <a:lnTo>
                    <a:pt x="270" y="298"/>
                  </a:lnTo>
                  <a:lnTo>
                    <a:pt x="264" y="298"/>
                  </a:lnTo>
                  <a:lnTo>
                    <a:pt x="258" y="294"/>
                  </a:lnTo>
                  <a:lnTo>
                    <a:pt x="258" y="286"/>
                  </a:lnTo>
                  <a:lnTo>
                    <a:pt x="257" y="277"/>
                  </a:lnTo>
                  <a:lnTo>
                    <a:pt x="255" y="275"/>
                  </a:lnTo>
                  <a:lnTo>
                    <a:pt x="253" y="275"/>
                  </a:lnTo>
                  <a:lnTo>
                    <a:pt x="246" y="272"/>
                  </a:lnTo>
                  <a:lnTo>
                    <a:pt x="243" y="274"/>
                  </a:lnTo>
                  <a:lnTo>
                    <a:pt x="238" y="277"/>
                  </a:lnTo>
                  <a:lnTo>
                    <a:pt x="231" y="280"/>
                  </a:lnTo>
                  <a:lnTo>
                    <a:pt x="227" y="284"/>
                  </a:lnTo>
                  <a:lnTo>
                    <a:pt x="221" y="286"/>
                  </a:lnTo>
                  <a:lnTo>
                    <a:pt x="214" y="284"/>
                  </a:lnTo>
                  <a:lnTo>
                    <a:pt x="210" y="284"/>
                  </a:lnTo>
                  <a:lnTo>
                    <a:pt x="203" y="280"/>
                  </a:lnTo>
                  <a:lnTo>
                    <a:pt x="198" y="275"/>
                  </a:lnTo>
                  <a:lnTo>
                    <a:pt x="193" y="268"/>
                  </a:lnTo>
                  <a:lnTo>
                    <a:pt x="193" y="267"/>
                  </a:lnTo>
                  <a:lnTo>
                    <a:pt x="190" y="260"/>
                  </a:lnTo>
                  <a:lnTo>
                    <a:pt x="190" y="258"/>
                  </a:lnTo>
                  <a:lnTo>
                    <a:pt x="190" y="256"/>
                  </a:lnTo>
                  <a:lnTo>
                    <a:pt x="188" y="256"/>
                  </a:lnTo>
                  <a:lnTo>
                    <a:pt x="188" y="256"/>
                  </a:lnTo>
                  <a:lnTo>
                    <a:pt x="186" y="256"/>
                  </a:lnTo>
                  <a:lnTo>
                    <a:pt x="186" y="255"/>
                  </a:lnTo>
                  <a:lnTo>
                    <a:pt x="184" y="255"/>
                  </a:lnTo>
                  <a:lnTo>
                    <a:pt x="184" y="255"/>
                  </a:lnTo>
                  <a:lnTo>
                    <a:pt x="183" y="255"/>
                  </a:lnTo>
                  <a:lnTo>
                    <a:pt x="181" y="255"/>
                  </a:lnTo>
                  <a:lnTo>
                    <a:pt x="179" y="255"/>
                  </a:lnTo>
                  <a:lnTo>
                    <a:pt x="178" y="256"/>
                  </a:lnTo>
                  <a:lnTo>
                    <a:pt x="176" y="256"/>
                  </a:lnTo>
                  <a:lnTo>
                    <a:pt x="174" y="256"/>
                  </a:lnTo>
                  <a:lnTo>
                    <a:pt x="172" y="256"/>
                  </a:lnTo>
                  <a:lnTo>
                    <a:pt x="169" y="255"/>
                  </a:lnTo>
                  <a:lnTo>
                    <a:pt x="169" y="255"/>
                  </a:lnTo>
                  <a:lnTo>
                    <a:pt x="167" y="255"/>
                  </a:lnTo>
                  <a:lnTo>
                    <a:pt x="165" y="255"/>
                  </a:lnTo>
                  <a:lnTo>
                    <a:pt x="164" y="253"/>
                  </a:lnTo>
                  <a:lnTo>
                    <a:pt x="162" y="253"/>
                  </a:lnTo>
                  <a:lnTo>
                    <a:pt x="160" y="251"/>
                  </a:lnTo>
                  <a:lnTo>
                    <a:pt x="159" y="249"/>
                  </a:lnTo>
                  <a:lnTo>
                    <a:pt x="157" y="248"/>
                  </a:lnTo>
                  <a:lnTo>
                    <a:pt x="157" y="246"/>
                  </a:lnTo>
                  <a:lnTo>
                    <a:pt x="155" y="246"/>
                  </a:lnTo>
                  <a:lnTo>
                    <a:pt x="155" y="244"/>
                  </a:lnTo>
                  <a:lnTo>
                    <a:pt x="155" y="243"/>
                  </a:lnTo>
                  <a:lnTo>
                    <a:pt x="155" y="241"/>
                  </a:lnTo>
                  <a:lnTo>
                    <a:pt x="155" y="241"/>
                  </a:lnTo>
                  <a:lnTo>
                    <a:pt x="155" y="241"/>
                  </a:lnTo>
                  <a:lnTo>
                    <a:pt x="155" y="239"/>
                  </a:lnTo>
                  <a:lnTo>
                    <a:pt x="157" y="237"/>
                  </a:lnTo>
                  <a:lnTo>
                    <a:pt x="159" y="236"/>
                  </a:lnTo>
                  <a:lnTo>
                    <a:pt x="159" y="234"/>
                  </a:lnTo>
                  <a:lnTo>
                    <a:pt x="159" y="232"/>
                  </a:lnTo>
                  <a:lnTo>
                    <a:pt x="160" y="232"/>
                  </a:lnTo>
                  <a:lnTo>
                    <a:pt x="160" y="231"/>
                  </a:lnTo>
                  <a:lnTo>
                    <a:pt x="160" y="229"/>
                  </a:lnTo>
                  <a:lnTo>
                    <a:pt x="160" y="227"/>
                  </a:lnTo>
                  <a:lnTo>
                    <a:pt x="160" y="225"/>
                  </a:lnTo>
                  <a:lnTo>
                    <a:pt x="160" y="225"/>
                  </a:lnTo>
                  <a:lnTo>
                    <a:pt x="160" y="224"/>
                  </a:lnTo>
                  <a:lnTo>
                    <a:pt x="160" y="222"/>
                  </a:lnTo>
                  <a:lnTo>
                    <a:pt x="159" y="220"/>
                  </a:lnTo>
                  <a:lnTo>
                    <a:pt x="159" y="219"/>
                  </a:lnTo>
                  <a:lnTo>
                    <a:pt x="157" y="217"/>
                  </a:lnTo>
                  <a:lnTo>
                    <a:pt x="157" y="215"/>
                  </a:lnTo>
                  <a:lnTo>
                    <a:pt x="155" y="213"/>
                  </a:lnTo>
                  <a:lnTo>
                    <a:pt x="155" y="212"/>
                  </a:lnTo>
                  <a:lnTo>
                    <a:pt x="155" y="210"/>
                  </a:lnTo>
                  <a:lnTo>
                    <a:pt x="153" y="210"/>
                  </a:lnTo>
                  <a:lnTo>
                    <a:pt x="152" y="210"/>
                  </a:lnTo>
                  <a:lnTo>
                    <a:pt x="152" y="208"/>
                  </a:lnTo>
                  <a:lnTo>
                    <a:pt x="150" y="208"/>
                  </a:lnTo>
                  <a:lnTo>
                    <a:pt x="148" y="206"/>
                  </a:lnTo>
                  <a:lnTo>
                    <a:pt x="147" y="205"/>
                  </a:lnTo>
                  <a:lnTo>
                    <a:pt x="145" y="203"/>
                  </a:lnTo>
                  <a:lnTo>
                    <a:pt x="143" y="203"/>
                  </a:lnTo>
                  <a:lnTo>
                    <a:pt x="141" y="201"/>
                  </a:lnTo>
                  <a:lnTo>
                    <a:pt x="140" y="201"/>
                  </a:lnTo>
                  <a:lnTo>
                    <a:pt x="140" y="200"/>
                  </a:lnTo>
                  <a:lnTo>
                    <a:pt x="138" y="200"/>
                  </a:lnTo>
                  <a:lnTo>
                    <a:pt x="136" y="198"/>
                  </a:lnTo>
                  <a:lnTo>
                    <a:pt x="135" y="198"/>
                  </a:lnTo>
                  <a:lnTo>
                    <a:pt x="133" y="196"/>
                  </a:lnTo>
                  <a:lnTo>
                    <a:pt x="131" y="196"/>
                  </a:lnTo>
                  <a:lnTo>
                    <a:pt x="129" y="196"/>
                  </a:lnTo>
                  <a:lnTo>
                    <a:pt x="128" y="196"/>
                  </a:lnTo>
                  <a:lnTo>
                    <a:pt x="128" y="194"/>
                  </a:lnTo>
                  <a:lnTo>
                    <a:pt x="126" y="194"/>
                  </a:lnTo>
                  <a:lnTo>
                    <a:pt x="124" y="193"/>
                  </a:lnTo>
                  <a:lnTo>
                    <a:pt x="124" y="191"/>
                  </a:lnTo>
                  <a:lnTo>
                    <a:pt x="122" y="189"/>
                  </a:lnTo>
                  <a:lnTo>
                    <a:pt x="121" y="188"/>
                  </a:lnTo>
                  <a:lnTo>
                    <a:pt x="121" y="186"/>
                  </a:lnTo>
                  <a:lnTo>
                    <a:pt x="119" y="184"/>
                  </a:lnTo>
                  <a:lnTo>
                    <a:pt x="119" y="182"/>
                  </a:lnTo>
                  <a:lnTo>
                    <a:pt x="117" y="181"/>
                  </a:lnTo>
                  <a:lnTo>
                    <a:pt x="117" y="181"/>
                  </a:lnTo>
                  <a:lnTo>
                    <a:pt x="116" y="179"/>
                  </a:lnTo>
                  <a:lnTo>
                    <a:pt x="116" y="177"/>
                  </a:lnTo>
                  <a:lnTo>
                    <a:pt x="116" y="176"/>
                  </a:lnTo>
                  <a:lnTo>
                    <a:pt x="114" y="174"/>
                  </a:lnTo>
                  <a:lnTo>
                    <a:pt x="114" y="172"/>
                  </a:lnTo>
                  <a:lnTo>
                    <a:pt x="114" y="170"/>
                  </a:lnTo>
                  <a:lnTo>
                    <a:pt x="114" y="167"/>
                  </a:lnTo>
                  <a:lnTo>
                    <a:pt x="112" y="165"/>
                  </a:lnTo>
                  <a:lnTo>
                    <a:pt x="112" y="163"/>
                  </a:lnTo>
                  <a:lnTo>
                    <a:pt x="112" y="158"/>
                  </a:lnTo>
                  <a:lnTo>
                    <a:pt x="112" y="157"/>
                  </a:lnTo>
                  <a:lnTo>
                    <a:pt x="112" y="155"/>
                  </a:lnTo>
                  <a:lnTo>
                    <a:pt x="112" y="153"/>
                  </a:lnTo>
                  <a:lnTo>
                    <a:pt x="112" y="151"/>
                  </a:lnTo>
                  <a:lnTo>
                    <a:pt x="112" y="150"/>
                  </a:lnTo>
                  <a:lnTo>
                    <a:pt x="112" y="150"/>
                  </a:lnTo>
                  <a:lnTo>
                    <a:pt x="112" y="148"/>
                  </a:lnTo>
                  <a:lnTo>
                    <a:pt x="110" y="148"/>
                  </a:lnTo>
                  <a:lnTo>
                    <a:pt x="110" y="146"/>
                  </a:lnTo>
                  <a:lnTo>
                    <a:pt x="110" y="145"/>
                  </a:lnTo>
                  <a:lnTo>
                    <a:pt x="110" y="143"/>
                  </a:lnTo>
                  <a:lnTo>
                    <a:pt x="112" y="141"/>
                  </a:lnTo>
                  <a:lnTo>
                    <a:pt x="112" y="139"/>
                  </a:lnTo>
                  <a:lnTo>
                    <a:pt x="112" y="138"/>
                  </a:lnTo>
                  <a:lnTo>
                    <a:pt x="114" y="138"/>
                  </a:lnTo>
                  <a:lnTo>
                    <a:pt x="114" y="136"/>
                  </a:lnTo>
                  <a:lnTo>
                    <a:pt x="116" y="136"/>
                  </a:lnTo>
                  <a:lnTo>
                    <a:pt x="117" y="136"/>
                  </a:lnTo>
                  <a:lnTo>
                    <a:pt x="119" y="134"/>
                  </a:lnTo>
                  <a:lnTo>
                    <a:pt x="121" y="134"/>
                  </a:lnTo>
                  <a:lnTo>
                    <a:pt x="122" y="133"/>
                  </a:lnTo>
                  <a:lnTo>
                    <a:pt x="124" y="133"/>
                  </a:lnTo>
                  <a:lnTo>
                    <a:pt x="124" y="133"/>
                  </a:lnTo>
                  <a:lnTo>
                    <a:pt x="126" y="131"/>
                  </a:lnTo>
                  <a:lnTo>
                    <a:pt x="128" y="129"/>
                  </a:lnTo>
                  <a:lnTo>
                    <a:pt x="129" y="129"/>
                  </a:lnTo>
                  <a:lnTo>
                    <a:pt x="129" y="127"/>
                  </a:lnTo>
                  <a:lnTo>
                    <a:pt x="129" y="126"/>
                  </a:lnTo>
                  <a:lnTo>
                    <a:pt x="131" y="124"/>
                  </a:lnTo>
                  <a:lnTo>
                    <a:pt x="131" y="122"/>
                  </a:lnTo>
                  <a:lnTo>
                    <a:pt x="131" y="120"/>
                  </a:lnTo>
                  <a:lnTo>
                    <a:pt x="131" y="119"/>
                  </a:lnTo>
                  <a:lnTo>
                    <a:pt x="129" y="117"/>
                  </a:lnTo>
                  <a:lnTo>
                    <a:pt x="128" y="114"/>
                  </a:lnTo>
                  <a:lnTo>
                    <a:pt x="128" y="112"/>
                  </a:lnTo>
                  <a:lnTo>
                    <a:pt x="126" y="112"/>
                  </a:lnTo>
                  <a:lnTo>
                    <a:pt x="124" y="110"/>
                  </a:lnTo>
                  <a:lnTo>
                    <a:pt x="124" y="110"/>
                  </a:lnTo>
                  <a:lnTo>
                    <a:pt x="122" y="110"/>
                  </a:lnTo>
                  <a:lnTo>
                    <a:pt x="121" y="110"/>
                  </a:lnTo>
                  <a:lnTo>
                    <a:pt x="117" y="110"/>
                  </a:lnTo>
                  <a:lnTo>
                    <a:pt x="116" y="112"/>
                  </a:lnTo>
                  <a:lnTo>
                    <a:pt x="112" y="114"/>
                  </a:lnTo>
                  <a:lnTo>
                    <a:pt x="110" y="114"/>
                  </a:lnTo>
                  <a:lnTo>
                    <a:pt x="109" y="115"/>
                  </a:lnTo>
                  <a:lnTo>
                    <a:pt x="109" y="115"/>
                  </a:lnTo>
                  <a:lnTo>
                    <a:pt x="107" y="117"/>
                  </a:lnTo>
                  <a:lnTo>
                    <a:pt x="105" y="117"/>
                  </a:lnTo>
                  <a:lnTo>
                    <a:pt x="104" y="117"/>
                  </a:lnTo>
                  <a:lnTo>
                    <a:pt x="100" y="117"/>
                  </a:lnTo>
                  <a:lnTo>
                    <a:pt x="98" y="115"/>
                  </a:lnTo>
                  <a:lnTo>
                    <a:pt x="97" y="115"/>
                  </a:lnTo>
                  <a:lnTo>
                    <a:pt x="95" y="114"/>
                  </a:lnTo>
                  <a:lnTo>
                    <a:pt x="95" y="112"/>
                  </a:lnTo>
                  <a:lnTo>
                    <a:pt x="93" y="110"/>
                  </a:lnTo>
                  <a:lnTo>
                    <a:pt x="92" y="108"/>
                  </a:lnTo>
                  <a:lnTo>
                    <a:pt x="92" y="107"/>
                  </a:lnTo>
                  <a:lnTo>
                    <a:pt x="92" y="105"/>
                  </a:lnTo>
                  <a:lnTo>
                    <a:pt x="92" y="105"/>
                  </a:lnTo>
                  <a:lnTo>
                    <a:pt x="92" y="103"/>
                  </a:lnTo>
                  <a:lnTo>
                    <a:pt x="92" y="102"/>
                  </a:lnTo>
                  <a:lnTo>
                    <a:pt x="92" y="100"/>
                  </a:lnTo>
                  <a:lnTo>
                    <a:pt x="92" y="98"/>
                  </a:lnTo>
                  <a:lnTo>
                    <a:pt x="90" y="96"/>
                  </a:lnTo>
                  <a:lnTo>
                    <a:pt x="88" y="95"/>
                  </a:lnTo>
                  <a:lnTo>
                    <a:pt x="88" y="93"/>
                  </a:lnTo>
                  <a:lnTo>
                    <a:pt x="86" y="93"/>
                  </a:lnTo>
                  <a:lnTo>
                    <a:pt x="85" y="93"/>
                  </a:lnTo>
                  <a:lnTo>
                    <a:pt x="83" y="91"/>
                  </a:lnTo>
                  <a:lnTo>
                    <a:pt x="81" y="91"/>
                  </a:lnTo>
                  <a:lnTo>
                    <a:pt x="79" y="89"/>
                  </a:lnTo>
                  <a:lnTo>
                    <a:pt x="79" y="89"/>
                  </a:lnTo>
                  <a:lnTo>
                    <a:pt x="79" y="89"/>
                  </a:lnTo>
                  <a:lnTo>
                    <a:pt x="78" y="89"/>
                  </a:lnTo>
                  <a:lnTo>
                    <a:pt x="78" y="88"/>
                  </a:lnTo>
                  <a:lnTo>
                    <a:pt x="76" y="88"/>
                  </a:lnTo>
                  <a:lnTo>
                    <a:pt x="76" y="86"/>
                  </a:lnTo>
                  <a:lnTo>
                    <a:pt x="74" y="86"/>
                  </a:lnTo>
                  <a:lnTo>
                    <a:pt x="74" y="84"/>
                  </a:lnTo>
                  <a:lnTo>
                    <a:pt x="74" y="83"/>
                  </a:lnTo>
                  <a:lnTo>
                    <a:pt x="74" y="81"/>
                  </a:lnTo>
                  <a:lnTo>
                    <a:pt x="73" y="79"/>
                  </a:lnTo>
                  <a:lnTo>
                    <a:pt x="73" y="77"/>
                  </a:lnTo>
                  <a:lnTo>
                    <a:pt x="73" y="76"/>
                  </a:lnTo>
                  <a:lnTo>
                    <a:pt x="73" y="76"/>
                  </a:lnTo>
                  <a:lnTo>
                    <a:pt x="71" y="74"/>
                  </a:lnTo>
                  <a:lnTo>
                    <a:pt x="71" y="72"/>
                  </a:lnTo>
                  <a:lnTo>
                    <a:pt x="69" y="71"/>
                  </a:lnTo>
                  <a:lnTo>
                    <a:pt x="67" y="69"/>
                  </a:lnTo>
                  <a:lnTo>
                    <a:pt x="66" y="69"/>
                  </a:lnTo>
                  <a:lnTo>
                    <a:pt x="64" y="67"/>
                  </a:lnTo>
                  <a:lnTo>
                    <a:pt x="64" y="67"/>
                  </a:lnTo>
                  <a:lnTo>
                    <a:pt x="61" y="65"/>
                  </a:lnTo>
                  <a:lnTo>
                    <a:pt x="59" y="65"/>
                  </a:lnTo>
                  <a:lnTo>
                    <a:pt x="55" y="64"/>
                  </a:lnTo>
                  <a:lnTo>
                    <a:pt x="52" y="64"/>
                  </a:lnTo>
                  <a:lnTo>
                    <a:pt x="50" y="62"/>
                  </a:lnTo>
                  <a:lnTo>
                    <a:pt x="49" y="60"/>
                  </a:lnTo>
                  <a:lnTo>
                    <a:pt x="43" y="59"/>
                  </a:lnTo>
                  <a:lnTo>
                    <a:pt x="40" y="57"/>
                  </a:lnTo>
                  <a:lnTo>
                    <a:pt x="38" y="53"/>
                  </a:lnTo>
                  <a:lnTo>
                    <a:pt x="36" y="53"/>
                  </a:lnTo>
                  <a:lnTo>
                    <a:pt x="35" y="52"/>
                  </a:lnTo>
                  <a:lnTo>
                    <a:pt x="35" y="50"/>
                  </a:lnTo>
                  <a:lnTo>
                    <a:pt x="35" y="48"/>
                  </a:lnTo>
                  <a:lnTo>
                    <a:pt x="35" y="46"/>
                  </a:lnTo>
                  <a:lnTo>
                    <a:pt x="33" y="45"/>
                  </a:lnTo>
                  <a:lnTo>
                    <a:pt x="33" y="43"/>
                  </a:lnTo>
                  <a:lnTo>
                    <a:pt x="33" y="41"/>
                  </a:lnTo>
                  <a:lnTo>
                    <a:pt x="33" y="40"/>
                  </a:lnTo>
                  <a:lnTo>
                    <a:pt x="33" y="36"/>
                  </a:lnTo>
                  <a:lnTo>
                    <a:pt x="31" y="34"/>
                  </a:lnTo>
                  <a:lnTo>
                    <a:pt x="31" y="31"/>
                  </a:lnTo>
                  <a:lnTo>
                    <a:pt x="31" y="29"/>
                  </a:lnTo>
                  <a:lnTo>
                    <a:pt x="31" y="28"/>
                  </a:lnTo>
                  <a:lnTo>
                    <a:pt x="30" y="26"/>
                  </a:lnTo>
                  <a:lnTo>
                    <a:pt x="28" y="24"/>
                  </a:lnTo>
                  <a:lnTo>
                    <a:pt x="28" y="22"/>
                  </a:lnTo>
                  <a:lnTo>
                    <a:pt x="26" y="22"/>
                  </a:lnTo>
                  <a:lnTo>
                    <a:pt x="26" y="21"/>
                  </a:lnTo>
                  <a:lnTo>
                    <a:pt x="24" y="21"/>
                  </a:lnTo>
                  <a:lnTo>
                    <a:pt x="23" y="19"/>
                  </a:lnTo>
                  <a:lnTo>
                    <a:pt x="19" y="17"/>
                  </a:lnTo>
                  <a:lnTo>
                    <a:pt x="16" y="16"/>
                  </a:lnTo>
                  <a:lnTo>
                    <a:pt x="12" y="14"/>
                  </a:lnTo>
                  <a:lnTo>
                    <a:pt x="9" y="10"/>
                  </a:lnTo>
                  <a:lnTo>
                    <a:pt x="6" y="7"/>
                  </a:lnTo>
                  <a:lnTo>
                    <a:pt x="4" y="3"/>
                  </a:lnTo>
                  <a:lnTo>
                    <a:pt x="2" y="0"/>
                  </a:lnTo>
                  <a:lnTo>
                    <a:pt x="0"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4" name="Freeform 168"/>
            <p:cNvSpPr>
              <a:spLocks/>
            </p:cNvSpPr>
            <p:nvPr/>
          </p:nvSpPr>
          <p:spPr bwMode="auto">
            <a:xfrm>
              <a:off x="3980746" y="2204831"/>
              <a:ext cx="433388" cy="477838"/>
            </a:xfrm>
            <a:custGeom>
              <a:avLst/>
              <a:gdLst/>
              <a:ahLst/>
              <a:cxnLst>
                <a:cxn ang="0">
                  <a:pos x="32" y="0"/>
                </a:cxn>
                <a:cxn ang="0">
                  <a:pos x="56" y="0"/>
                </a:cxn>
                <a:cxn ang="0">
                  <a:pos x="81" y="0"/>
                </a:cxn>
                <a:cxn ang="0">
                  <a:pos x="118" y="1"/>
                </a:cxn>
                <a:cxn ang="0">
                  <a:pos x="142" y="1"/>
                </a:cxn>
                <a:cxn ang="0">
                  <a:pos x="168" y="1"/>
                </a:cxn>
                <a:cxn ang="0">
                  <a:pos x="196" y="1"/>
                </a:cxn>
                <a:cxn ang="0">
                  <a:pos x="239" y="1"/>
                </a:cxn>
                <a:cxn ang="0">
                  <a:pos x="273" y="3"/>
                </a:cxn>
                <a:cxn ang="0">
                  <a:pos x="273" y="36"/>
                </a:cxn>
                <a:cxn ang="0">
                  <a:pos x="273" y="70"/>
                </a:cxn>
                <a:cxn ang="0">
                  <a:pos x="273" y="104"/>
                </a:cxn>
                <a:cxn ang="0">
                  <a:pos x="271" y="137"/>
                </a:cxn>
                <a:cxn ang="0">
                  <a:pos x="271" y="154"/>
                </a:cxn>
                <a:cxn ang="0">
                  <a:pos x="271" y="172"/>
                </a:cxn>
                <a:cxn ang="0">
                  <a:pos x="271" y="206"/>
                </a:cxn>
                <a:cxn ang="0">
                  <a:pos x="271" y="239"/>
                </a:cxn>
                <a:cxn ang="0">
                  <a:pos x="261" y="251"/>
                </a:cxn>
                <a:cxn ang="0">
                  <a:pos x="246" y="247"/>
                </a:cxn>
                <a:cxn ang="0">
                  <a:pos x="225" y="240"/>
                </a:cxn>
                <a:cxn ang="0">
                  <a:pos x="206" y="246"/>
                </a:cxn>
                <a:cxn ang="0">
                  <a:pos x="185" y="264"/>
                </a:cxn>
                <a:cxn ang="0">
                  <a:pos x="170" y="263"/>
                </a:cxn>
                <a:cxn ang="0">
                  <a:pos x="160" y="271"/>
                </a:cxn>
                <a:cxn ang="0">
                  <a:pos x="156" y="289"/>
                </a:cxn>
                <a:cxn ang="0">
                  <a:pos x="141" y="295"/>
                </a:cxn>
                <a:cxn ang="0">
                  <a:pos x="137" y="275"/>
                </a:cxn>
                <a:cxn ang="0">
                  <a:pos x="148" y="266"/>
                </a:cxn>
                <a:cxn ang="0">
                  <a:pos x="148" y="256"/>
                </a:cxn>
                <a:cxn ang="0">
                  <a:pos x="137" y="247"/>
                </a:cxn>
                <a:cxn ang="0">
                  <a:pos x="120" y="254"/>
                </a:cxn>
                <a:cxn ang="0">
                  <a:pos x="110" y="258"/>
                </a:cxn>
                <a:cxn ang="0">
                  <a:pos x="105" y="266"/>
                </a:cxn>
                <a:cxn ang="0">
                  <a:pos x="110" y="275"/>
                </a:cxn>
                <a:cxn ang="0">
                  <a:pos x="110" y="285"/>
                </a:cxn>
                <a:cxn ang="0">
                  <a:pos x="99" y="297"/>
                </a:cxn>
                <a:cxn ang="0">
                  <a:pos x="87" y="301"/>
                </a:cxn>
                <a:cxn ang="0">
                  <a:pos x="75" y="301"/>
                </a:cxn>
                <a:cxn ang="0">
                  <a:pos x="65" y="295"/>
                </a:cxn>
                <a:cxn ang="0">
                  <a:pos x="50" y="276"/>
                </a:cxn>
                <a:cxn ang="0">
                  <a:pos x="43" y="270"/>
                </a:cxn>
                <a:cxn ang="0">
                  <a:pos x="29" y="268"/>
                </a:cxn>
                <a:cxn ang="0">
                  <a:pos x="17" y="266"/>
                </a:cxn>
                <a:cxn ang="0">
                  <a:pos x="17" y="258"/>
                </a:cxn>
                <a:cxn ang="0">
                  <a:pos x="22" y="252"/>
                </a:cxn>
                <a:cxn ang="0">
                  <a:pos x="25" y="240"/>
                </a:cxn>
                <a:cxn ang="0">
                  <a:pos x="20" y="239"/>
                </a:cxn>
                <a:cxn ang="0">
                  <a:pos x="10" y="240"/>
                </a:cxn>
                <a:cxn ang="0">
                  <a:pos x="1" y="244"/>
                </a:cxn>
                <a:cxn ang="0">
                  <a:pos x="1" y="209"/>
                </a:cxn>
                <a:cxn ang="0">
                  <a:pos x="1" y="185"/>
                </a:cxn>
                <a:cxn ang="0">
                  <a:pos x="1" y="153"/>
                </a:cxn>
                <a:cxn ang="0">
                  <a:pos x="1" y="137"/>
                </a:cxn>
                <a:cxn ang="0">
                  <a:pos x="3" y="115"/>
                </a:cxn>
                <a:cxn ang="0">
                  <a:pos x="3" y="101"/>
                </a:cxn>
                <a:cxn ang="0">
                  <a:pos x="3" y="73"/>
                </a:cxn>
                <a:cxn ang="0">
                  <a:pos x="5" y="53"/>
                </a:cxn>
                <a:cxn ang="0">
                  <a:pos x="5" y="30"/>
                </a:cxn>
                <a:cxn ang="0">
                  <a:pos x="5" y="10"/>
                </a:cxn>
              </a:cxnLst>
              <a:rect l="0" t="0" r="r" b="b"/>
              <a:pathLst>
                <a:path w="273" h="301">
                  <a:moveTo>
                    <a:pt x="5" y="0"/>
                  </a:moveTo>
                  <a:lnTo>
                    <a:pt x="13" y="0"/>
                  </a:lnTo>
                  <a:lnTo>
                    <a:pt x="17" y="0"/>
                  </a:lnTo>
                  <a:lnTo>
                    <a:pt x="20" y="0"/>
                  </a:lnTo>
                  <a:lnTo>
                    <a:pt x="22" y="0"/>
                  </a:lnTo>
                  <a:lnTo>
                    <a:pt x="29" y="0"/>
                  </a:lnTo>
                  <a:lnTo>
                    <a:pt x="32" y="0"/>
                  </a:lnTo>
                  <a:lnTo>
                    <a:pt x="38" y="0"/>
                  </a:lnTo>
                  <a:lnTo>
                    <a:pt x="39" y="0"/>
                  </a:lnTo>
                  <a:lnTo>
                    <a:pt x="44" y="0"/>
                  </a:lnTo>
                  <a:lnTo>
                    <a:pt x="46" y="0"/>
                  </a:lnTo>
                  <a:lnTo>
                    <a:pt x="48" y="0"/>
                  </a:lnTo>
                  <a:lnTo>
                    <a:pt x="55" y="0"/>
                  </a:lnTo>
                  <a:lnTo>
                    <a:pt x="56" y="0"/>
                  </a:lnTo>
                  <a:lnTo>
                    <a:pt x="60" y="0"/>
                  </a:lnTo>
                  <a:lnTo>
                    <a:pt x="63" y="0"/>
                  </a:lnTo>
                  <a:lnTo>
                    <a:pt x="65" y="0"/>
                  </a:lnTo>
                  <a:lnTo>
                    <a:pt x="68" y="0"/>
                  </a:lnTo>
                  <a:lnTo>
                    <a:pt x="72" y="0"/>
                  </a:lnTo>
                  <a:lnTo>
                    <a:pt x="74" y="0"/>
                  </a:lnTo>
                  <a:lnTo>
                    <a:pt x="81" y="0"/>
                  </a:lnTo>
                  <a:lnTo>
                    <a:pt x="82" y="0"/>
                  </a:lnTo>
                  <a:lnTo>
                    <a:pt x="86" y="0"/>
                  </a:lnTo>
                  <a:lnTo>
                    <a:pt x="94" y="0"/>
                  </a:lnTo>
                  <a:lnTo>
                    <a:pt x="106" y="0"/>
                  </a:lnTo>
                  <a:lnTo>
                    <a:pt x="110" y="1"/>
                  </a:lnTo>
                  <a:lnTo>
                    <a:pt x="117" y="1"/>
                  </a:lnTo>
                  <a:lnTo>
                    <a:pt x="118" y="1"/>
                  </a:lnTo>
                  <a:lnTo>
                    <a:pt x="124" y="1"/>
                  </a:lnTo>
                  <a:lnTo>
                    <a:pt x="125" y="1"/>
                  </a:lnTo>
                  <a:lnTo>
                    <a:pt x="129" y="1"/>
                  </a:lnTo>
                  <a:lnTo>
                    <a:pt x="130" y="1"/>
                  </a:lnTo>
                  <a:lnTo>
                    <a:pt x="134" y="1"/>
                  </a:lnTo>
                  <a:lnTo>
                    <a:pt x="139" y="1"/>
                  </a:lnTo>
                  <a:lnTo>
                    <a:pt x="142" y="1"/>
                  </a:lnTo>
                  <a:lnTo>
                    <a:pt x="144" y="1"/>
                  </a:lnTo>
                  <a:lnTo>
                    <a:pt x="151" y="1"/>
                  </a:lnTo>
                  <a:lnTo>
                    <a:pt x="154" y="1"/>
                  </a:lnTo>
                  <a:lnTo>
                    <a:pt x="156" y="1"/>
                  </a:lnTo>
                  <a:lnTo>
                    <a:pt x="158" y="1"/>
                  </a:lnTo>
                  <a:lnTo>
                    <a:pt x="161" y="1"/>
                  </a:lnTo>
                  <a:lnTo>
                    <a:pt x="168" y="1"/>
                  </a:lnTo>
                  <a:lnTo>
                    <a:pt x="172" y="1"/>
                  </a:lnTo>
                  <a:lnTo>
                    <a:pt x="175" y="1"/>
                  </a:lnTo>
                  <a:lnTo>
                    <a:pt x="177" y="1"/>
                  </a:lnTo>
                  <a:lnTo>
                    <a:pt x="182" y="1"/>
                  </a:lnTo>
                  <a:lnTo>
                    <a:pt x="185" y="1"/>
                  </a:lnTo>
                  <a:lnTo>
                    <a:pt x="189" y="1"/>
                  </a:lnTo>
                  <a:lnTo>
                    <a:pt x="196" y="1"/>
                  </a:lnTo>
                  <a:lnTo>
                    <a:pt x="203" y="1"/>
                  </a:lnTo>
                  <a:lnTo>
                    <a:pt x="204" y="1"/>
                  </a:lnTo>
                  <a:lnTo>
                    <a:pt x="206" y="1"/>
                  </a:lnTo>
                  <a:lnTo>
                    <a:pt x="216" y="1"/>
                  </a:lnTo>
                  <a:lnTo>
                    <a:pt x="218" y="1"/>
                  </a:lnTo>
                  <a:lnTo>
                    <a:pt x="230" y="1"/>
                  </a:lnTo>
                  <a:lnTo>
                    <a:pt x="239" y="1"/>
                  </a:lnTo>
                  <a:lnTo>
                    <a:pt x="240" y="1"/>
                  </a:lnTo>
                  <a:lnTo>
                    <a:pt x="244" y="1"/>
                  </a:lnTo>
                  <a:lnTo>
                    <a:pt x="251" y="1"/>
                  </a:lnTo>
                  <a:lnTo>
                    <a:pt x="254" y="1"/>
                  </a:lnTo>
                  <a:lnTo>
                    <a:pt x="261" y="3"/>
                  </a:lnTo>
                  <a:lnTo>
                    <a:pt x="266" y="3"/>
                  </a:lnTo>
                  <a:lnTo>
                    <a:pt x="273" y="3"/>
                  </a:lnTo>
                  <a:lnTo>
                    <a:pt x="273" y="12"/>
                  </a:lnTo>
                  <a:lnTo>
                    <a:pt x="273" y="13"/>
                  </a:lnTo>
                  <a:lnTo>
                    <a:pt x="273" y="22"/>
                  </a:lnTo>
                  <a:lnTo>
                    <a:pt x="273" y="24"/>
                  </a:lnTo>
                  <a:lnTo>
                    <a:pt x="273" y="25"/>
                  </a:lnTo>
                  <a:lnTo>
                    <a:pt x="273" y="32"/>
                  </a:lnTo>
                  <a:lnTo>
                    <a:pt x="273" y="36"/>
                  </a:lnTo>
                  <a:lnTo>
                    <a:pt x="273" y="37"/>
                  </a:lnTo>
                  <a:lnTo>
                    <a:pt x="273" y="44"/>
                  </a:lnTo>
                  <a:lnTo>
                    <a:pt x="273" y="48"/>
                  </a:lnTo>
                  <a:lnTo>
                    <a:pt x="273" y="53"/>
                  </a:lnTo>
                  <a:lnTo>
                    <a:pt x="273" y="56"/>
                  </a:lnTo>
                  <a:lnTo>
                    <a:pt x="273" y="60"/>
                  </a:lnTo>
                  <a:lnTo>
                    <a:pt x="273" y="70"/>
                  </a:lnTo>
                  <a:lnTo>
                    <a:pt x="273" y="80"/>
                  </a:lnTo>
                  <a:lnTo>
                    <a:pt x="273" y="91"/>
                  </a:lnTo>
                  <a:lnTo>
                    <a:pt x="273" y="96"/>
                  </a:lnTo>
                  <a:lnTo>
                    <a:pt x="273" y="101"/>
                  </a:lnTo>
                  <a:lnTo>
                    <a:pt x="273" y="103"/>
                  </a:lnTo>
                  <a:lnTo>
                    <a:pt x="273" y="104"/>
                  </a:lnTo>
                  <a:lnTo>
                    <a:pt x="273" y="104"/>
                  </a:lnTo>
                  <a:lnTo>
                    <a:pt x="273" y="115"/>
                  </a:lnTo>
                  <a:lnTo>
                    <a:pt x="273" y="118"/>
                  </a:lnTo>
                  <a:lnTo>
                    <a:pt x="271" y="125"/>
                  </a:lnTo>
                  <a:lnTo>
                    <a:pt x="271" y="134"/>
                  </a:lnTo>
                  <a:lnTo>
                    <a:pt x="271" y="134"/>
                  </a:lnTo>
                  <a:lnTo>
                    <a:pt x="271" y="135"/>
                  </a:lnTo>
                  <a:lnTo>
                    <a:pt x="271" y="137"/>
                  </a:lnTo>
                  <a:lnTo>
                    <a:pt x="271" y="141"/>
                  </a:lnTo>
                  <a:lnTo>
                    <a:pt x="271" y="142"/>
                  </a:lnTo>
                  <a:lnTo>
                    <a:pt x="271" y="146"/>
                  </a:lnTo>
                  <a:lnTo>
                    <a:pt x="271" y="147"/>
                  </a:lnTo>
                  <a:lnTo>
                    <a:pt x="271" y="149"/>
                  </a:lnTo>
                  <a:lnTo>
                    <a:pt x="271" y="151"/>
                  </a:lnTo>
                  <a:lnTo>
                    <a:pt x="271" y="154"/>
                  </a:lnTo>
                  <a:lnTo>
                    <a:pt x="271" y="156"/>
                  </a:lnTo>
                  <a:lnTo>
                    <a:pt x="271" y="158"/>
                  </a:lnTo>
                  <a:lnTo>
                    <a:pt x="271" y="160"/>
                  </a:lnTo>
                  <a:lnTo>
                    <a:pt x="271" y="163"/>
                  </a:lnTo>
                  <a:lnTo>
                    <a:pt x="271" y="165"/>
                  </a:lnTo>
                  <a:lnTo>
                    <a:pt x="271" y="170"/>
                  </a:lnTo>
                  <a:lnTo>
                    <a:pt x="271" y="172"/>
                  </a:lnTo>
                  <a:lnTo>
                    <a:pt x="271" y="178"/>
                  </a:lnTo>
                  <a:lnTo>
                    <a:pt x="271" y="185"/>
                  </a:lnTo>
                  <a:lnTo>
                    <a:pt x="271" y="187"/>
                  </a:lnTo>
                  <a:lnTo>
                    <a:pt x="271" y="192"/>
                  </a:lnTo>
                  <a:lnTo>
                    <a:pt x="271" y="197"/>
                  </a:lnTo>
                  <a:lnTo>
                    <a:pt x="271" y="203"/>
                  </a:lnTo>
                  <a:lnTo>
                    <a:pt x="271" y="206"/>
                  </a:lnTo>
                  <a:lnTo>
                    <a:pt x="271" y="213"/>
                  </a:lnTo>
                  <a:lnTo>
                    <a:pt x="271" y="215"/>
                  </a:lnTo>
                  <a:lnTo>
                    <a:pt x="271" y="216"/>
                  </a:lnTo>
                  <a:lnTo>
                    <a:pt x="271" y="225"/>
                  </a:lnTo>
                  <a:lnTo>
                    <a:pt x="271" y="235"/>
                  </a:lnTo>
                  <a:lnTo>
                    <a:pt x="271" y="237"/>
                  </a:lnTo>
                  <a:lnTo>
                    <a:pt x="271" y="239"/>
                  </a:lnTo>
                  <a:lnTo>
                    <a:pt x="271" y="242"/>
                  </a:lnTo>
                  <a:lnTo>
                    <a:pt x="271" y="246"/>
                  </a:lnTo>
                  <a:lnTo>
                    <a:pt x="271" y="247"/>
                  </a:lnTo>
                  <a:lnTo>
                    <a:pt x="270" y="247"/>
                  </a:lnTo>
                  <a:lnTo>
                    <a:pt x="268" y="249"/>
                  </a:lnTo>
                  <a:lnTo>
                    <a:pt x="265" y="249"/>
                  </a:lnTo>
                  <a:lnTo>
                    <a:pt x="261" y="251"/>
                  </a:lnTo>
                  <a:lnTo>
                    <a:pt x="259" y="252"/>
                  </a:lnTo>
                  <a:lnTo>
                    <a:pt x="258" y="252"/>
                  </a:lnTo>
                  <a:lnTo>
                    <a:pt x="256" y="252"/>
                  </a:lnTo>
                  <a:lnTo>
                    <a:pt x="253" y="252"/>
                  </a:lnTo>
                  <a:lnTo>
                    <a:pt x="249" y="251"/>
                  </a:lnTo>
                  <a:lnTo>
                    <a:pt x="247" y="249"/>
                  </a:lnTo>
                  <a:lnTo>
                    <a:pt x="246" y="247"/>
                  </a:lnTo>
                  <a:lnTo>
                    <a:pt x="242" y="244"/>
                  </a:lnTo>
                  <a:lnTo>
                    <a:pt x="237" y="242"/>
                  </a:lnTo>
                  <a:lnTo>
                    <a:pt x="235" y="240"/>
                  </a:lnTo>
                  <a:lnTo>
                    <a:pt x="232" y="240"/>
                  </a:lnTo>
                  <a:lnTo>
                    <a:pt x="230" y="240"/>
                  </a:lnTo>
                  <a:lnTo>
                    <a:pt x="228" y="240"/>
                  </a:lnTo>
                  <a:lnTo>
                    <a:pt x="225" y="240"/>
                  </a:lnTo>
                  <a:lnTo>
                    <a:pt x="222" y="240"/>
                  </a:lnTo>
                  <a:lnTo>
                    <a:pt x="220" y="240"/>
                  </a:lnTo>
                  <a:lnTo>
                    <a:pt x="218" y="240"/>
                  </a:lnTo>
                  <a:lnTo>
                    <a:pt x="216" y="240"/>
                  </a:lnTo>
                  <a:lnTo>
                    <a:pt x="215" y="242"/>
                  </a:lnTo>
                  <a:lnTo>
                    <a:pt x="210" y="244"/>
                  </a:lnTo>
                  <a:lnTo>
                    <a:pt x="206" y="246"/>
                  </a:lnTo>
                  <a:lnTo>
                    <a:pt x="203" y="247"/>
                  </a:lnTo>
                  <a:lnTo>
                    <a:pt x="201" y="247"/>
                  </a:lnTo>
                  <a:lnTo>
                    <a:pt x="201" y="249"/>
                  </a:lnTo>
                  <a:lnTo>
                    <a:pt x="194" y="256"/>
                  </a:lnTo>
                  <a:lnTo>
                    <a:pt x="192" y="258"/>
                  </a:lnTo>
                  <a:lnTo>
                    <a:pt x="189" y="261"/>
                  </a:lnTo>
                  <a:lnTo>
                    <a:pt x="185" y="264"/>
                  </a:lnTo>
                  <a:lnTo>
                    <a:pt x="184" y="264"/>
                  </a:lnTo>
                  <a:lnTo>
                    <a:pt x="182" y="264"/>
                  </a:lnTo>
                  <a:lnTo>
                    <a:pt x="177" y="264"/>
                  </a:lnTo>
                  <a:lnTo>
                    <a:pt x="175" y="264"/>
                  </a:lnTo>
                  <a:lnTo>
                    <a:pt x="173" y="264"/>
                  </a:lnTo>
                  <a:lnTo>
                    <a:pt x="170" y="264"/>
                  </a:lnTo>
                  <a:lnTo>
                    <a:pt x="170" y="263"/>
                  </a:lnTo>
                  <a:lnTo>
                    <a:pt x="168" y="264"/>
                  </a:lnTo>
                  <a:lnTo>
                    <a:pt x="165" y="266"/>
                  </a:lnTo>
                  <a:lnTo>
                    <a:pt x="163" y="268"/>
                  </a:lnTo>
                  <a:lnTo>
                    <a:pt x="161" y="268"/>
                  </a:lnTo>
                  <a:lnTo>
                    <a:pt x="161" y="270"/>
                  </a:lnTo>
                  <a:lnTo>
                    <a:pt x="161" y="270"/>
                  </a:lnTo>
                  <a:lnTo>
                    <a:pt x="160" y="271"/>
                  </a:lnTo>
                  <a:lnTo>
                    <a:pt x="160" y="273"/>
                  </a:lnTo>
                  <a:lnTo>
                    <a:pt x="158" y="276"/>
                  </a:lnTo>
                  <a:lnTo>
                    <a:pt x="158" y="278"/>
                  </a:lnTo>
                  <a:lnTo>
                    <a:pt x="156" y="283"/>
                  </a:lnTo>
                  <a:lnTo>
                    <a:pt x="156" y="285"/>
                  </a:lnTo>
                  <a:lnTo>
                    <a:pt x="156" y="287"/>
                  </a:lnTo>
                  <a:lnTo>
                    <a:pt x="156" y="289"/>
                  </a:lnTo>
                  <a:lnTo>
                    <a:pt x="154" y="289"/>
                  </a:lnTo>
                  <a:lnTo>
                    <a:pt x="154" y="290"/>
                  </a:lnTo>
                  <a:lnTo>
                    <a:pt x="151" y="294"/>
                  </a:lnTo>
                  <a:lnTo>
                    <a:pt x="149" y="295"/>
                  </a:lnTo>
                  <a:lnTo>
                    <a:pt x="146" y="295"/>
                  </a:lnTo>
                  <a:lnTo>
                    <a:pt x="144" y="295"/>
                  </a:lnTo>
                  <a:lnTo>
                    <a:pt x="141" y="295"/>
                  </a:lnTo>
                  <a:lnTo>
                    <a:pt x="139" y="294"/>
                  </a:lnTo>
                  <a:lnTo>
                    <a:pt x="136" y="290"/>
                  </a:lnTo>
                  <a:lnTo>
                    <a:pt x="134" y="287"/>
                  </a:lnTo>
                  <a:lnTo>
                    <a:pt x="134" y="285"/>
                  </a:lnTo>
                  <a:lnTo>
                    <a:pt x="134" y="285"/>
                  </a:lnTo>
                  <a:lnTo>
                    <a:pt x="134" y="282"/>
                  </a:lnTo>
                  <a:lnTo>
                    <a:pt x="137" y="275"/>
                  </a:lnTo>
                  <a:lnTo>
                    <a:pt x="139" y="273"/>
                  </a:lnTo>
                  <a:lnTo>
                    <a:pt x="141" y="273"/>
                  </a:lnTo>
                  <a:lnTo>
                    <a:pt x="141" y="271"/>
                  </a:lnTo>
                  <a:lnTo>
                    <a:pt x="144" y="270"/>
                  </a:lnTo>
                  <a:lnTo>
                    <a:pt x="144" y="270"/>
                  </a:lnTo>
                  <a:lnTo>
                    <a:pt x="146" y="268"/>
                  </a:lnTo>
                  <a:lnTo>
                    <a:pt x="148" y="266"/>
                  </a:lnTo>
                  <a:lnTo>
                    <a:pt x="149" y="264"/>
                  </a:lnTo>
                  <a:lnTo>
                    <a:pt x="149" y="263"/>
                  </a:lnTo>
                  <a:lnTo>
                    <a:pt x="149" y="261"/>
                  </a:lnTo>
                  <a:lnTo>
                    <a:pt x="149" y="259"/>
                  </a:lnTo>
                  <a:lnTo>
                    <a:pt x="149" y="256"/>
                  </a:lnTo>
                  <a:lnTo>
                    <a:pt x="149" y="256"/>
                  </a:lnTo>
                  <a:lnTo>
                    <a:pt x="148" y="256"/>
                  </a:lnTo>
                  <a:lnTo>
                    <a:pt x="146" y="252"/>
                  </a:lnTo>
                  <a:lnTo>
                    <a:pt x="142" y="249"/>
                  </a:lnTo>
                  <a:lnTo>
                    <a:pt x="141" y="247"/>
                  </a:lnTo>
                  <a:lnTo>
                    <a:pt x="141" y="247"/>
                  </a:lnTo>
                  <a:lnTo>
                    <a:pt x="141" y="246"/>
                  </a:lnTo>
                  <a:lnTo>
                    <a:pt x="139" y="247"/>
                  </a:lnTo>
                  <a:lnTo>
                    <a:pt x="137" y="247"/>
                  </a:lnTo>
                  <a:lnTo>
                    <a:pt x="134" y="251"/>
                  </a:lnTo>
                  <a:lnTo>
                    <a:pt x="130" y="252"/>
                  </a:lnTo>
                  <a:lnTo>
                    <a:pt x="125" y="252"/>
                  </a:lnTo>
                  <a:lnTo>
                    <a:pt x="125" y="252"/>
                  </a:lnTo>
                  <a:lnTo>
                    <a:pt x="124" y="254"/>
                  </a:lnTo>
                  <a:lnTo>
                    <a:pt x="122" y="254"/>
                  </a:lnTo>
                  <a:lnTo>
                    <a:pt x="120" y="254"/>
                  </a:lnTo>
                  <a:lnTo>
                    <a:pt x="118" y="256"/>
                  </a:lnTo>
                  <a:lnTo>
                    <a:pt x="115" y="256"/>
                  </a:lnTo>
                  <a:lnTo>
                    <a:pt x="113" y="256"/>
                  </a:lnTo>
                  <a:lnTo>
                    <a:pt x="111" y="256"/>
                  </a:lnTo>
                  <a:lnTo>
                    <a:pt x="110" y="256"/>
                  </a:lnTo>
                  <a:lnTo>
                    <a:pt x="110" y="256"/>
                  </a:lnTo>
                  <a:lnTo>
                    <a:pt x="110" y="258"/>
                  </a:lnTo>
                  <a:lnTo>
                    <a:pt x="108" y="258"/>
                  </a:lnTo>
                  <a:lnTo>
                    <a:pt x="108" y="259"/>
                  </a:lnTo>
                  <a:lnTo>
                    <a:pt x="106" y="259"/>
                  </a:lnTo>
                  <a:lnTo>
                    <a:pt x="106" y="261"/>
                  </a:lnTo>
                  <a:lnTo>
                    <a:pt x="105" y="263"/>
                  </a:lnTo>
                  <a:lnTo>
                    <a:pt x="105" y="264"/>
                  </a:lnTo>
                  <a:lnTo>
                    <a:pt x="105" y="266"/>
                  </a:lnTo>
                  <a:lnTo>
                    <a:pt x="105" y="268"/>
                  </a:lnTo>
                  <a:lnTo>
                    <a:pt x="106" y="268"/>
                  </a:lnTo>
                  <a:lnTo>
                    <a:pt x="106" y="270"/>
                  </a:lnTo>
                  <a:lnTo>
                    <a:pt x="106" y="270"/>
                  </a:lnTo>
                  <a:lnTo>
                    <a:pt x="108" y="271"/>
                  </a:lnTo>
                  <a:lnTo>
                    <a:pt x="110" y="275"/>
                  </a:lnTo>
                  <a:lnTo>
                    <a:pt x="110" y="275"/>
                  </a:lnTo>
                  <a:lnTo>
                    <a:pt x="110" y="276"/>
                  </a:lnTo>
                  <a:lnTo>
                    <a:pt x="110" y="278"/>
                  </a:lnTo>
                  <a:lnTo>
                    <a:pt x="111" y="280"/>
                  </a:lnTo>
                  <a:lnTo>
                    <a:pt x="111" y="282"/>
                  </a:lnTo>
                  <a:lnTo>
                    <a:pt x="111" y="285"/>
                  </a:lnTo>
                  <a:lnTo>
                    <a:pt x="111" y="285"/>
                  </a:lnTo>
                  <a:lnTo>
                    <a:pt x="110" y="285"/>
                  </a:lnTo>
                  <a:lnTo>
                    <a:pt x="110" y="287"/>
                  </a:lnTo>
                  <a:lnTo>
                    <a:pt x="108" y="289"/>
                  </a:lnTo>
                  <a:lnTo>
                    <a:pt x="106" y="290"/>
                  </a:lnTo>
                  <a:lnTo>
                    <a:pt x="105" y="290"/>
                  </a:lnTo>
                  <a:lnTo>
                    <a:pt x="103" y="294"/>
                  </a:lnTo>
                  <a:lnTo>
                    <a:pt x="101" y="295"/>
                  </a:lnTo>
                  <a:lnTo>
                    <a:pt x="99" y="297"/>
                  </a:lnTo>
                  <a:lnTo>
                    <a:pt x="98" y="297"/>
                  </a:lnTo>
                  <a:lnTo>
                    <a:pt x="94" y="299"/>
                  </a:lnTo>
                  <a:lnTo>
                    <a:pt x="94" y="301"/>
                  </a:lnTo>
                  <a:lnTo>
                    <a:pt x="93" y="301"/>
                  </a:lnTo>
                  <a:lnTo>
                    <a:pt x="91" y="301"/>
                  </a:lnTo>
                  <a:lnTo>
                    <a:pt x="89" y="301"/>
                  </a:lnTo>
                  <a:lnTo>
                    <a:pt x="87" y="301"/>
                  </a:lnTo>
                  <a:lnTo>
                    <a:pt x="86" y="301"/>
                  </a:lnTo>
                  <a:lnTo>
                    <a:pt x="84" y="301"/>
                  </a:lnTo>
                  <a:lnTo>
                    <a:pt x="82" y="301"/>
                  </a:lnTo>
                  <a:lnTo>
                    <a:pt x="81" y="301"/>
                  </a:lnTo>
                  <a:lnTo>
                    <a:pt x="81" y="301"/>
                  </a:lnTo>
                  <a:lnTo>
                    <a:pt x="79" y="301"/>
                  </a:lnTo>
                  <a:lnTo>
                    <a:pt x="75" y="301"/>
                  </a:lnTo>
                  <a:lnTo>
                    <a:pt x="74" y="301"/>
                  </a:lnTo>
                  <a:lnTo>
                    <a:pt x="72" y="301"/>
                  </a:lnTo>
                  <a:lnTo>
                    <a:pt x="70" y="299"/>
                  </a:lnTo>
                  <a:lnTo>
                    <a:pt x="68" y="297"/>
                  </a:lnTo>
                  <a:lnTo>
                    <a:pt x="67" y="297"/>
                  </a:lnTo>
                  <a:lnTo>
                    <a:pt x="65" y="295"/>
                  </a:lnTo>
                  <a:lnTo>
                    <a:pt x="65" y="295"/>
                  </a:lnTo>
                  <a:lnTo>
                    <a:pt x="65" y="294"/>
                  </a:lnTo>
                  <a:lnTo>
                    <a:pt x="60" y="289"/>
                  </a:lnTo>
                  <a:lnTo>
                    <a:pt x="53" y="282"/>
                  </a:lnTo>
                  <a:lnTo>
                    <a:pt x="51" y="280"/>
                  </a:lnTo>
                  <a:lnTo>
                    <a:pt x="51" y="278"/>
                  </a:lnTo>
                  <a:lnTo>
                    <a:pt x="51" y="276"/>
                  </a:lnTo>
                  <a:lnTo>
                    <a:pt x="50" y="276"/>
                  </a:lnTo>
                  <a:lnTo>
                    <a:pt x="50" y="275"/>
                  </a:lnTo>
                  <a:lnTo>
                    <a:pt x="50" y="273"/>
                  </a:lnTo>
                  <a:lnTo>
                    <a:pt x="48" y="273"/>
                  </a:lnTo>
                  <a:lnTo>
                    <a:pt x="48" y="271"/>
                  </a:lnTo>
                  <a:lnTo>
                    <a:pt x="46" y="271"/>
                  </a:lnTo>
                  <a:lnTo>
                    <a:pt x="44" y="270"/>
                  </a:lnTo>
                  <a:lnTo>
                    <a:pt x="43" y="270"/>
                  </a:lnTo>
                  <a:lnTo>
                    <a:pt x="41" y="270"/>
                  </a:lnTo>
                  <a:lnTo>
                    <a:pt x="39" y="270"/>
                  </a:lnTo>
                  <a:lnTo>
                    <a:pt x="38" y="270"/>
                  </a:lnTo>
                  <a:lnTo>
                    <a:pt x="36" y="270"/>
                  </a:lnTo>
                  <a:lnTo>
                    <a:pt x="34" y="270"/>
                  </a:lnTo>
                  <a:lnTo>
                    <a:pt x="32" y="268"/>
                  </a:lnTo>
                  <a:lnTo>
                    <a:pt x="29" y="268"/>
                  </a:lnTo>
                  <a:lnTo>
                    <a:pt x="27" y="268"/>
                  </a:lnTo>
                  <a:lnTo>
                    <a:pt x="25" y="268"/>
                  </a:lnTo>
                  <a:lnTo>
                    <a:pt x="22" y="268"/>
                  </a:lnTo>
                  <a:lnTo>
                    <a:pt x="20" y="266"/>
                  </a:lnTo>
                  <a:lnTo>
                    <a:pt x="20" y="266"/>
                  </a:lnTo>
                  <a:lnTo>
                    <a:pt x="19" y="266"/>
                  </a:lnTo>
                  <a:lnTo>
                    <a:pt x="17" y="266"/>
                  </a:lnTo>
                  <a:lnTo>
                    <a:pt x="17" y="264"/>
                  </a:lnTo>
                  <a:lnTo>
                    <a:pt x="15" y="264"/>
                  </a:lnTo>
                  <a:lnTo>
                    <a:pt x="15" y="263"/>
                  </a:lnTo>
                  <a:lnTo>
                    <a:pt x="15" y="261"/>
                  </a:lnTo>
                  <a:lnTo>
                    <a:pt x="15" y="259"/>
                  </a:lnTo>
                  <a:lnTo>
                    <a:pt x="15" y="258"/>
                  </a:lnTo>
                  <a:lnTo>
                    <a:pt x="17" y="258"/>
                  </a:lnTo>
                  <a:lnTo>
                    <a:pt x="17" y="256"/>
                  </a:lnTo>
                  <a:lnTo>
                    <a:pt x="19" y="256"/>
                  </a:lnTo>
                  <a:lnTo>
                    <a:pt x="19" y="256"/>
                  </a:lnTo>
                  <a:lnTo>
                    <a:pt x="20" y="256"/>
                  </a:lnTo>
                  <a:lnTo>
                    <a:pt x="20" y="254"/>
                  </a:lnTo>
                  <a:lnTo>
                    <a:pt x="20" y="254"/>
                  </a:lnTo>
                  <a:lnTo>
                    <a:pt x="22" y="252"/>
                  </a:lnTo>
                  <a:lnTo>
                    <a:pt x="22" y="251"/>
                  </a:lnTo>
                  <a:lnTo>
                    <a:pt x="24" y="249"/>
                  </a:lnTo>
                  <a:lnTo>
                    <a:pt x="24" y="247"/>
                  </a:lnTo>
                  <a:lnTo>
                    <a:pt x="25" y="246"/>
                  </a:lnTo>
                  <a:lnTo>
                    <a:pt x="25" y="244"/>
                  </a:lnTo>
                  <a:lnTo>
                    <a:pt x="25" y="242"/>
                  </a:lnTo>
                  <a:lnTo>
                    <a:pt x="25" y="240"/>
                  </a:lnTo>
                  <a:lnTo>
                    <a:pt x="25" y="240"/>
                  </a:lnTo>
                  <a:lnTo>
                    <a:pt x="24" y="240"/>
                  </a:lnTo>
                  <a:lnTo>
                    <a:pt x="22" y="240"/>
                  </a:lnTo>
                  <a:lnTo>
                    <a:pt x="20" y="240"/>
                  </a:lnTo>
                  <a:lnTo>
                    <a:pt x="20" y="239"/>
                  </a:lnTo>
                  <a:lnTo>
                    <a:pt x="20" y="240"/>
                  </a:lnTo>
                  <a:lnTo>
                    <a:pt x="20" y="239"/>
                  </a:lnTo>
                  <a:lnTo>
                    <a:pt x="19" y="239"/>
                  </a:lnTo>
                  <a:lnTo>
                    <a:pt x="17" y="239"/>
                  </a:lnTo>
                  <a:lnTo>
                    <a:pt x="15" y="240"/>
                  </a:lnTo>
                  <a:lnTo>
                    <a:pt x="13" y="240"/>
                  </a:lnTo>
                  <a:lnTo>
                    <a:pt x="12" y="240"/>
                  </a:lnTo>
                  <a:lnTo>
                    <a:pt x="12" y="240"/>
                  </a:lnTo>
                  <a:lnTo>
                    <a:pt x="10" y="240"/>
                  </a:lnTo>
                  <a:lnTo>
                    <a:pt x="8" y="242"/>
                  </a:lnTo>
                  <a:lnTo>
                    <a:pt x="7" y="242"/>
                  </a:lnTo>
                  <a:lnTo>
                    <a:pt x="7" y="244"/>
                  </a:lnTo>
                  <a:lnTo>
                    <a:pt x="5" y="244"/>
                  </a:lnTo>
                  <a:lnTo>
                    <a:pt x="5" y="244"/>
                  </a:lnTo>
                  <a:lnTo>
                    <a:pt x="3" y="244"/>
                  </a:lnTo>
                  <a:lnTo>
                    <a:pt x="1" y="244"/>
                  </a:lnTo>
                  <a:lnTo>
                    <a:pt x="0" y="244"/>
                  </a:lnTo>
                  <a:lnTo>
                    <a:pt x="0" y="242"/>
                  </a:lnTo>
                  <a:lnTo>
                    <a:pt x="0" y="240"/>
                  </a:lnTo>
                  <a:lnTo>
                    <a:pt x="0" y="228"/>
                  </a:lnTo>
                  <a:lnTo>
                    <a:pt x="1" y="225"/>
                  </a:lnTo>
                  <a:lnTo>
                    <a:pt x="1" y="221"/>
                  </a:lnTo>
                  <a:lnTo>
                    <a:pt x="1" y="209"/>
                  </a:lnTo>
                  <a:lnTo>
                    <a:pt x="1" y="208"/>
                  </a:lnTo>
                  <a:lnTo>
                    <a:pt x="1" y="199"/>
                  </a:lnTo>
                  <a:lnTo>
                    <a:pt x="1" y="194"/>
                  </a:lnTo>
                  <a:lnTo>
                    <a:pt x="1" y="194"/>
                  </a:lnTo>
                  <a:lnTo>
                    <a:pt x="1" y="192"/>
                  </a:lnTo>
                  <a:lnTo>
                    <a:pt x="1" y="190"/>
                  </a:lnTo>
                  <a:lnTo>
                    <a:pt x="1" y="185"/>
                  </a:lnTo>
                  <a:lnTo>
                    <a:pt x="1" y="182"/>
                  </a:lnTo>
                  <a:lnTo>
                    <a:pt x="1" y="178"/>
                  </a:lnTo>
                  <a:lnTo>
                    <a:pt x="1" y="166"/>
                  </a:lnTo>
                  <a:lnTo>
                    <a:pt x="1" y="165"/>
                  </a:lnTo>
                  <a:lnTo>
                    <a:pt x="1" y="161"/>
                  </a:lnTo>
                  <a:lnTo>
                    <a:pt x="1" y="154"/>
                  </a:lnTo>
                  <a:lnTo>
                    <a:pt x="1" y="153"/>
                  </a:lnTo>
                  <a:lnTo>
                    <a:pt x="1" y="149"/>
                  </a:lnTo>
                  <a:lnTo>
                    <a:pt x="1" y="149"/>
                  </a:lnTo>
                  <a:lnTo>
                    <a:pt x="1" y="146"/>
                  </a:lnTo>
                  <a:lnTo>
                    <a:pt x="1" y="144"/>
                  </a:lnTo>
                  <a:lnTo>
                    <a:pt x="1" y="142"/>
                  </a:lnTo>
                  <a:lnTo>
                    <a:pt x="1" y="139"/>
                  </a:lnTo>
                  <a:lnTo>
                    <a:pt x="1" y="137"/>
                  </a:lnTo>
                  <a:lnTo>
                    <a:pt x="1" y="135"/>
                  </a:lnTo>
                  <a:lnTo>
                    <a:pt x="3" y="134"/>
                  </a:lnTo>
                  <a:lnTo>
                    <a:pt x="3" y="134"/>
                  </a:lnTo>
                  <a:lnTo>
                    <a:pt x="3" y="132"/>
                  </a:lnTo>
                  <a:lnTo>
                    <a:pt x="3" y="129"/>
                  </a:lnTo>
                  <a:lnTo>
                    <a:pt x="3" y="122"/>
                  </a:lnTo>
                  <a:lnTo>
                    <a:pt x="3" y="115"/>
                  </a:lnTo>
                  <a:lnTo>
                    <a:pt x="3" y="113"/>
                  </a:lnTo>
                  <a:lnTo>
                    <a:pt x="3" y="108"/>
                  </a:lnTo>
                  <a:lnTo>
                    <a:pt x="3" y="106"/>
                  </a:lnTo>
                  <a:lnTo>
                    <a:pt x="3" y="104"/>
                  </a:lnTo>
                  <a:lnTo>
                    <a:pt x="3" y="104"/>
                  </a:lnTo>
                  <a:lnTo>
                    <a:pt x="3" y="103"/>
                  </a:lnTo>
                  <a:lnTo>
                    <a:pt x="3" y="101"/>
                  </a:lnTo>
                  <a:lnTo>
                    <a:pt x="3" y="99"/>
                  </a:lnTo>
                  <a:lnTo>
                    <a:pt x="3" y="94"/>
                  </a:lnTo>
                  <a:lnTo>
                    <a:pt x="3" y="89"/>
                  </a:lnTo>
                  <a:lnTo>
                    <a:pt x="3" y="80"/>
                  </a:lnTo>
                  <a:lnTo>
                    <a:pt x="3" y="79"/>
                  </a:lnTo>
                  <a:lnTo>
                    <a:pt x="3" y="75"/>
                  </a:lnTo>
                  <a:lnTo>
                    <a:pt x="3" y="73"/>
                  </a:lnTo>
                  <a:lnTo>
                    <a:pt x="3" y="73"/>
                  </a:lnTo>
                  <a:lnTo>
                    <a:pt x="3" y="70"/>
                  </a:lnTo>
                  <a:lnTo>
                    <a:pt x="3" y="65"/>
                  </a:lnTo>
                  <a:lnTo>
                    <a:pt x="3" y="61"/>
                  </a:lnTo>
                  <a:lnTo>
                    <a:pt x="5" y="60"/>
                  </a:lnTo>
                  <a:lnTo>
                    <a:pt x="5" y="55"/>
                  </a:lnTo>
                  <a:lnTo>
                    <a:pt x="5" y="53"/>
                  </a:lnTo>
                  <a:lnTo>
                    <a:pt x="5" y="51"/>
                  </a:lnTo>
                  <a:lnTo>
                    <a:pt x="5" y="48"/>
                  </a:lnTo>
                  <a:lnTo>
                    <a:pt x="5" y="43"/>
                  </a:lnTo>
                  <a:lnTo>
                    <a:pt x="5" y="39"/>
                  </a:lnTo>
                  <a:lnTo>
                    <a:pt x="5" y="37"/>
                  </a:lnTo>
                  <a:lnTo>
                    <a:pt x="5" y="34"/>
                  </a:lnTo>
                  <a:lnTo>
                    <a:pt x="5" y="30"/>
                  </a:lnTo>
                  <a:lnTo>
                    <a:pt x="5" y="29"/>
                  </a:lnTo>
                  <a:lnTo>
                    <a:pt x="5" y="27"/>
                  </a:lnTo>
                  <a:lnTo>
                    <a:pt x="5" y="25"/>
                  </a:lnTo>
                  <a:lnTo>
                    <a:pt x="5" y="20"/>
                  </a:lnTo>
                  <a:lnTo>
                    <a:pt x="5" y="18"/>
                  </a:lnTo>
                  <a:lnTo>
                    <a:pt x="5" y="13"/>
                  </a:lnTo>
                  <a:lnTo>
                    <a:pt x="5" y="10"/>
                  </a:lnTo>
                  <a:lnTo>
                    <a:pt x="5" y="3"/>
                  </a:lnTo>
                  <a:lnTo>
                    <a:pt x="5"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5" name="Freeform 143"/>
            <p:cNvSpPr>
              <a:spLocks/>
            </p:cNvSpPr>
            <p:nvPr/>
          </p:nvSpPr>
          <p:spPr bwMode="auto">
            <a:xfrm>
              <a:off x="3625146" y="1147556"/>
              <a:ext cx="374650" cy="433388"/>
            </a:xfrm>
            <a:custGeom>
              <a:avLst/>
              <a:gdLst/>
              <a:ahLst/>
              <a:cxnLst>
                <a:cxn ang="0">
                  <a:pos x="26" y="0"/>
                </a:cxn>
                <a:cxn ang="0">
                  <a:pos x="62" y="1"/>
                </a:cxn>
                <a:cxn ang="0">
                  <a:pos x="83" y="1"/>
                </a:cxn>
                <a:cxn ang="0">
                  <a:pos x="93" y="1"/>
                </a:cxn>
                <a:cxn ang="0">
                  <a:pos x="108" y="1"/>
                </a:cxn>
                <a:cxn ang="0">
                  <a:pos x="119" y="1"/>
                </a:cxn>
                <a:cxn ang="0">
                  <a:pos x="129" y="1"/>
                </a:cxn>
                <a:cxn ang="0">
                  <a:pos x="146" y="1"/>
                </a:cxn>
                <a:cxn ang="0">
                  <a:pos x="179" y="1"/>
                </a:cxn>
                <a:cxn ang="0">
                  <a:pos x="201" y="3"/>
                </a:cxn>
                <a:cxn ang="0">
                  <a:pos x="220" y="3"/>
                </a:cxn>
                <a:cxn ang="0">
                  <a:pos x="236" y="5"/>
                </a:cxn>
                <a:cxn ang="0">
                  <a:pos x="234" y="22"/>
                </a:cxn>
                <a:cxn ang="0">
                  <a:pos x="232" y="57"/>
                </a:cxn>
                <a:cxn ang="0">
                  <a:pos x="232" y="84"/>
                </a:cxn>
                <a:cxn ang="0">
                  <a:pos x="232" y="117"/>
                </a:cxn>
                <a:cxn ang="0">
                  <a:pos x="232" y="139"/>
                </a:cxn>
                <a:cxn ang="0">
                  <a:pos x="231" y="161"/>
                </a:cxn>
                <a:cxn ang="0">
                  <a:pos x="231" y="177"/>
                </a:cxn>
                <a:cxn ang="0">
                  <a:pos x="231" y="196"/>
                </a:cxn>
                <a:cxn ang="0">
                  <a:pos x="231" y="206"/>
                </a:cxn>
                <a:cxn ang="0">
                  <a:pos x="231" y="217"/>
                </a:cxn>
                <a:cxn ang="0">
                  <a:pos x="229" y="241"/>
                </a:cxn>
                <a:cxn ang="0">
                  <a:pos x="229" y="268"/>
                </a:cxn>
                <a:cxn ang="0">
                  <a:pos x="219" y="273"/>
                </a:cxn>
                <a:cxn ang="0">
                  <a:pos x="208" y="273"/>
                </a:cxn>
                <a:cxn ang="0">
                  <a:pos x="184" y="272"/>
                </a:cxn>
                <a:cxn ang="0">
                  <a:pos x="170" y="270"/>
                </a:cxn>
                <a:cxn ang="0">
                  <a:pos x="153" y="270"/>
                </a:cxn>
                <a:cxn ang="0">
                  <a:pos x="139" y="270"/>
                </a:cxn>
                <a:cxn ang="0">
                  <a:pos x="122" y="270"/>
                </a:cxn>
                <a:cxn ang="0">
                  <a:pos x="100" y="270"/>
                </a:cxn>
                <a:cxn ang="0">
                  <a:pos x="88" y="268"/>
                </a:cxn>
                <a:cxn ang="0">
                  <a:pos x="71" y="268"/>
                </a:cxn>
                <a:cxn ang="0">
                  <a:pos x="55" y="268"/>
                </a:cxn>
                <a:cxn ang="0">
                  <a:pos x="48" y="268"/>
                </a:cxn>
                <a:cxn ang="0">
                  <a:pos x="33" y="268"/>
                </a:cxn>
                <a:cxn ang="0">
                  <a:pos x="17" y="268"/>
                </a:cxn>
                <a:cxn ang="0">
                  <a:pos x="10" y="266"/>
                </a:cxn>
                <a:cxn ang="0">
                  <a:pos x="0" y="256"/>
                </a:cxn>
                <a:cxn ang="0">
                  <a:pos x="2" y="223"/>
                </a:cxn>
                <a:cxn ang="0">
                  <a:pos x="2" y="199"/>
                </a:cxn>
                <a:cxn ang="0">
                  <a:pos x="2" y="168"/>
                </a:cxn>
                <a:cxn ang="0">
                  <a:pos x="2" y="149"/>
                </a:cxn>
                <a:cxn ang="0">
                  <a:pos x="4" y="130"/>
                </a:cxn>
                <a:cxn ang="0">
                  <a:pos x="4" y="110"/>
                </a:cxn>
                <a:cxn ang="0">
                  <a:pos x="4" y="100"/>
                </a:cxn>
                <a:cxn ang="0">
                  <a:pos x="5" y="77"/>
                </a:cxn>
                <a:cxn ang="0">
                  <a:pos x="7" y="44"/>
                </a:cxn>
                <a:cxn ang="0">
                  <a:pos x="7" y="31"/>
                </a:cxn>
                <a:cxn ang="0">
                  <a:pos x="9" y="8"/>
                </a:cxn>
              </a:cxnLst>
              <a:rect l="0" t="0" r="r" b="b"/>
              <a:pathLst>
                <a:path w="236" h="273">
                  <a:moveTo>
                    <a:pt x="9" y="0"/>
                  </a:moveTo>
                  <a:lnTo>
                    <a:pt x="16" y="0"/>
                  </a:lnTo>
                  <a:lnTo>
                    <a:pt x="19" y="0"/>
                  </a:lnTo>
                  <a:lnTo>
                    <a:pt x="26" y="0"/>
                  </a:lnTo>
                  <a:lnTo>
                    <a:pt x="33" y="1"/>
                  </a:lnTo>
                  <a:lnTo>
                    <a:pt x="36" y="1"/>
                  </a:lnTo>
                  <a:lnTo>
                    <a:pt x="43" y="1"/>
                  </a:lnTo>
                  <a:lnTo>
                    <a:pt x="62" y="1"/>
                  </a:lnTo>
                  <a:lnTo>
                    <a:pt x="67" y="1"/>
                  </a:lnTo>
                  <a:lnTo>
                    <a:pt x="69" y="1"/>
                  </a:lnTo>
                  <a:lnTo>
                    <a:pt x="79" y="1"/>
                  </a:lnTo>
                  <a:lnTo>
                    <a:pt x="83" y="1"/>
                  </a:lnTo>
                  <a:lnTo>
                    <a:pt x="84" y="1"/>
                  </a:lnTo>
                  <a:lnTo>
                    <a:pt x="88" y="1"/>
                  </a:lnTo>
                  <a:lnTo>
                    <a:pt x="91" y="1"/>
                  </a:lnTo>
                  <a:lnTo>
                    <a:pt x="93" y="1"/>
                  </a:lnTo>
                  <a:lnTo>
                    <a:pt x="98" y="1"/>
                  </a:lnTo>
                  <a:lnTo>
                    <a:pt x="103" y="1"/>
                  </a:lnTo>
                  <a:lnTo>
                    <a:pt x="108" y="1"/>
                  </a:lnTo>
                  <a:lnTo>
                    <a:pt x="108" y="1"/>
                  </a:lnTo>
                  <a:lnTo>
                    <a:pt x="110" y="1"/>
                  </a:lnTo>
                  <a:lnTo>
                    <a:pt x="114" y="1"/>
                  </a:lnTo>
                  <a:lnTo>
                    <a:pt x="117" y="1"/>
                  </a:lnTo>
                  <a:lnTo>
                    <a:pt x="119" y="1"/>
                  </a:lnTo>
                  <a:lnTo>
                    <a:pt x="120" y="1"/>
                  </a:lnTo>
                  <a:lnTo>
                    <a:pt x="122" y="1"/>
                  </a:lnTo>
                  <a:lnTo>
                    <a:pt x="127" y="1"/>
                  </a:lnTo>
                  <a:lnTo>
                    <a:pt x="129" y="1"/>
                  </a:lnTo>
                  <a:lnTo>
                    <a:pt x="134" y="1"/>
                  </a:lnTo>
                  <a:lnTo>
                    <a:pt x="136" y="1"/>
                  </a:lnTo>
                  <a:lnTo>
                    <a:pt x="139" y="1"/>
                  </a:lnTo>
                  <a:lnTo>
                    <a:pt x="146" y="1"/>
                  </a:lnTo>
                  <a:lnTo>
                    <a:pt x="160" y="1"/>
                  </a:lnTo>
                  <a:lnTo>
                    <a:pt x="169" y="1"/>
                  </a:lnTo>
                  <a:lnTo>
                    <a:pt x="174" y="1"/>
                  </a:lnTo>
                  <a:lnTo>
                    <a:pt x="179" y="1"/>
                  </a:lnTo>
                  <a:lnTo>
                    <a:pt x="186" y="1"/>
                  </a:lnTo>
                  <a:lnTo>
                    <a:pt x="189" y="1"/>
                  </a:lnTo>
                  <a:lnTo>
                    <a:pt x="191" y="3"/>
                  </a:lnTo>
                  <a:lnTo>
                    <a:pt x="201" y="3"/>
                  </a:lnTo>
                  <a:lnTo>
                    <a:pt x="212" y="3"/>
                  </a:lnTo>
                  <a:lnTo>
                    <a:pt x="213" y="3"/>
                  </a:lnTo>
                  <a:lnTo>
                    <a:pt x="213" y="3"/>
                  </a:lnTo>
                  <a:lnTo>
                    <a:pt x="220" y="3"/>
                  </a:lnTo>
                  <a:lnTo>
                    <a:pt x="224" y="5"/>
                  </a:lnTo>
                  <a:lnTo>
                    <a:pt x="229" y="5"/>
                  </a:lnTo>
                  <a:lnTo>
                    <a:pt x="234" y="5"/>
                  </a:lnTo>
                  <a:lnTo>
                    <a:pt x="236" y="5"/>
                  </a:lnTo>
                  <a:lnTo>
                    <a:pt x="234" y="10"/>
                  </a:lnTo>
                  <a:lnTo>
                    <a:pt x="234" y="14"/>
                  </a:lnTo>
                  <a:lnTo>
                    <a:pt x="234" y="20"/>
                  </a:lnTo>
                  <a:lnTo>
                    <a:pt x="234" y="22"/>
                  </a:lnTo>
                  <a:lnTo>
                    <a:pt x="234" y="39"/>
                  </a:lnTo>
                  <a:lnTo>
                    <a:pt x="234" y="46"/>
                  </a:lnTo>
                  <a:lnTo>
                    <a:pt x="234" y="53"/>
                  </a:lnTo>
                  <a:lnTo>
                    <a:pt x="232" y="57"/>
                  </a:lnTo>
                  <a:lnTo>
                    <a:pt x="232" y="62"/>
                  </a:lnTo>
                  <a:lnTo>
                    <a:pt x="232" y="63"/>
                  </a:lnTo>
                  <a:lnTo>
                    <a:pt x="232" y="72"/>
                  </a:lnTo>
                  <a:lnTo>
                    <a:pt x="232" y="84"/>
                  </a:lnTo>
                  <a:lnTo>
                    <a:pt x="232" y="98"/>
                  </a:lnTo>
                  <a:lnTo>
                    <a:pt x="232" y="108"/>
                  </a:lnTo>
                  <a:lnTo>
                    <a:pt x="232" y="112"/>
                  </a:lnTo>
                  <a:lnTo>
                    <a:pt x="232" y="117"/>
                  </a:lnTo>
                  <a:lnTo>
                    <a:pt x="232" y="122"/>
                  </a:lnTo>
                  <a:lnTo>
                    <a:pt x="232" y="124"/>
                  </a:lnTo>
                  <a:lnTo>
                    <a:pt x="232" y="134"/>
                  </a:lnTo>
                  <a:lnTo>
                    <a:pt x="232" y="139"/>
                  </a:lnTo>
                  <a:lnTo>
                    <a:pt x="231" y="146"/>
                  </a:lnTo>
                  <a:lnTo>
                    <a:pt x="231" y="151"/>
                  </a:lnTo>
                  <a:lnTo>
                    <a:pt x="231" y="160"/>
                  </a:lnTo>
                  <a:lnTo>
                    <a:pt x="231" y="161"/>
                  </a:lnTo>
                  <a:lnTo>
                    <a:pt x="231" y="168"/>
                  </a:lnTo>
                  <a:lnTo>
                    <a:pt x="231" y="170"/>
                  </a:lnTo>
                  <a:lnTo>
                    <a:pt x="231" y="174"/>
                  </a:lnTo>
                  <a:lnTo>
                    <a:pt x="231" y="177"/>
                  </a:lnTo>
                  <a:lnTo>
                    <a:pt x="231" y="179"/>
                  </a:lnTo>
                  <a:lnTo>
                    <a:pt x="231" y="182"/>
                  </a:lnTo>
                  <a:lnTo>
                    <a:pt x="231" y="184"/>
                  </a:lnTo>
                  <a:lnTo>
                    <a:pt x="231" y="196"/>
                  </a:lnTo>
                  <a:lnTo>
                    <a:pt x="231" y="198"/>
                  </a:lnTo>
                  <a:lnTo>
                    <a:pt x="231" y="199"/>
                  </a:lnTo>
                  <a:lnTo>
                    <a:pt x="231" y="204"/>
                  </a:lnTo>
                  <a:lnTo>
                    <a:pt x="231" y="206"/>
                  </a:lnTo>
                  <a:lnTo>
                    <a:pt x="231" y="208"/>
                  </a:lnTo>
                  <a:lnTo>
                    <a:pt x="231" y="213"/>
                  </a:lnTo>
                  <a:lnTo>
                    <a:pt x="231" y="215"/>
                  </a:lnTo>
                  <a:lnTo>
                    <a:pt x="231" y="217"/>
                  </a:lnTo>
                  <a:lnTo>
                    <a:pt x="231" y="218"/>
                  </a:lnTo>
                  <a:lnTo>
                    <a:pt x="231" y="222"/>
                  </a:lnTo>
                  <a:lnTo>
                    <a:pt x="231" y="223"/>
                  </a:lnTo>
                  <a:lnTo>
                    <a:pt x="229" y="241"/>
                  </a:lnTo>
                  <a:lnTo>
                    <a:pt x="229" y="251"/>
                  </a:lnTo>
                  <a:lnTo>
                    <a:pt x="229" y="258"/>
                  </a:lnTo>
                  <a:lnTo>
                    <a:pt x="229" y="263"/>
                  </a:lnTo>
                  <a:lnTo>
                    <a:pt x="229" y="268"/>
                  </a:lnTo>
                  <a:lnTo>
                    <a:pt x="229" y="270"/>
                  </a:lnTo>
                  <a:lnTo>
                    <a:pt x="229" y="273"/>
                  </a:lnTo>
                  <a:lnTo>
                    <a:pt x="229" y="273"/>
                  </a:lnTo>
                  <a:lnTo>
                    <a:pt x="219" y="273"/>
                  </a:lnTo>
                  <a:lnTo>
                    <a:pt x="213" y="273"/>
                  </a:lnTo>
                  <a:lnTo>
                    <a:pt x="212" y="273"/>
                  </a:lnTo>
                  <a:lnTo>
                    <a:pt x="210" y="273"/>
                  </a:lnTo>
                  <a:lnTo>
                    <a:pt x="208" y="273"/>
                  </a:lnTo>
                  <a:lnTo>
                    <a:pt x="206" y="273"/>
                  </a:lnTo>
                  <a:lnTo>
                    <a:pt x="200" y="273"/>
                  </a:lnTo>
                  <a:lnTo>
                    <a:pt x="193" y="272"/>
                  </a:lnTo>
                  <a:lnTo>
                    <a:pt x="184" y="272"/>
                  </a:lnTo>
                  <a:lnTo>
                    <a:pt x="184" y="272"/>
                  </a:lnTo>
                  <a:lnTo>
                    <a:pt x="176" y="272"/>
                  </a:lnTo>
                  <a:lnTo>
                    <a:pt x="172" y="270"/>
                  </a:lnTo>
                  <a:lnTo>
                    <a:pt x="170" y="270"/>
                  </a:lnTo>
                  <a:lnTo>
                    <a:pt x="163" y="270"/>
                  </a:lnTo>
                  <a:lnTo>
                    <a:pt x="162" y="270"/>
                  </a:lnTo>
                  <a:lnTo>
                    <a:pt x="153" y="270"/>
                  </a:lnTo>
                  <a:lnTo>
                    <a:pt x="153" y="270"/>
                  </a:lnTo>
                  <a:lnTo>
                    <a:pt x="151" y="270"/>
                  </a:lnTo>
                  <a:lnTo>
                    <a:pt x="150" y="270"/>
                  </a:lnTo>
                  <a:lnTo>
                    <a:pt x="148" y="270"/>
                  </a:lnTo>
                  <a:lnTo>
                    <a:pt x="139" y="270"/>
                  </a:lnTo>
                  <a:lnTo>
                    <a:pt x="138" y="270"/>
                  </a:lnTo>
                  <a:lnTo>
                    <a:pt x="136" y="270"/>
                  </a:lnTo>
                  <a:lnTo>
                    <a:pt x="126" y="270"/>
                  </a:lnTo>
                  <a:lnTo>
                    <a:pt x="122" y="270"/>
                  </a:lnTo>
                  <a:lnTo>
                    <a:pt x="114" y="270"/>
                  </a:lnTo>
                  <a:lnTo>
                    <a:pt x="112" y="270"/>
                  </a:lnTo>
                  <a:lnTo>
                    <a:pt x="102" y="270"/>
                  </a:lnTo>
                  <a:lnTo>
                    <a:pt x="100" y="270"/>
                  </a:lnTo>
                  <a:lnTo>
                    <a:pt x="95" y="268"/>
                  </a:lnTo>
                  <a:lnTo>
                    <a:pt x="93" y="268"/>
                  </a:lnTo>
                  <a:lnTo>
                    <a:pt x="91" y="268"/>
                  </a:lnTo>
                  <a:lnTo>
                    <a:pt x="88" y="268"/>
                  </a:lnTo>
                  <a:lnTo>
                    <a:pt x="84" y="268"/>
                  </a:lnTo>
                  <a:lnTo>
                    <a:pt x="83" y="268"/>
                  </a:lnTo>
                  <a:lnTo>
                    <a:pt x="79" y="268"/>
                  </a:lnTo>
                  <a:lnTo>
                    <a:pt x="71" y="268"/>
                  </a:lnTo>
                  <a:lnTo>
                    <a:pt x="64" y="268"/>
                  </a:lnTo>
                  <a:lnTo>
                    <a:pt x="62" y="268"/>
                  </a:lnTo>
                  <a:lnTo>
                    <a:pt x="57" y="268"/>
                  </a:lnTo>
                  <a:lnTo>
                    <a:pt x="55" y="268"/>
                  </a:lnTo>
                  <a:lnTo>
                    <a:pt x="53" y="268"/>
                  </a:lnTo>
                  <a:lnTo>
                    <a:pt x="52" y="268"/>
                  </a:lnTo>
                  <a:lnTo>
                    <a:pt x="50" y="268"/>
                  </a:lnTo>
                  <a:lnTo>
                    <a:pt x="48" y="268"/>
                  </a:lnTo>
                  <a:lnTo>
                    <a:pt x="47" y="268"/>
                  </a:lnTo>
                  <a:lnTo>
                    <a:pt x="43" y="268"/>
                  </a:lnTo>
                  <a:lnTo>
                    <a:pt x="40" y="268"/>
                  </a:lnTo>
                  <a:lnTo>
                    <a:pt x="33" y="268"/>
                  </a:lnTo>
                  <a:lnTo>
                    <a:pt x="31" y="268"/>
                  </a:lnTo>
                  <a:lnTo>
                    <a:pt x="29" y="268"/>
                  </a:lnTo>
                  <a:lnTo>
                    <a:pt x="21" y="268"/>
                  </a:lnTo>
                  <a:lnTo>
                    <a:pt x="17" y="268"/>
                  </a:lnTo>
                  <a:lnTo>
                    <a:pt x="17" y="266"/>
                  </a:lnTo>
                  <a:lnTo>
                    <a:pt x="16" y="266"/>
                  </a:lnTo>
                  <a:lnTo>
                    <a:pt x="12" y="266"/>
                  </a:lnTo>
                  <a:lnTo>
                    <a:pt x="10" y="266"/>
                  </a:lnTo>
                  <a:lnTo>
                    <a:pt x="7" y="266"/>
                  </a:lnTo>
                  <a:lnTo>
                    <a:pt x="2" y="266"/>
                  </a:lnTo>
                  <a:lnTo>
                    <a:pt x="0" y="266"/>
                  </a:lnTo>
                  <a:lnTo>
                    <a:pt x="0" y="256"/>
                  </a:lnTo>
                  <a:lnTo>
                    <a:pt x="0" y="244"/>
                  </a:lnTo>
                  <a:lnTo>
                    <a:pt x="0" y="239"/>
                  </a:lnTo>
                  <a:lnTo>
                    <a:pt x="2" y="234"/>
                  </a:lnTo>
                  <a:lnTo>
                    <a:pt x="2" y="223"/>
                  </a:lnTo>
                  <a:lnTo>
                    <a:pt x="2" y="217"/>
                  </a:lnTo>
                  <a:lnTo>
                    <a:pt x="2" y="208"/>
                  </a:lnTo>
                  <a:lnTo>
                    <a:pt x="2" y="201"/>
                  </a:lnTo>
                  <a:lnTo>
                    <a:pt x="2" y="199"/>
                  </a:lnTo>
                  <a:lnTo>
                    <a:pt x="2" y="192"/>
                  </a:lnTo>
                  <a:lnTo>
                    <a:pt x="2" y="186"/>
                  </a:lnTo>
                  <a:lnTo>
                    <a:pt x="2" y="182"/>
                  </a:lnTo>
                  <a:lnTo>
                    <a:pt x="2" y="168"/>
                  </a:lnTo>
                  <a:lnTo>
                    <a:pt x="2" y="167"/>
                  </a:lnTo>
                  <a:lnTo>
                    <a:pt x="2" y="158"/>
                  </a:lnTo>
                  <a:lnTo>
                    <a:pt x="2" y="155"/>
                  </a:lnTo>
                  <a:lnTo>
                    <a:pt x="2" y="149"/>
                  </a:lnTo>
                  <a:lnTo>
                    <a:pt x="2" y="144"/>
                  </a:lnTo>
                  <a:lnTo>
                    <a:pt x="2" y="134"/>
                  </a:lnTo>
                  <a:lnTo>
                    <a:pt x="4" y="134"/>
                  </a:lnTo>
                  <a:lnTo>
                    <a:pt x="4" y="130"/>
                  </a:lnTo>
                  <a:lnTo>
                    <a:pt x="4" y="122"/>
                  </a:lnTo>
                  <a:lnTo>
                    <a:pt x="4" y="122"/>
                  </a:lnTo>
                  <a:lnTo>
                    <a:pt x="4" y="117"/>
                  </a:lnTo>
                  <a:lnTo>
                    <a:pt x="4" y="110"/>
                  </a:lnTo>
                  <a:lnTo>
                    <a:pt x="4" y="108"/>
                  </a:lnTo>
                  <a:lnTo>
                    <a:pt x="4" y="105"/>
                  </a:lnTo>
                  <a:lnTo>
                    <a:pt x="4" y="101"/>
                  </a:lnTo>
                  <a:lnTo>
                    <a:pt x="4" y="100"/>
                  </a:lnTo>
                  <a:lnTo>
                    <a:pt x="4" y="93"/>
                  </a:lnTo>
                  <a:lnTo>
                    <a:pt x="4" y="91"/>
                  </a:lnTo>
                  <a:lnTo>
                    <a:pt x="4" y="89"/>
                  </a:lnTo>
                  <a:lnTo>
                    <a:pt x="5" y="77"/>
                  </a:lnTo>
                  <a:lnTo>
                    <a:pt x="5" y="65"/>
                  </a:lnTo>
                  <a:lnTo>
                    <a:pt x="7" y="51"/>
                  </a:lnTo>
                  <a:lnTo>
                    <a:pt x="7" y="50"/>
                  </a:lnTo>
                  <a:lnTo>
                    <a:pt x="7" y="44"/>
                  </a:lnTo>
                  <a:lnTo>
                    <a:pt x="7" y="41"/>
                  </a:lnTo>
                  <a:lnTo>
                    <a:pt x="7" y="34"/>
                  </a:lnTo>
                  <a:lnTo>
                    <a:pt x="7" y="32"/>
                  </a:lnTo>
                  <a:lnTo>
                    <a:pt x="7" y="31"/>
                  </a:lnTo>
                  <a:lnTo>
                    <a:pt x="9" y="22"/>
                  </a:lnTo>
                  <a:lnTo>
                    <a:pt x="9" y="17"/>
                  </a:lnTo>
                  <a:lnTo>
                    <a:pt x="9" y="10"/>
                  </a:lnTo>
                  <a:lnTo>
                    <a:pt x="9" y="8"/>
                  </a:lnTo>
                  <a:lnTo>
                    <a:pt x="9"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6" name="Freeform 137"/>
            <p:cNvSpPr>
              <a:spLocks/>
            </p:cNvSpPr>
            <p:nvPr/>
          </p:nvSpPr>
          <p:spPr bwMode="auto">
            <a:xfrm>
              <a:off x="3079046" y="901494"/>
              <a:ext cx="560388" cy="561975"/>
            </a:xfrm>
            <a:custGeom>
              <a:avLst/>
              <a:gdLst/>
              <a:ahLst/>
              <a:cxnLst>
                <a:cxn ang="0">
                  <a:pos x="335" y="43"/>
                </a:cxn>
                <a:cxn ang="0">
                  <a:pos x="334" y="81"/>
                </a:cxn>
                <a:cxn ang="0">
                  <a:pos x="348" y="107"/>
                </a:cxn>
                <a:cxn ang="0">
                  <a:pos x="348" y="139"/>
                </a:cxn>
                <a:cxn ang="0">
                  <a:pos x="348" y="155"/>
                </a:cxn>
                <a:cxn ang="0">
                  <a:pos x="351" y="186"/>
                </a:cxn>
                <a:cxn ang="0">
                  <a:pos x="349" y="220"/>
                </a:cxn>
                <a:cxn ang="0">
                  <a:pos x="348" y="260"/>
                </a:cxn>
                <a:cxn ang="0">
                  <a:pos x="348" y="289"/>
                </a:cxn>
                <a:cxn ang="0">
                  <a:pos x="346" y="323"/>
                </a:cxn>
                <a:cxn ang="0">
                  <a:pos x="329" y="354"/>
                </a:cxn>
                <a:cxn ang="0">
                  <a:pos x="315" y="354"/>
                </a:cxn>
                <a:cxn ang="0">
                  <a:pos x="296" y="353"/>
                </a:cxn>
                <a:cxn ang="0">
                  <a:pos x="265" y="353"/>
                </a:cxn>
                <a:cxn ang="0">
                  <a:pos x="237" y="353"/>
                </a:cxn>
                <a:cxn ang="0">
                  <a:pos x="210" y="353"/>
                </a:cxn>
                <a:cxn ang="0">
                  <a:pos x="189" y="351"/>
                </a:cxn>
                <a:cxn ang="0">
                  <a:pos x="150" y="349"/>
                </a:cxn>
                <a:cxn ang="0">
                  <a:pos x="108" y="347"/>
                </a:cxn>
                <a:cxn ang="0">
                  <a:pos x="84" y="344"/>
                </a:cxn>
                <a:cxn ang="0">
                  <a:pos x="83" y="339"/>
                </a:cxn>
                <a:cxn ang="0">
                  <a:pos x="81" y="339"/>
                </a:cxn>
                <a:cxn ang="0">
                  <a:pos x="76" y="339"/>
                </a:cxn>
                <a:cxn ang="0">
                  <a:pos x="76" y="332"/>
                </a:cxn>
                <a:cxn ang="0">
                  <a:pos x="76" y="329"/>
                </a:cxn>
                <a:cxn ang="0">
                  <a:pos x="77" y="323"/>
                </a:cxn>
                <a:cxn ang="0">
                  <a:pos x="74" y="316"/>
                </a:cxn>
                <a:cxn ang="0">
                  <a:pos x="77" y="315"/>
                </a:cxn>
                <a:cxn ang="0">
                  <a:pos x="74" y="311"/>
                </a:cxn>
                <a:cxn ang="0">
                  <a:pos x="72" y="306"/>
                </a:cxn>
                <a:cxn ang="0">
                  <a:pos x="71" y="298"/>
                </a:cxn>
                <a:cxn ang="0">
                  <a:pos x="74" y="291"/>
                </a:cxn>
                <a:cxn ang="0">
                  <a:pos x="76" y="284"/>
                </a:cxn>
                <a:cxn ang="0">
                  <a:pos x="76" y="273"/>
                </a:cxn>
                <a:cxn ang="0">
                  <a:pos x="79" y="267"/>
                </a:cxn>
                <a:cxn ang="0">
                  <a:pos x="77" y="261"/>
                </a:cxn>
                <a:cxn ang="0">
                  <a:pos x="74" y="258"/>
                </a:cxn>
                <a:cxn ang="0">
                  <a:pos x="72" y="258"/>
                </a:cxn>
                <a:cxn ang="0">
                  <a:pos x="74" y="251"/>
                </a:cxn>
                <a:cxn ang="0">
                  <a:pos x="74" y="246"/>
                </a:cxn>
                <a:cxn ang="0">
                  <a:pos x="38" y="246"/>
                </a:cxn>
                <a:cxn ang="0">
                  <a:pos x="10" y="222"/>
                </a:cxn>
                <a:cxn ang="0">
                  <a:pos x="12" y="175"/>
                </a:cxn>
                <a:cxn ang="0">
                  <a:pos x="14" y="127"/>
                </a:cxn>
                <a:cxn ang="0">
                  <a:pos x="4" y="76"/>
                </a:cxn>
                <a:cxn ang="0">
                  <a:pos x="0" y="41"/>
                </a:cxn>
                <a:cxn ang="0">
                  <a:pos x="2" y="10"/>
                </a:cxn>
                <a:cxn ang="0">
                  <a:pos x="24" y="2"/>
                </a:cxn>
                <a:cxn ang="0">
                  <a:pos x="50" y="2"/>
                </a:cxn>
                <a:cxn ang="0">
                  <a:pos x="71" y="3"/>
                </a:cxn>
                <a:cxn ang="0">
                  <a:pos x="96" y="5"/>
                </a:cxn>
                <a:cxn ang="0">
                  <a:pos x="126" y="5"/>
                </a:cxn>
                <a:cxn ang="0">
                  <a:pos x="165" y="7"/>
                </a:cxn>
                <a:cxn ang="0">
                  <a:pos x="206" y="7"/>
                </a:cxn>
                <a:cxn ang="0">
                  <a:pos x="237" y="9"/>
                </a:cxn>
                <a:cxn ang="0">
                  <a:pos x="277" y="10"/>
                </a:cxn>
                <a:cxn ang="0">
                  <a:pos x="298" y="10"/>
                </a:cxn>
                <a:cxn ang="0">
                  <a:pos x="320" y="12"/>
                </a:cxn>
              </a:cxnLst>
              <a:rect l="0" t="0" r="r" b="b"/>
              <a:pathLst>
                <a:path w="353" h="354">
                  <a:moveTo>
                    <a:pt x="335" y="12"/>
                  </a:moveTo>
                  <a:lnTo>
                    <a:pt x="335" y="21"/>
                  </a:lnTo>
                  <a:lnTo>
                    <a:pt x="335" y="21"/>
                  </a:lnTo>
                  <a:lnTo>
                    <a:pt x="335" y="22"/>
                  </a:lnTo>
                  <a:lnTo>
                    <a:pt x="335" y="33"/>
                  </a:lnTo>
                  <a:lnTo>
                    <a:pt x="335" y="38"/>
                  </a:lnTo>
                  <a:lnTo>
                    <a:pt x="335" y="43"/>
                  </a:lnTo>
                  <a:lnTo>
                    <a:pt x="335" y="52"/>
                  </a:lnTo>
                  <a:lnTo>
                    <a:pt x="335" y="55"/>
                  </a:lnTo>
                  <a:lnTo>
                    <a:pt x="335" y="67"/>
                  </a:lnTo>
                  <a:lnTo>
                    <a:pt x="335" y="67"/>
                  </a:lnTo>
                  <a:lnTo>
                    <a:pt x="334" y="77"/>
                  </a:lnTo>
                  <a:lnTo>
                    <a:pt x="334" y="81"/>
                  </a:lnTo>
                  <a:lnTo>
                    <a:pt x="334" y="81"/>
                  </a:lnTo>
                  <a:lnTo>
                    <a:pt x="334" y="88"/>
                  </a:lnTo>
                  <a:lnTo>
                    <a:pt x="339" y="89"/>
                  </a:lnTo>
                  <a:lnTo>
                    <a:pt x="344" y="89"/>
                  </a:lnTo>
                  <a:lnTo>
                    <a:pt x="348" y="89"/>
                  </a:lnTo>
                  <a:lnTo>
                    <a:pt x="348" y="100"/>
                  </a:lnTo>
                  <a:lnTo>
                    <a:pt x="348" y="103"/>
                  </a:lnTo>
                  <a:lnTo>
                    <a:pt x="348" y="107"/>
                  </a:lnTo>
                  <a:lnTo>
                    <a:pt x="348" y="108"/>
                  </a:lnTo>
                  <a:lnTo>
                    <a:pt x="348" y="110"/>
                  </a:lnTo>
                  <a:lnTo>
                    <a:pt x="348" y="122"/>
                  </a:lnTo>
                  <a:lnTo>
                    <a:pt x="348" y="127"/>
                  </a:lnTo>
                  <a:lnTo>
                    <a:pt x="348" y="132"/>
                  </a:lnTo>
                  <a:lnTo>
                    <a:pt x="348" y="138"/>
                  </a:lnTo>
                  <a:lnTo>
                    <a:pt x="348" y="139"/>
                  </a:lnTo>
                  <a:lnTo>
                    <a:pt x="348" y="141"/>
                  </a:lnTo>
                  <a:lnTo>
                    <a:pt x="348" y="141"/>
                  </a:lnTo>
                  <a:lnTo>
                    <a:pt x="348" y="143"/>
                  </a:lnTo>
                  <a:lnTo>
                    <a:pt x="348" y="148"/>
                  </a:lnTo>
                  <a:lnTo>
                    <a:pt x="346" y="153"/>
                  </a:lnTo>
                  <a:lnTo>
                    <a:pt x="346" y="155"/>
                  </a:lnTo>
                  <a:lnTo>
                    <a:pt x="348" y="155"/>
                  </a:lnTo>
                  <a:lnTo>
                    <a:pt x="351" y="155"/>
                  </a:lnTo>
                  <a:lnTo>
                    <a:pt x="353" y="155"/>
                  </a:lnTo>
                  <a:lnTo>
                    <a:pt x="353" y="163"/>
                  </a:lnTo>
                  <a:lnTo>
                    <a:pt x="353" y="165"/>
                  </a:lnTo>
                  <a:lnTo>
                    <a:pt x="353" y="172"/>
                  </a:lnTo>
                  <a:lnTo>
                    <a:pt x="353" y="177"/>
                  </a:lnTo>
                  <a:lnTo>
                    <a:pt x="351" y="186"/>
                  </a:lnTo>
                  <a:lnTo>
                    <a:pt x="351" y="187"/>
                  </a:lnTo>
                  <a:lnTo>
                    <a:pt x="351" y="189"/>
                  </a:lnTo>
                  <a:lnTo>
                    <a:pt x="351" y="196"/>
                  </a:lnTo>
                  <a:lnTo>
                    <a:pt x="351" y="199"/>
                  </a:lnTo>
                  <a:lnTo>
                    <a:pt x="351" y="205"/>
                  </a:lnTo>
                  <a:lnTo>
                    <a:pt x="351" y="206"/>
                  </a:lnTo>
                  <a:lnTo>
                    <a:pt x="349" y="220"/>
                  </a:lnTo>
                  <a:lnTo>
                    <a:pt x="349" y="232"/>
                  </a:lnTo>
                  <a:lnTo>
                    <a:pt x="348" y="244"/>
                  </a:lnTo>
                  <a:lnTo>
                    <a:pt x="348" y="246"/>
                  </a:lnTo>
                  <a:lnTo>
                    <a:pt x="348" y="248"/>
                  </a:lnTo>
                  <a:lnTo>
                    <a:pt x="348" y="255"/>
                  </a:lnTo>
                  <a:lnTo>
                    <a:pt x="348" y="256"/>
                  </a:lnTo>
                  <a:lnTo>
                    <a:pt x="348" y="260"/>
                  </a:lnTo>
                  <a:lnTo>
                    <a:pt x="348" y="263"/>
                  </a:lnTo>
                  <a:lnTo>
                    <a:pt x="348" y="265"/>
                  </a:lnTo>
                  <a:lnTo>
                    <a:pt x="348" y="272"/>
                  </a:lnTo>
                  <a:lnTo>
                    <a:pt x="348" y="277"/>
                  </a:lnTo>
                  <a:lnTo>
                    <a:pt x="348" y="277"/>
                  </a:lnTo>
                  <a:lnTo>
                    <a:pt x="348" y="285"/>
                  </a:lnTo>
                  <a:lnTo>
                    <a:pt x="348" y="289"/>
                  </a:lnTo>
                  <a:lnTo>
                    <a:pt x="346" y="289"/>
                  </a:lnTo>
                  <a:lnTo>
                    <a:pt x="346" y="299"/>
                  </a:lnTo>
                  <a:lnTo>
                    <a:pt x="346" y="304"/>
                  </a:lnTo>
                  <a:lnTo>
                    <a:pt x="346" y="310"/>
                  </a:lnTo>
                  <a:lnTo>
                    <a:pt x="346" y="313"/>
                  </a:lnTo>
                  <a:lnTo>
                    <a:pt x="346" y="322"/>
                  </a:lnTo>
                  <a:lnTo>
                    <a:pt x="346" y="323"/>
                  </a:lnTo>
                  <a:lnTo>
                    <a:pt x="346" y="337"/>
                  </a:lnTo>
                  <a:lnTo>
                    <a:pt x="346" y="341"/>
                  </a:lnTo>
                  <a:lnTo>
                    <a:pt x="346" y="347"/>
                  </a:lnTo>
                  <a:lnTo>
                    <a:pt x="346" y="354"/>
                  </a:lnTo>
                  <a:lnTo>
                    <a:pt x="334" y="354"/>
                  </a:lnTo>
                  <a:lnTo>
                    <a:pt x="330" y="354"/>
                  </a:lnTo>
                  <a:lnTo>
                    <a:pt x="329" y="354"/>
                  </a:lnTo>
                  <a:lnTo>
                    <a:pt x="327" y="354"/>
                  </a:lnTo>
                  <a:lnTo>
                    <a:pt x="323" y="354"/>
                  </a:lnTo>
                  <a:lnTo>
                    <a:pt x="322" y="354"/>
                  </a:lnTo>
                  <a:lnTo>
                    <a:pt x="318" y="354"/>
                  </a:lnTo>
                  <a:lnTo>
                    <a:pt x="317" y="354"/>
                  </a:lnTo>
                  <a:lnTo>
                    <a:pt x="317" y="354"/>
                  </a:lnTo>
                  <a:lnTo>
                    <a:pt x="315" y="354"/>
                  </a:lnTo>
                  <a:lnTo>
                    <a:pt x="313" y="354"/>
                  </a:lnTo>
                  <a:lnTo>
                    <a:pt x="311" y="353"/>
                  </a:lnTo>
                  <a:lnTo>
                    <a:pt x="308" y="353"/>
                  </a:lnTo>
                  <a:lnTo>
                    <a:pt x="306" y="353"/>
                  </a:lnTo>
                  <a:lnTo>
                    <a:pt x="301" y="353"/>
                  </a:lnTo>
                  <a:lnTo>
                    <a:pt x="299" y="353"/>
                  </a:lnTo>
                  <a:lnTo>
                    <a:pt x="296" y="353"/>
                  </a:lnTo>
                  <a:lnTo>
                    <a:pt x="292" y="353"/>
                  </a:lnTo>
                  <a:lnTo>
                    <a:pt x="286" y="353"/>
                  </a:lnTo>
                  <a:lnTo>
                    <a:pt x="280" y="353"/>
                  </a:lnTo>
                  <a:lnTo>
                    <a:pt x="279" y="353"/>
                  </a:lnTo>
                  <a:lnTo>
                    <a:pt x="272" y="353"/>
                  </a:lnTo>
                  <a:lnTo>
                    <a:pt x="270" y="353"/>
                  </a:lnTo>
                  <a:lnTo>
                    <a:pt x="265" y="353"/>
                  </a:lnTo>
                  <a:lnTo>
                    <a:pt x="263" y="353"/>
                  </a:lnTo>
                  <a:lnTo>
                    <a:pt x="262" y="353"/>
                  </a:lnTo>
                  <a:lnTo>
                    <a:pt x="260" y="353"/>
                  </a:lnTo>
                  <a:lnTo>
                    <a:pt x="256" y="353"/>
                  </a:lnTo>
                  <a:lnTo>
                    <a:pt x="253" y="353"/>
                  </a:lnTo>
                  <a:lnTo>
                    <a:pt x="241" y="353"/>
                  </a:lnTo>
                  <a:lnTo>
                    <a:pt x="237" y="353"/>
                  </a:lnTo>
                  <a:lnTo>
                    <a:pt x="232" y="353"/>
                  </a:lnTo>
                  <a:lnTo>
                    <a:pt x="225" y="353"/>
                  </a:lnTo>
                  <a:lnTo>
                    <a:pt x="225" y="353"/>
                  </a:lnTo>
                  <a:lnTo>
                    <a:pt x="220" y="353"/>
                  </a:lnTo>
                  <a:lnTo>
                    <a:pt x="217" y="353"/>
                  </a:lnTo>
                  <a:lnTo>
                    <a:pt x="215" y="353"/>
                  </a:lnTo>
                  <a:lnTo>
                    <a:pt x="210" y="353"/>
                  </a:lnTo>
                  <a:lnTo>
                    <a:pt x="210" y="353"/>
                  </a:lnTo>
                  <a:lnTo>
                    <a:pt x="206" y="353"/>
                  </a:lnTo>
                  <a:lnTo>
                    <a:pt x="203" y="353"/>
                  </a:lnTo>
                  <a:lnTo>
                    <a:pt x="200" y="351"/>
                  </a:lnTo>
                  <a:lnTo>
                    <a:pt x="196" y="351"/>
                  </a:lnTo>
                  <a:lnTo>
                    <a:pt x="193" y="351"/>
                  </a:lnTo>
                  <a:lnTo>
                    <a:pt x="189" y="351"/>
                  </a:lnTo>
                  <a:lnTo>
                    <a:pt x="186" y="351"/>
                  </a:lnTo>
                  <a:lnTo>
                    <a:pt x="179" y="351"/>
                  </a:lnTo>
                  <a:lnTo>
                    <a:pt x="172" y="351"/>
                  </a:lnTo>
                  <a:lnTo>
                    <a:pt x="165" y="349"/>
                  </a:lnTo>
                  <a:lnTo>
                    <a:pt x="162" y="349"/>
                  </a:lnTo>
                  <a:lnTo>
                    <a:pt x="151" y="349"/>
                  </a:lnTo>
                  <a:lnTo>
                    <a:pt x="150" y="349"/>
                  </a:lnTo>
                  <a:lnTo>
                    <a:pt x="145" y="349"/>
                  </a:lnTo>
                  <a:lnTo>
                    <a:pt x="139" y="349"/>
                  </a:lnTo>
                  <a:lnTo>
                    <a:pt x="133" y="349"/>
                  </a:lnTo>
                  <a:lnTo>
                    <a:pt x="129" y="349"/>
                  </a:lnTo>
                  <a:lnTo>
                    <a:pt x="127" y="349"/>
                  </a:lnTo>
                  <a:lnTo>
                    <a:pt x="112" y="347"/>
                  </a:lnTo>
                  <a:lnTo>
                    <a:pt x="108" y="347"/>
                  </a:lnTo>
                  <a:lnTo>
                    <a:pt x="100" y="347"/>
                  </a:lnTo>
                  <a:lnTo>
                    <a:pt x="90" y="347"/>
                  </a:lnTo>
                  <a:lnTo>
                    <a:pt x="88" y="347"/>
                  </a:lnTo>
                  <a:lnTo>
                    <a:pt x="88" y="346"/>
                  </a:lnTo>
                  <a:lnTo>
                    <a:pt x="86" y="346"/>
                  </a:lnTo>
                  <a:lnTo>
                    <a:pt x="86" y="344"/>
                  </a:lnTo>
                  <a:lnTo>
                    <a:pt x="84" y="344"/>
                  </a:lnTo>
                  <a:lnTo>
                    <a:pt x="83" y="344"/>
                  </a:lnTo>
                  <a:lnTo>
                    <a:pt x="81" y="344"/>
                  </a:lnTo>
                  <a:lnTo>
                    <a:pt x="83" y="342"/>
                  </a:lnTo>
                  <a:lnTo>
                    <a:pt x="84" y="342"/>
                  </a:lnTo>
                  <a:lnTo>
                    <a:pt x="84" y="341"/>
                  </a:lnTo>
                  <a:lnTo>
                    <a:pt x="84" y="339"/>
                  </a:lnTo>
                  <a:lnTo>
                    <a:pt x="83" y="339"/>
                  </a:lnTo>
                  <a:lnTo>
                    <a:pt x="83" y="341"/>
                  </a:lnTo>
                  <a:lnTo>
                    <a:pt x="83" y="342"/>
                  </a:lnTo>
                  <a:lnTo>
                    <a:pt x="81" y="342"/>
                  </a:lnTo>
                  <a:lnTo>
                    <a:pt x="79" y="342"/>
                  </a:lnTo>
                  <a:lnTo>
                    <a:pt x="79" y="341"/>
                  </a:lnTo>
                  <a:lnTo>
                    <a:pt x="81" y="341"/>
                  </a:lnTo>
                  <a:lnTo>
                    <a:pt x="81" y="339"/>
                  </a:lnTo>
                  <a:lnTo>
                    <a:pt x="81" y="337"/>
                  </a:lnTo>
                  <a:lnTo>
                    <a:pt x="79" y="337"/>
                  </a:lnTo>
                  <a:lnTo>
                    <a:pt x="79" y="339"/>
                  </a:lnTo>
                  <a:lnTo>
                    <a:pt x="77" y="339"/>
                  </a:lnTo>
                  <a:lnTo>
                    <a:pt x="77" y="341"/>
                  </a:lnTo>
                  <a:lnTo>
                    <a:pt x="77" y="339"/>
                  </a:lnTo>
                  <a:lnTo>
                    <a:pt x="76" y="339"/>
                  </a:lnTo>
                  <a:lnTo>
                    <a:pt x="77" y="339"/>
                  </a:lnTo>
                  <a:lnTo>
                    <a:pt x="77" y="337"/>
                  </a:lnTo>
                  <a:lnTo>
                    <a:pt x="76" y="337"/>
                  </a:lnTo>
                  <a:lnTo>
                    <a:pt x="76" y="337"/>
                  </a:lnTo>
                  <a:lnTo>
                    <a:pt x="77" y="337"/>
                  </a:lnTo>
                  <a:lnTo>
                    <a:pt x="77" y="335"/>
                  </a:lnTo>
                  <a:lnTo>
                    <a:pt x="76" y="332"/>
                  </a:lnTo>
                  <a:lnTo>
                    <a:pt x="76" y="334"/>
                  </a:lnTo>
                  <a:lnTo>
                    <a:pt x="77" y="334"/>
                  </a:lnTo>
                  <a:lnTo>
                    <a:pt x="77" y="332"/>
                  </a:lnTo>
                  <a:lnTo>
                    <a:pt x="77" y="330"/>
                  </a:lnTo>
                  <a:lnTo>
                    <a:pt x="76" y="330"/>
                  </a:lnTo>
                  <a:lnTo>
                    <a:pt x="76" y="330"/>
                  </a:lnTo>
                  <a:lnTo>
                    <a:pt x="76" y="329"/>
                  </a:lnTo>
                  <a:lnTo>
                    <a:pt x="76" y="329"/>
                  </a:lnTo>
                  <a:lnTo>
                    <a:pt x="76" y="327"/>
                  </a:lnTo>
                  <a:lnTo>
                    <a:pt x="77" y="327"/>
                  </a:lnTo>
                  <a:lnTo>
                    <a:pt x="76" y="325"/>
                  </a:lnTo>
                  <a:lnTo>
                    <a:pt x="76" y="323"/>
                  </a:lnTo>
                  <a:lnTo>
                    <a:pt x="77" y="323"/>
                  </a:lnTo>
                  <a:lnTo>
                    <a:pt x="77" y="323"/>
                  </a:lnTo>
                  <a:lnTo>
                    <a:pt x="76" y="323"/>
                  </a:lnTo>
                  <a:lnTo>
                    <a:pt x="76" y="322"/>
                  </a:lnTo>
                  <a:lnTo>
                    <a:pt x="76" y="320"/>
                  </a:lnTo>
                  <a:lnTo>
                    <a:pt x="76" y="320"/>
                  </a:lnTo>
                  <a:lnTo>
                    <a:pt x="74" y="320"/>
                  </a:lnTo>
                  <a:lnTo>
                    <a:pt x="74" y="318"/>
                  </a:lnTo>
                  <a:lnTo>
                    <a:pt x="74" y="316"/>
                  </a:lnTo>
                  <a:lnTo>
                    <a:pt x="76" y="316"/>
                  </a:lnTo>
                  <a:lnTo>
                    <a:pt x="76" y="318"/>
                  </a:lnTo>
                  <a:lnTo>
                    <a:pt x="76" y="318"/>
                  </a:lnTo>
                  <a:lnTo>
                    <a:pt x="76" y="316"/>
                  </a:lnTo>
                  <a:lnTo>
                    <a:pt x="76" y="316"/>
                  </a:lnTo>
                  <a:lnTo>
                    <a:pt x="76" y="315"/>
                  </a:lnTo>
                  <a:lnTo>
                    <a:pt x="77" y="315"/>
                  </a:lnTo>
                  <a:lnTo>
                    <a:pt x="77" y="313"/>
                  </a:lnTo>
                  <a:lnTo>
                    <a:pt x="76" y="313"/>
                  </a:lnTo>
                  <a:lnTo>
                    <a:pt x="76" y="311"/>
                  </a:lnTo>
                  <a:lnTo>
                    <a:pt x="76" y="310"/>
                  </a:lnTo>
                  <a:lnTo>
                    <a:pt x="76" y="310"/>
                  </a:lnTo>
                  <a:lnTo>
                    <a:pt x="76" y="311"/>
                  </a:lnTo>
                  <a:lnTo>
                    <a:pt x="74" y="311"/>
                  </a:lnTo>
                  <a:lnTo>
                    <a:pt x="74" y="310"/>
                  </a:lnTo>
                  <a:lnTo>
                    <a:pt x="76" y="310"/>
                  </a:lnTo>
                  <a:lnTo>
                    <a:pt x="76" y="308"/>
                  </a:lnTo>
                  <a:lnTo>
                    <a:pt x="74" y="308"/>
                  </a:lnTo>
                  <a:lnTo>
                    <a:pt x="72" y="308"/>
                  </a:lnTo>
                  <a:lnTo>
                    <a:pt x="72" y="308"/>
                  </a:lnTo>
                  <a:lnTo>
                    <a:pt x="72" y="306"/>
                  </a:lnTo>
                  <a:lnTo>
                    <a:pt x="72" y="304"/>
                  </a:lnTo>
                  <a:lnTo>
                    <a:pt x="72" y="303"/>
                  </a:lnTo>
                  <a:lnTo>
                    <a:pt x="71" y="303"/>
                  </a:lnTo>
                  <a:lnTo>
                    <a:pt x="71" y="301"/>
                  </a:lnTo>
                  <a:lnTo>
                    <a:pt x="71" y="299"/>
                  </a:lnTo>
                  <a:lnTo>
                    <a:pt x="72" y="299"/>
                  </a:lnTo>
                  <a:lnTo>
                    <a:pt x="71" y="298"/>
                  </a:lnTo>
                  <a:lnTo>
                    <a:pt x="72" y="296"/>
                  </a:lnTo>
                  <a:lnTo>
                    <a:pt x="71" y="296"/>
                  </a:lnTo>
                  <a:lnTo>
                    <a:pt x="72" y="294"/>
                  </a:lnTo>
                  <a:lnTo>
                    <a:pt x="72" y="292"/>
                  </a:lnTo>
                  <a:lnTo>
                    <a:pt x="74" y="292"/>
                  </a:lnTo>
                  <a:lnTo>
                    <a:pt x="74" y="292"/>
                  </a:lnTo>
                  <a:lnTo>
                    <a:pt x="74" y="291"/>
                  </a:lnTo>
                  <a:lnTo>
                    <a:pt x="74" y="289"/>
                  </a:lnTo>
                  <a:lnTo>
                    <a:pt x="76" y="289"/>
                  </a:lnTo>
                  <a:lnTo>
                    <a:pt x="76" y="289"/>
                  </a:lnTo>
                  <a:lnTo>
                    <a:pt x="76" y="287"/>
                  </a:lnTo>
                  <a:lnTo>
                    <a:pt x="76" y="285"/>
                  </a:lnTo>
                  <a:lnTo>
                    <a:pt x="76" y="285"/>
                  </a:lnTo>
                  <a:lnTo>
                    <a:pt x="76" y="284"/>
                  </a:lnTo>
                  <a:lnTo>
                    <a:pt x="76" y="282"/>
                  </a:lnTo>
                  <a:lnTo>
                    <a:pt x="76" y="280"/>
                  </a:lnTo>
                  <a:lnTo>
                    <a:pt x="76" y="279"/>
                  </a:lnTo>
                  <a:lnTo>
                    <a:pt x="76" y="277"/>
                  </a:lnTo>
                  <a:lnTo>
                    <a:pt x="76" y="277"/>
                  </a:lnTo>
                  <a:lnTo>
                    <a:pt x="76" y="275"/>
                  </a:lnTo>
                  <a:lnTo>
                    <a:pt x="76" y="273"/>
                  </a:lnTo>
                  <a:lnTo>
                    <a:pt x="76" y="272"/>
                  </a:lnTo>
                  <a:lnTo>
                    <a:pt x="76" y="270"/>
                  </a:lnTo>
                  <a:lnTo>
                    <a:pt x="76" y="270"/>
                  </a:lnTo>
                  <a:lnTo>
                    <a:pt x="76" y="268"/>
                  </a:lnTo>
                  <a:lnTo>
                    <a:pt x="77" y="268"/>
                  </a:lnTo>
                  <a:lnTo>
                    <a:pt x="77" y="267"/>
                  </a:lnTo>
                  <a:lnTo>
                    <a:pt x="79" y="267"/>
                  </a:lnTo>
                  <a:lnTo>
                    <a:pt x="79" y="265"/>
                  </a:lnTo>
                  <a:lnTo>
                    <a:pt x="79" y="263"/>
                  </a:lnTo>
                  <a:lnTo>
                    <a:pt x="81" y="263"/>
                  </a:lnTo>
                  <a:lnTo>
                    <a:pt x="81" y="261"/>
                  </a:lnTo>
                  <a:lnTo>
                    <a:pt x="79" y="261"/>
                  </a:lnTo>
                  <a:lnTo>
                    <a:pt x="79" y="261"/>
                  </a:lnTo>
                  <a:lnTo>
                    <a:pt x="77" y="261"/>
                  </a:lnTo>
                  <a:lnTo>
                    <a:pt x="77" y="260"/>
                  </a:lnTo>
                  <a:lnTo>
                    <a:pt x="76" y="260"/>
                  </a:lnTo>
                  <a:lnTo>
                    <a:pt x="76" y="258"/>
                  </a:lnTo>
                  <a:lnTo>
                    <a:pt x="76" y="256"/>
                  </a:lnTo>
                  <a:lnTo>
                    <a:pt x="76" y="256"/>
                  </a:lnTo>
                  <a:lnTo>
                    <a:pt x="74" y="256"/>
                  </a:lnTo>
                  <a:lnTo>
                    <a:pt x="74" y="258"/>
                  </a:lnTo>
                  <a:lnTo>
                    <a:pt x="76" y="258"/>
                  </a:lnTo>
                  <a:lnTo>
                    <a:pt x="76" y="260"/>
                  </a:lnTo>
                  <a:lnTo>
                    <a:pt x="76" y="261"/>
                  </a:lnTo>
                  <a:lnTo>
                    <a:pt x="74" y="261"/>
                  </a:lnTo>
                  <a:lnTo>
                    <a:pt x="74" y="260"/>
                  </a:lnTo>
                  <a:lnTo>
                    <a:pt x="72" y="260"/>
                  </a:lnTo>
                  <a:lnTo>
                    <a:pt x="72" y="258"/>
                  </a:lnTo>
                  <a:lnTo>
                    <a:pt x="72" y="256"/>
                  </a:lnTo>
                  <a:lnTo>
                    <a:pt x="72" y="255"/>
                  </a:lnTo>
                  <a:lnTo>
                    <a:pt x="71" y="255"/>
                  </a:lnTo>
                  <a:lnTo>
                    <a:pt x="71" y="253"/>
                  </a:lnTo>
                  <a:lnTo>
                    <a:pt x="71" y="251"/>
                  </a:lnTo>
                  <a:lnTo>
                    <a:pt x="72" y="251"/>
                  </a:lnTo>
                  <a:lnTo>
                    <a:pt x="74" y="251"/>
                  </a:lnTo>
                  <a:lnTo>
                    <a:pt x="76" y="251"/>
                  </a:lnTo>
                  <a:lnTo>
                    <a:pt x="76" y="249"/>
                  </a:lnTo>
                  <a:lnTo>
                    <a:pt x="76" y="248"/>
                  </a:lnTo>
                  <a:lnTo>
                    <a:pt x="74" y="248"/>
                  </a:lnTo>
                  <a:lnTo>
                    <a:pt x="72" y="248"/>
                  </a:lnTo>
                  <a:lnTo>
                    <a:pt x="72" y="248"/>
                  </a:lnTo>
                  <a:lnTo>
                    <a:pt x="74" y="246"/>
                  </a:lnTo>
                  <a:lnTo>
                    <a:pt x="67" y="246"/>
                  </a:lnTo>
                  <a:lnTo>
                    <a:pt x="64" y="246"/>
                  </a:lnTo>
                  <a:lnTo>
                    <a:pt x="53" y="246"/>
                  </a:lnTo>
                  <a:lnTo>
                    <a:pt x="43" y="246"/>
                  </a:lnTo>
                  <a:lnTo>
                    <a:pt x="41" y="246"/>
                  </a:lnTo>
                  <a:lnTo>
                    <a:pt x="40" y="246"/>
                  </a:lnTo>
                  <a:lnTo>
                    <a:pt x="38" y="246"/>
                  </a:lnTo>
                  <a:lnTo>
                    <a:pt x="31" y="246"/>
                  </a:lnTo>
                  <a:lnTo>
                    <a:pt x="26" y="244"/>
                  </a:lnTo>
                  <a:lnTo>
                    <a:pt x="19" y="244"/>
                  </a:lnTo>
                  <a:lnTo>
                    <a:pt x="9" y="244"/>
                  </a:lnTo>
                  <a:lnTo>
                    <a:pt x="9" y="242"/>
                  </a:lnTo>
                  <a:lnTo>
                    <a:pt x="9" y="232"/>
                  </a:lnTo>
                  <a:lnTo>
                    <a:pt x="10" y="222"/>
                  </a:lnTo>
                  <a:lnTo>
                    <a:pt x="10" y="220"/>
                  </a:lnTo>
                  <a:lnTo>
                    <a:pt x="10" y="210"/>
                  </a:lnTo>
                  <a:lnTo>
                    <a:pt x="10" y="203"/>
                  </a:lnTo>
                  <a:lnTo>
                    <a:pt x="10" y="201"/>
                  </a:lnTo>
                  <a:lnTo>
                    <a:pt x="10" y="199"/>
                  </a:lnTo>
                  <a:lnTo>
                    <a:pt x="12" y="187"/>
                  </a:lnTo>
                  <a:lnTo>
                    <a:pt x="12" y="175"/>
                  </a:lnTo>
                  <a:lnTo>
                    <a:pt x="12" y="165"/>
                  </a:lnTo>
                  <a:lnTo>
                    <a:pt x="14" y="156"/>
                  </a:lnTo>
                  <a:lnTo>
                    <a:pt x="14" y="155"/>
                  </a:lnTo>
                  <a:lnTo>
                    <a:pt x="14" y="150"/>
                  </a:lnTo>
                  <a:lnTo>
                    <a:pt x="14" y="143"/>
                  </a:lnTo>
                  <a:lnTo>
                    <a:pt x="14" y="131"/>
                  </a:lnTo>
                  <a:lnTo>
                    <a:pt x="14" y="127"/>
                  </a:lnTo>
                  <a:lnTo>
                    <a:pt x="14" y="122"/>
                  </a:lnTo>
                  <a:lnTo>
                    <a:pt x="14" y="110"/>
                  </a:lnTo>
                  <a:lnTo>
                    <a:pt x="14" y="88"/>
                  </a:lnTo>
                  <a:lnTo>
                    <a:pt x="14" y="77"/>
                  </a:lnTo>
                  <a:lnTo>
                    <a:pt x="14" y="77"/>
                  </a:lnTo>
                  <a:lnTo>
                    <a:pt x="10" y="76"/>
                  </a:lnTo>
                  <a:lnTo>
                    <a:pt x="4" y="76"/>
                  </a:lnTo>
                  <a:lnTo>
                    <a:pt x="0" y="76"/>
                  </a:lnTo>
                  <a:lnTo>
                    <a:pt x="0" y="67"/>
                  </a:lnTo>
                  <a:lnTo>
                    <a:pt x="0" y="60"/>
                  </a:lnTo>
                  <a:lnTo>
                    <a:pt x="0" y="55"/>
                  </a:lnTo>
                  <a:lnTo>
                    <a:pt x="0" y="53"/>
                  </a:lnTo>
                  <a:lnTo>
                    <a:pt x="0" y="43"/>
                  </a:lnTo>
                  <a:lnTo>
                    <a:pt x="0" y="41"/>
                  </a:lnTo>
                  <a:lnTo>
                    <a:pt x="0" y="38"/>
                  </a:lnTo>
                  <a:lnTo>
                    <a:pt x="0" y="36"/>
                  </a:lnTo>
                  <a:lnTo>
                    <a:pt x="0" y="33"/>
                  </a:lnTo>
                  <a:lnTo>
                    <a:pt x="0" y="24"/>
                  </a:lnTo>
                  <a:lnTo>
                    <a:pt x="2" y="21"/>
                  </a:lnTo>
                  <a:lnTo>
                    <a:pt x="2" y="17"/>
                  </a:lnTo>
                  <a:lnTo>
                    <a:pt x="2" y="10"/>
                  </a:lnTo>
                  <a:lnTo>
                    <a:pt x="2" y="9"/>
                  </a:lnTo>
                  <a:lnTo>
                    <a:pt x="2" y="7"/>
                  </a:lnTo>
                  <a:lnTo>
                    <a:pt x="2" y="5"/>
                  </a:lnTo>
                  <a:lnTo>
                    <a:pt x="2" y="0"/>
                  </a:lnTo>
                  <a:lnTo>
                    <a:pt x="10" y="0"/>
                  </a:lnTo>
                  <a:lnTo>
                    <a:pt x="14" y="0"/>
                  </a:lnTo>
                  <a:lnTo>
                    <a:pt x="24" y="2"/>
                  </a:lnTo>
                  <a:lnTo>
                    <a:pt x="29" y="2"/>
                  </a:lnTo>
                  <a:lnTo>
                    <a:pt x="29" y="2"/>
                  </a:lnTo>
                  <a:lnTo>
                    <a:pt x="36" y="2"/>
                  </a:lnTo>
                  <a:lnTo>
                    <a:pt x="41" y="2"/>
                  </a:lnTo>
                  <a:lnTo>
                    <a:pt x="45" y="2"/>
                  </a:lnTo>
                  <a:lnTo>
                    <a:pt x="47" y="2"/>
                  </a:lnTo>
                  <a:lnTo>
                    <a:pt x="50" y="2"/>
                  </a:lnTo>
                  <a:lnTo>
                    <a:pt x="52" y="2"/>
                  </a:lnTo>
                  <a:lnTo>
                    <a:pt x="55" y="2"/>
                  </a:lnTo>
                  <a:lnTo>
                    <a:pt x="57" y="2"/>
                  </a:lnTo>
                  <a:lnTo>
                    <a:pt x="59" y="3"/>
                  </a:lnTo>
                  <a:lnTo>
                    <a:pt x="64" y="3"/>
                  </a:lnTo>
                  <a:lnTo>
                    <a:pt x="69" y="3"/>
                  </a:lnTo>
                  <a:lnTo>
                    <a:pt x="71" y="3"/>
                  </a:lnTo>
                  <a:lnTo>
                    <a:pt x="74" y="3"/>
                  </a:lnTo>
                  <a:lnTo>
                    <a:pt x="77" y="3"/>
                  </a:lnTo>
                  <a:lnTo>
                    <a:pt x="79" y="3"/>
                  </a:lnTo>
                  <a:lnTo>
                    <a:pt x="84" y="3"/>
                  </a:lnTo>
                  <a:lnTo>
                    <a:pt x="86" y="3"/>
                  </a:lnTo>
                  <a:lnTo>
                    <a:pt x="91" y="3"/>
                  </a:lnTo>
                  <a:lnTo>
                    <a:pt x="96" y="5"/>
                  </a:lnTo>
                  <a:lnTo>
                    <a:pt x="98" y="5"/>
                  </a:lnTo>
                  <a:lnTo>
                    <a:pt x="100" y="5"/>
                  </a:lnTo>
                  <a:lnTo>
                    <a:pt x="103" y="5"/>
                  </a:lnTo>
                  <a:lnTo>
                    <a:pt x="107" y="5"/>
                  </a:lnTo>
                  <a:lnTo>
                    <a:pt x="115" y="5"/>
                  </a:lnTo>
                  <a:lnTo>
                    <a:pt x="120" y="5"/>
                  </a:lnTo>
                  <a:lnTo>
                    <a:pt x="126" y="5"/>
                  </a:lnTo>
                  <a:lnTo>
                    <a:pt x="136" y="5"/>
                  </a:lnTo>
                  <a:lnTo>
                    <a:pt x="139" y="5"/>
                  </a:lnTo>
                  <a:lnTo>
                    <a:pt x="148" y="7"/>
                  </a:lnTo>
                  <a:lnTo>
                    <a:pt x="150" y="7"/>
                  </a:lnTo>
                  <a:lnTo>
                    <a:pt x="158" y="7"/>
                  </a:lnTo>
                  <a:lnTo>
                    <a:pt x="160" y="7"/>
                  </a:lnTo>
                  <a:lnTo>
                    <a:pt x="165" y="7"/>
                  </a:lnTo>
                  <a:lnTo>
                    <a:pt x="170" y="7"/>
                  </a:lnTo>
                  <a:lnTo>
                    <a:pt x="179" y="7"/>
                  </a:lnTo>
                  <a:lnTo>
                    <a:pt x="181" y="7"/>
                  </a:lnTo>
                  <a:lnTo>
                    <a:pt x="186" y="7"/>
                  </a:lnTo>
                  <a:lnTo>
                    <a:pt x="194" y="7"/>
                  </a:lnTo>
                  <a:lnTo>
                    <a:pt x="203" y="7"/>
                  </a:lnTo>
                  <a:lnTo>
                    <a:pt x="206" y="7"/>
                  </a:lnTo>
                  <a:lnTo>
                    <a:pt x="210" y="7"/>
                  </a:lnTo>
                  <a:lnTo>
                    <a:pt x="213" y="7"/>
                  </a:lnTo>
                  <a:lnTo>
                    <a:pt x="224" y="9"/>
                  </a:lnTo>
                  <a:lnTo>
                    <a:pt x="225" y="9"/>
                  </a:lnTo>
                  <a:lnTo>
                    <a:pt x="227" y="9"/>
                  </a:lnTo>
                  <a:lnTo>
                    <a:pt x="231" y="9"/>
                  </a:lnTo>
                  <a:lnTo>
                    <a:pt x="237" y="9"/>
                  </a:lnTo>
                  <a:lnTo>
                    <a:pt x="239" y="9"/>
                  </a:lnTo>
                  <a:lnTo>
                    <a:pt x="253" y="9"/>
                  </a:lnTo>
                  <a:lnTo>
                    <a:pt x="263" y="10"/>
                  </a:lnTo>
                  <a:lnTo>
                    <a:pt x="265" y="10"/>
                  </a:lnTo>
                  <a:lnTo>
                    <a:pt x="267" y="10"/>
                  </a:lnTo>
                  <a:lnTo>
                    <a:pt x="270" y="10"/>
                  </a:lnTo>
                  <a:lnTo>
                    <a:pt x="277" y="10"/>
                  </a:lnTo>
                  <a:lnTo>
                    <a:pt x="280" y="10"/>
                  </a:lnTo>
                  <a:lnTo>
                    <a:pt x="284" y="10"/>
                  </a:lnTo>
                  <a:lnTo>
                    <a:pt x="286" y="10"/>
                  </a:lnTo>
                  <a:lnTo>
                    <a:pt x="287" y="10"/>
                  </a:lnTo>
                  <a:lnTo>
                    <a:pt x="291" y="10"/>
                  </a:lnTo>
                  <a:lnTo>
                    <a:pt x="292" y="10"/>
                  </a:lnTo>
                  <a:lnTo>
                    <a:pt x="298" y="10"/>
                  </a:lnTo>
                  <a:lnTo>
                    <a:pt x="303" y="12"/>
                  </a:lnTo>
                  <a:lnTo>
                    <a:pt x="306" y="12"/>
                  </a:lnTo>
                  <a:lnTo>
                    <a:pt x="311" y="12"/>
                  </a:lnTo>
                  <a:lnTo>
                    <a:pt x="313" y="12"/>
                  </a:lnTo>
                  <a:lnTo>
                    <a:pt x="315" y="12"/>
                  </a:lnTo>
                  <a:lnTo>
                    <a:pt x="318" y="12"/>
                  </a:lnTo>
                  <a:lnTo>
                    <a:pt x="320" y="12"/>
                  </a:lnTo>
                  <a:lnTo>
                    <a:pt x="323" y="12"/>
                  </a:lnTo>
                  <a:lnTo>
                    <a:pt x="325" y="12"/>
                  </a:lnTo>
                  <a:lnTo>
                    <a:pt x="330" y="12"/>
                  </a:lnTo>
                  <a:lnTo>
                    <a:pt x="335" y="12"/>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B02E"/>
                </a:solidFill>
                <a:effectLst/>
                <a:uLnTx/>
                <a:uFillTx/>
                <a:latin typeface="Verdana" panose="020B0604030504040204"/>
                <a:ea typeface="+mn-ea"/>
                <a:cs typeface="+mn-cs"/>
              </a:endParaRPr>
            </a:p>
          </p:txBody>
        </p:sp>
        <p:sp>
          <p:nvSpPr>
            <p:cNvPr id="87" name="Freeform 140"/>
            <p:cNvSpPr>
              <a:spLocks/>
            </p:cNvSpPr>
            <p:nvPr/>
          </p:nvSpPr>
          <p:spPr bwMode="auto">
            <a:xfrm>
              <a:off x="3609271" y="920544"/>
              <a:ext cx="390525" cy="234950"/>
            </a:xfrm>
            <a:custGeom>
              <a:avLst/>
              <a:gdLst/>
              <a:ahLst/>
              <a:cxnLst>
                <a:cxn ang="0">
                  <a:pos x="237" y="15"/>
                </a:cxn>
                <a:cxn ang="0">
                  <a:pos x="237" y="33"/>
                </a:cxn>
                <a:cxn ang="0">
                  <a:pos x="237" y="50"/>
                </a:cxn>
                <a:cxn ang="0">
                  <a:pos x="237" y="55"/>
                </a:cxn>
                <a:cxn ang="0">
                  <a:pos x="237" y="76"/>
                </a:cxn>
                <a:cxn ang="0">
                  <a:pos x="246" y="83"/>
                </a:cxn>
                <a:cxn ang="0">
                  <a:pos x="246" y="115"/>
                </a:cxn>
                <a:cxn ang="0">
                  <a:pos x="246" y="129"/>
                </a:cxn>
                <a:cxn ang="0">
                  <a:pos x="244" y="148"/>
                </a:cxn>
                <a:cxn ang="0">
                  <a:pos x="230" y="146"/>
                </a:cxn>
                <a:cxn ang="0">
                  <a:pos x="222" y="146"/>
                </a:cxn>
                <a:cxn ang="0">
                  <a:pos x="199" y="144"/>
                </a:cxn>
                <a:cxn ang="0">
                  <a:pos x="184" y="144"/>
                </a:cxn>
                <a:cxn ang="0">
                  <a:pos x="156" y="144"/>
                </a:cxn>
                <a:cxn ang="0">
                  <a:pos x="144" y="144"/>
                </a:cxn>
                <a:cxn ang="0">
                  <a:pos x="132" y="144"/>
                </a:cxn>
                <a:cxn ang="0">
                  <a:pos x="127" y="144"/>
                </a:cxn>
                <a:cxn ang="0">
                  <a:pos x="118" y="144"/>
                </a:cxn>
                <a:cxn ang="0">
                  <a:pos x="108" y="144"/>
                </a:cxn>
                <a:cxn ang="0">
                  <a:pos x="98" y="144"/>
                </a:cxn>
                <a:cxn ang="0">
                  <a:pos x="89" y="144"/>
                </a:cxn>
                <a:cxn ang="0">
                  <a:pos x="72" y="144"/>
                </a:cxn>
                <a:cxn ang="0">
                  <a:pos x="43" y="144"/>
                </a:cxn>
                <a:cxn ang="0">
                  <a:pos x="26" y="143"/>
                </a:cxn>
                <a:cxn ang="0">
                  <a:pos x="14" y="143"/>
                </a:cxn>
                <a:cxn ang="0">
                  <a:pos x="14" y="136"/>
                </a:cxn>
                <a:cxn ang="0">
                  <a:pos x="14" y="129"/>
                </a:cxn>
                <a:cxn ang="0">
                  <a:pos x="14" y="120"/>
                </a:cxn>
                <a:cxn ang="0">
                  <a:pos x="14" y="98"/>
                </a:cxn>
                <a:cxn ang="0">
                  <a:pos x="14" y="91"/>
                </a:cxn>
                <a:cxn ang="0">
                  <a:pos x="10" y="77"/>
                </a:cxn>
                <a:cxn ang="0">
                  <a:pos x="0" y="69"/>
                </a:cxn>
                <a:cxn ang="0">
                  <a:pos x="1" y="55"/>
                </a:cxn>
                <a:cxn ang="0">
                  <a:pos x="1" y="40"/>
                </a:cxn>
                <a:cxn ang="0">
                  <a:pos x="1" y="21"/>
                </a:cxn>
                <a:cxn ang="0">
                  <a:pos x="1" y="9"/>
                </a:cxn>
                <a:cxn ang="0">
                  <a:pos x="7" y="0"/>
                </a:cxn>
                <a:cxn ang="0">
                  <a:pos x="17" y="2"/>
                </a:cxn>
                <a:cxn ang="0">
                  <a:pos x="26" y="2"/>
                </a:cxn>
                <a:cxn ang="0">
                  <a:pos x="41" y="2"/>
                </a:cxn>
                <a:cxn ang="0">
                  <a:pos x="53" y="2"/>
                </a:cxn>
                <a:cxn ang="0">
                  <a:pos x="58" y="2"/>
                </a:cxn>
                <a:cxn ang="0">
                  <a:pos x="62" y="2"/>
                </a:cxn>
                <a:cxn ang="0">
                  <a:pos x="74" y="2"/>
                </a:cxn>
                <a:cxn ang="0">
                  <a:pos x="86" y="3"/>
                </a:cxn>
                <a:cxn ang="0">
                  <a:pos x="103" y="3"/>
                </a:cxn>
                <a:cxn ang="0">
                  <a:pos x="112" y="3"/>
                </a:cxn>
                <a:cxn ang="0">
                  <a:pos x="125" y="3"/>
                </a:cxn>
                <a:cxn ang="0">
                  <a:pos x="136" y="3"/>
                </a:cxn>
                <a:cxn ang="0">
                  <a:pos x="144" y="3"/>
                </a:cxn>
                <a:cxn ang="0">
                  <a:pos x="153" y="3"/>
                </a:cxn>
                <a:cxn ang="0">
                  <a:pos x="163" y="3"/>
                </a:cxn>
                <a:cxn ang="0">
                  <a:pos x="170" y="3"/>
                </a:cxn>
                <a:cxn ang="0">
                  <a:pos x="182" y="3"/>
                </a:cxn>
                <a:cxn ang="0">
                  <a:pos x="194" y="3"/>
                </a:cxn>
                <a:cxn ang="0">
                  <a:pos x="203" y="3"/>
                </a:cxn>
                <a:cxn ang="0">
                  <a:pos x="213" y="3"/>
                </a:cxn>
                <a:cxn ang="0">
                  <a:pos x="225" y="3"/>
                </a:cxn>
                <a:cxn ang="0">
                  <a:pos x="235" y="3"/>
                </a:cxn>
              </a:cxnLst>
              <a:rect l="0" t="0" r="r" b="b"/>
              <a:pathLst>
                <a:path w="246" h="148">
                  <a:moveTo>
                    <a:pt x="237" y="3"/>
                  </a:moveTo>
                  <a:lnTo>
                    <a:pt x="237" y="14"/>
                  </a:lnTo>
                  <a:lnTo>
                    <a:pt x="237" y="15"/>
                  </a:lnTo>
                  <a:lnTo>
                    <a:pt x="237" y="26"/>
                  </a:lnTo>
                  <a:lnTo>
                    <a:pt x="237" y="27"/>
                  </a:lnTo>
                  <a:lnTo>
                    <a:pt x="237" y="33"/>
                  </a:lnTo>
                  <a:lnTo>
                    <a:pt x="237" y="43"/>
                  </a:lnTo>
                  <a:lnTo>
                    <a:pt x="237" y="48"/>
                  </a:lnTo>
                  <a:lnTo>
                    <a:pt x="237" y="50"/>
                  </a:lnTo>
                  <a:lnTo>
                    <a:pt x="237" y="52"/>
                  </a:lnTo>
                  <a:lnTo>
                    <a:pt x="237" y="55"/>
                  </a:lnTo>
                  <a:lnTo>
                    <a:pt x="237" y="55"/>
                  </a:lnTo>
                  <a:lnTo>
                    <a:pt x="237" y="58"/>
                  </a:lnTo>
                  <a:lnTo>
                    <a:pt x="237" y="67"/>
                  </a:lnTo>
                  <a:lnTo>
                    <a:pt x="237" y="76"/>
                  </a:lnTo>
                  <a:lnTo>
                    <a:pt x="237" y="83"/>
                  </a:lnTo>
                  <a:lnTo>
                    <a:pt x="239" y="83"/>
                  </a:lnTo>
                  <a:lnTo>
                    <a:pt x="246" y="83"/>
                  </a:lnTo>
                  <a:lnTo>
                    <a:pt x="246" y="100"/>
                  </a:lnTo>
                  <a:lnTo>
                    <a:pt x="246" y="110"/>
                  </a:lnTo>
                  <a:lnTo>
                    <a:pt x="246" y="115"/>
                  </a:lnTo>
                  <a:lnTo>
                    <a:pt x="246" y="117"/>
                  </a:lnTo>
                  <a:lnTo>
                    <a:pt x="246" y="124"/>
                  </a:lnTo>
                  <a:lnTo>
                    <a:pt x="246" y="129"/>
                  </a:lnTo>
                  <a:lnTo>
                    <a:pt x="246" y="138"/>
                  </a:lnTo>
                  <a:lnTo>
                    <a:pt x="246" y="148"/>
                  </a:lnTo>
                  <a:lnTo>
                    <a:pt x="244" y="148"/>
                  </a:lnTo>
                  <a:lnTo>
                    <a:pt x="239" y="148"/>
                  </a:lnTo>
                  <a:lnTo>
                    <a:pt x="234" y="148"/>
                  </a:lnTo>
                  <a:lnTo>
                    <a:pt x="230" y="146"/>
                  </a:lnTo>
                  <a:lnTo>
                    <a:pt x="223" y="146"/>
                  </a:lnTo>
                  <a:lnTo>
                    <a:pt x="223" y="146"/>
                  </a:lnTo>
                  <a:lnTo>
                    <a:pt x="222" y="146"/>
                  </a:lnTo>
                  <a:lnTo>
                    <a:pt x="211" y="146"/>
                  </a:lnTo>
                  <a:lnTo>
                    <a:pt x="201" y="146"/>
                  </a:lnTo>
                  <a:lnTo>
                    <a:pt x="199" y="144"/>
                  </a:lnTo>
                  <a:lnTo>
                    <a:pt x="196" y="144"/>
                  </a:lnTo>
                  <a:lnTo>
                    <a:pt x="189" y="144"/>
                  </a:lnTo>
                  <a:lnTo>
                    <a:pt x="184" y="144"/>
                  </a:lnTo>
                  <a:lnTo>
                    <a:pt x="179" y="144"/>
                  </a:lnTo>
                  <a:lnTo>
                    <a:pt x="170" y="144"/>
                  </a:lnTo>
                  <a:lnTo>
                    <a:pt x="156" y="144"/>
                  </a:lnTo>
                  <a:lnTo>
                    <a:pt x="149" y="144"/>
                  </a:lnTo>
                  <a:lnTo>
                    <a:pt x="146" y="144"/>
                  </a:lnTo>
                  <a:lnTo>
                    <a:pt x="144" y="144"/>
                  </a:lnTo>
                  <a:lnTo>
                    <a:pt x="139" y="144"/>
                  </a:lnTo>
                  <a:lnTo>
                    <a:pt x="137" y="144"/>
                  </a:lnTo>
                  <a:lnTo>
                    <a:pt x="132" y="144"/>
                  </a:lnTo>
                  <a:lnTo>
                    <a:pt x="130" y="144"/>
                  </a:lnTo>
                  <a:lnTo>
                    <a:pt x="129" y="144"/>
                  </a:lnTo>
                  <a:lnTo>
                    <a:pt x="127" y="144"/>
                  </a:lnTo>
                  <a:lnTo>
                    <a:pt x="124" y="144"/>
                  </a:lnTo>
                  <a:lnTo>
                    <a:pt x="120" y="144"/>
                  </a:lnTo>
                  <a:lnTo>
                    <a:pt x="118" y="144"/>
                  </a:lnTo>
                  <a:lnTo>
                    <a:pt x="118" y="144"/>
                  </a:lnTo>
                  <a:lnTo>
                    <a:pt x="113" y="144"/>
                  </a:lnTo>
                  <a:lnTo>
                    <a:pt x="108" y="144"/>
                  </a:lnTo>
                  <a:lnTo>
                    <a:pt x="103" y="144"/>
                  </a:lnTo>
                  <a:lnTo>
                    <a:pt x="101" y="144"/>
                  </a:lnTo>
                  <a:lnTo>
                    <a:pt x="98" y="144"/>
                  </a:lnTo>
                  <a:lnTo>
                    <a:pt x="94" y="144"/>
                  </a:lnTo>
                  <a:lnTo>
                    <a:pt x="93" y="144"/>
                  </a:lnTo>
                  <a:lnTo>
                    <a:pt x="89" y="144"/>
                  </a:lnTo>
                  <a:lnTo>
                    <a:pt x="79" y="144"/>
                  </a:lnTo>
                  <a:lnTo>
                    <a:pt x="77" y="144"/>
                  </a:lnTo>
                  <a:lnTo>
                    <a:pt x="72" y="144"/>
                  </a:lnTo>
                  <a:lnTo>
                    <a:pt x="53" y="144"/>
                  </a:lnTo>
                  <a:lnTo>
                    <a:pt x="46" y="144"/>
                  </a:lnTo>
                  <a:lnTo>
                    <a:pt x="43" y="144"/>
                  </a:lnTo>
                  <a:lnTo>
                    <a:pt x="36" y="143"/>
                  </a:lnTo>
                  <a:lnTo>
                    <a:pt x="29" y="143"/>
                  </a:lnTo>
                  <a:lnTo>
                    <a:pt x="26" y="143"/>
                  </a:lnTo>
                  <a:lnTo>
                    <a:pt x="19" y="143"/>
                  </a:lnTo>
                  <a:lnTo>
                    <a:pt x="17" y="143"/>
                  </a:lnTo>
                  <a:lnTo>
                    <a:pt x="14" y="143"/>
                  </a:lnTo>
                  <a:lnTo>
                    <a:pt x="12" y="143"/>
                  </a:lnTo>
                  <a:lnTo>
                    <a:pt x="12" y="141"/>
                  </a:lnTo>
                  <a:lnTo>
                    <a:pt x="14" y="136"/>
                  </a:lnTo>
                  <a:lnTo>
                    <a:pt x="14" y="131"/>
                  </a:lnTo>
                  <a:lnTo>
                    <a:pt x="14" y="129"/>
                  </a:lnTo>
                  <a:lnTo>
                    <a:pt x="14" y="129"/>
                  </a:lnTo>
                  <a:lnTo>
                    <a:pt x="14" y="127"/>
                  </a:lnTo>
                  <a:lnTo>
                    <a:pt x="14" y="126"/>
                  </a:lnTo>
                  <a:lnTo>
                    <a:pt x="14" y="120"/>
                  </a:lnTo>
                  <a:lnTo>
                    <a:pt x="14" y="115"/>
                  </a:lnTo>
                  <a:lnTo>
                    <a:pt x="14" y="110"/>
                  </a:lnTo>
                  <a:lnTo>
                    <a:pt x="14" y="98"/>
                  </a:lnTo>
                  <a:lnTo>
                    <a:pt x="14" y="96"/>
                  </a:lnTo>
                  <a:lnTo>
                    <a:pt x="14" y="95"/>
                  </a:lnTo>
                  <a:lnTo>
                    <a:pt x="14" y="91"/>
                  </a:lnTo>
                  <a:lnTo>
                    <a:pt x="14" y="88"/>
                  </a:lnTo>
                  <a:lnTo>
                    <a:pt x="14" y="77"/>
                  </a:lnTo>
                  <a:lnTo>
                    <a:pt x="10" y="77"/>
                  </a:lnTo>
                  <a:lnTo>
                    <a:pt x="5" y="77"/>
                  </a:lnTo>
                  <a:lnTo>
                    <a:pt x="0" y="76"/>
                  </a:lnTo>
                  <a:lnTo>
                    <a:pt x="0" y="69"/>
                  </a:lnTo>
                  <a:lnTo>
                    <a:pt x="0" y="69"/>
                  </a:lnTo>
                  <a:lnTo>
                    <a:pt x="0" y="65"/>
                  </a:lnTo>
                  <a:lnTo>
                    <a:pt x="1" y="55"/>
                  </a:lnTo>
                  <a:lnTo>
                    <a:pt x="1" y="55"/>
                  </a:lnTo>
                  <a:lnTo>
                    <a:pt x="1" y="43"/>
                  </a:lnTo>
                  <a:lnTo>
                    <a:pt x="1" y="40"/>
                  </a:lnTo>
                  <a:lnTo>
                    <a:pt x="1" y="31"/>
                  </a:lnTo>
                  <a:lnTo>
                    <a:pt x="1" y="26"/>
                  </a:lnTo>
                  <a:lnTo>
                    <a:pt x="1" y="21"/>
                  </a:lnTo>
                  <a:lnTo>
                    <a:pt x="1" y="10"/>
                  </a:lnTo>
                  <a:lnTo>
                    <a:pt x="1" y="9"/>
                  </a:lnTo>
                  <a:lnTo>
                    <a:pt x="1" y="9"/>
                  </a:lnTo>
                  <a:lnTo>
                    <a:pt x="1" y="0"/>
                  </a:lnTo>
                  <a:lnTo>
                    <a:pt x="5" y="0"/>
                  </a:lnTo>
                  <a:lnTo>
                    <a:pt x="7" y="0"/>
                  </a:lnTo>
                  <a:lnTo>
                    <a:pt x="8" y="0"/>
                  </a:lnTo>
                  <a:lnTo>
                    <a:pt x="12" y="0"/>
                  </a:lnTo>
                  <a:lnTo>
                    <a:pt x="17" y="2"/>
                  </a:lnTo>
                  <a:lnTo>
                    <a:pt x="19" y="2"/>
                  </a:lnTo>
                  <a:lnTo>
                    <a:pt x="24" y="2"/>
                  </a:lnTo>
                  <a:lnTo>
                    <a:pt x="26" y="2"/>
                  </a:lnTo>
                  <a:lnTo>
                    <a:pt x="29" y="2"/>
                  </a:lnTo>
                  <a:lnTo>
                    <a:pt x="34" y="2"/>
                  </a:lnTo>
                  <a:lnTo>
                    <a:pt x="41" y="2"/>
                  </a:lnTo>
                  <a:lnTo>
                    <a:pt x="48" y="2"/>
                  </a:lnTo>
                  <a:lnTo>
                    <a:pt x="51" y="2"/>
                  </a:lnTo>
                  <a:lnTo>
                    <a:pt x="53" y="2"/>
                  </a:lnTo>
                  <a:lnTo>
                    <a:pt x="55" y="2"/>
                  </a:lnTo>
                  <a:lnTo>
                    <a:pt x="57" y="2"/>
                  </a:lnTo>
                  <a:lnTo>
                    <a:pt x="58" y="2"/>
                  </a:lnTo>
                  <a:lnTo>
                    <a:pt x="58" y="2"/>
                  </a:lnTo>
                  <a:lnTo>
                    <a:pt x="60" y="2"/>
                  </a:lnTo>
                  <a:lnTo>
                    <a:pt x="62" y="2"/>
                  </a:lnTo>
                  <a:lnTo>
                    <a:pt x="65" y="2"/>
                  </a:lnTo>
                  <a:lnTo>
                    <a:pt x="70" y="2"/>
                  </a:lnTo>
                  <a:lnTo>
                    <a:pt x="74" y="2"/>
                  </a:lnTo>
                  <a:lnTo>
                    <a:pt x="79" y="2"/>
                  </a:lnTo>
                  <a:lnTo>
                    <a:pt x="86" y="2"/>
                  </a:lnTo>
                  <a:lnTo>
                    <a:pt x="86" y="3"/>
                  </a:lnTo>
                  <a:lnTo>
                    <a:pt x="89" y="3"/>
                  </a:lnTo>
                  <a:lnTo>
                    <a:pt x="96" y="3"/>
                  </a:lnTo>
                  <a:lnTo>
                    <a:pt x="103" y="3"/>
                  </a:lnTo>
                  <a:lnTo>
                    <a:pt x="103" y="3"/>
                  </a:lnTo>
                  <a:lnTo>
                    <a:pt x="105" y="3"/>
                  </a:lnTo>
                  <a:lnTo>
                    <a:pt x="112" y="3"/>
                  </a:lnTo>
                  <a:lnTo>
                    <a:pt x="118" y="3"/>
                  </a:lnTo>
                  <a:lnTo>
                    <a:pt x="120" y="3"/>
                  </a:lnTo>
                  <a:lnTo>
                    <a:pt x="125" y="3"/>
                  </a:lnTo>
                  <a:lnTo>
                    <a:pt x="132" y="3"/>
                  </a:lnTo>
                  <a:lnTo>
                    <a:pt x="134" y="3"/>
                  </a:lnTo>
                  <a:lnTo>
                    <a:pt x="136" y="3"/>
                  </a:lnTo>
                  <a:lnTo>
                    <a:pt x="141" y="3"/>
                  </a:lnTo>
                  <a:lnTo>
                    <a:pt x="143" y="3"/>
                  </a:lnTo>
                  <a:lnTo>
                    <a:pt x="144" y="3"/>
                  </a:lnTo>
                  <a:lnTo>
                    <a:pt x="148" y="3"/>
                  </a:lnTo>
                  <a:lnTo>
                    <a:pt x="151" y="3"/>
                  </a:lnTo>
                  <a:lnTo>
                    <a:pt x="153" y="3"/>
                  </a:lnTo>
                  <a:lnTo>
                    <a:pt x="155" y="3"/>
                  </a:lnTo>
                  <a:lnTo>
                    <a:pt x="161" y="3"/>
                  </a:lnTo>
                  <a:lnTo>
                    <a:pt x="163" y="3"/>
                  </a:lnTo>
                  <a:lnTo>
                    <a:pt x="163" y="3"/>
                  </a:lnTo>
                  <a:lnTo>
                    <a:pt x="165" y="3"/>
                  </a:lnTo>
                  <a:lnTo>
                    <a:pt x="170" y="3"/>
                  </a:lnTo>
                  <a:lnTo>
                    <a:pt x="175" y="3"/>
                  </a:lnTo>
                  <a:lnTo>
                    <a:pt x="177" y="3"/>
                  </a:lnTo>
                  <a:lnTo>
                    <a:pt x="182" y="3"/>
                  </a:lnTo>
                  <a:lnTo>
                    <a:pt x="187" y="3"/>
                  </a:lnTo>
                  <a:lnTo>
                    <a:pt x="191" y="3"/>
                  </a:lnTo>
                  <a:lnTo>
                    <a:pt x="194" y="3"/>
                  </a:lnTo>
                  <a:lnTo>
                    <a:pt x="194" y="3"/>
                  </a:lnTo>
                  <a:lnTo>
                    <a:pt x="199" y="3"/>
                  </a:lnTo>
                  <a:lnTo>
                    <a:pt x="203" y="3"/>
                  </a:lnTo>
                  <a:lnTo>
                    <a:pt x="204" y="3"/>
                  </a:lnTo>
                  <a:lnTo>
                    <a:pt x="208" y="3"/>
                  </a:lnTo>
                  <a:lnTo>
                    <a:pt x="213" y="3"/>
                  </a:lnTo>
                  <a:lnTo>
                    <a:pt x="215" y="3"/>
                  </a:lnTo>
                  <a:lnTo>
                    <a:pt x="223" y="3"/>
                  </a:lnTo>
                  <a:lnTo>
                    <a:pt x="225" y="3"/>
                  </a:lnTo>
                  <a:lnTo>
                    <a:pt x="227" y="3"/>
                  </a:lnTo>
                  <a:lnTo>
                    <a:pt x="230" y="3"/>
                  </a:lnTo>
                  <a:lnTo>
                    <a:pt x="235" y="3"/>
                  </a:lnTo>
                  <a:lnTo>
                    <a:pt x="237" y="3"/>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8" name="Freeform 142"/>
            <p:cNvSpPr>
              <a:spLocks/>
            </p:cNvSpPr>
            <p:nvPr/>
          </p:nvSpPr>
          <p:spPr bwMode="auto">
            <a:xfrm>
              <a:off x="3985509" y="925306"/>
              <a:ext cx="434975" cy="541338"/>
            </a:xfrm>
            <a:custGeom>
              <a:avLst/>
              <a:gdLst/>
              <a:ahLst/>
              <a:cxnLst>
                <a:cxn ang="0">
                  <a:pos x="268" y="26"/>
                </a:cxn>
                <a:cxn ang="0">
                  <a:pos x="268" y="43"/>
                </a:cxn>
                <a:cxn ang="0">
                  <a:pos x="267" y="55"/>
                </a:cxn>
                <a:cxn ang="0">
                  <a:pos x="267" y="73"/>
                </a:cxn>
                <a:cxn ang="0">
                  <a:pos x="270" y="81"/>
                </a:cxn>
                <a:cxn ang="0">
                  <a:pos x="274" y="86"/>
                </a:cxn>
                <a:cxn ang="0">
                  <a:pos x="274" y="105"/>
                </a:cxn>
                <a:cxn ang="0">
                  <a:pos x="274" y="114"/>
                </a:cxn>
                <a:cxn ang="0">
                  <a:pos x="274" y="140"/>
                </a:cxn>
                <a:cxn ang="0">
                  <a:pos x="274" y="150"/>
                </a:cxn>
                <a:cxn ang="0">
                  <a:pos x="274" y="179"/>
                </a:cxn>
                <a:cxn ang="0">
                  <a:pos x="274" y="202"/>
                </a:cxn>
                <a:cxn ang="0">
                  <a:pos x="274" y="217"/>
                </a:cxn>
                <a:cxn ang="0">
                  <a:pos x="274" y="246"/>
                </a:cxn>
                <a:cxn ang="0">
                  <a:pos x="272" y="270"/>
                </a:cxn>
                <a:cxn ang="0">
                  <a:pos x="272" y="293"/>
                </a:cxn>
                <a:cxn ang="0">
                  <a:pos x="272" y="315"/>
                </a:cxn>
                <a:cxn ang="0">
                  <a:pos x="272" y="341"/>
                </a:cxn>
                <a:cxn ang="0">
                  <a:pos x="248" y="341"/>
                </a:cxn>
                <a:cxn ang="0">
                  <a:pos x="231" y="341"/>
                </a:cxn>
                <a:cxn ang="0">
                  <a:pos x="210" y="339"/>
                </a:cxn>
                <a:cxn ang="0">
                  <a:pos x="198" y="339"/>
                </a:cxn>
                <a:cxn ang="0">
                  <a:pos x="174" y="339"/>
                </a:cxn>
                <a:cxn ang="0">
                  <a:pos x="155" y="339"/>
                </a:cxn>
                <a:cxn ang="0">
                  <a:pos x="133" y="338"/>
                </a:cxn>
                <a:cxn ang="0">
                  <a:pos x="115" y="338"/>
                </a:cxn>
                <a:cxn ang="0">
                  <a:pos x="105" y="338"/>
                </a:cxn>
                <a:cxn ang="0">
                  <a:pos x="93" y="338"/>
                </a:cxn>
                <a:cxn ang="0">
                  <a:pos x="84" y="338"/>
                </a:cxn>
                <a:cxn ang="0">
                  <a:pos x="60" y="338"/>
                </a:cxn>
                <a:cxn ang="0">
                  <a:pos x="47" y="338"/>
                </a:cxn>
                <a:cxn ang="0">
                  <a:pos x="17" y="336"/>
                </a:cxn>
                <a:cxn ang="0">
                  <a:pos x="4" y="322"/>
                </a:cxn>
                <a:cxn ang="0">
                  <a:pos x="4" y="308"/>
                </a:cxn>
                <a:cxn ang="0">
                  <a:pos x="5" y="279"/>
                </a:cxn>
                <a:cxn ang="0">
                  <a:pos x="5" y="252"/>
                </a:cxn>
                <a:cxn ang="0">
                  <a:pos x="5" y="203"/>
                </a:cxn>
                <a:cxn ang="0">
                  <a:pos x="7" y="179"/>
                </a:cxn>
                <a:cxn ang="0">
                  <a:pos x="9" y="145"/>
                </a:cxn>
                <a:cxn ang="0">
                  <a:pos x="9" y="112"/>
                </a:cxn>
                <a:cxn ang="0">
                  <a:pos x="0" y="80"/>
                </a:cxn>
                <a:cxn ang="0">
                  <a:pos x="0" y="52"/>
                </a:cxn>
                <a:cxn ang="0">
                  <a:pos x="0" y="30"/>
                </a:cxn>
                <a:cxn ang="0">
                  <a:pos x="0" y="0"/>
                </a:cxn>
                <a:cxn ang="0">
                  <a:pos x="45" y="0"/>
                </a:cxn>
                <a:cxn ang="0">
                  <a:pos x="71" y="2"/>
                </a:cxn>
                <a:cxn ang="0">
                  <a:pos x="90" y="2"/>
                </a:cxn>
                <a:cxn ang="0">
                  <a:pos x="115" y="2"/>
                </a:cxn>
                <a:cxn ang="0">
                  <a:pos x="136" y="0"/>
                </a:cxn>
                <a:cxn ang="0">
                  <a:pos x="157" y="0"/>
                </a:cxn>
                <a:cxn ang="0">
                  <a:pos x="174" y="0"/>
                </a:cxn>
                <a:cxn ang="0">
                  <a:pos x="189" y="0"/>
                </a:cxn>
                <a:cxn ang="0">
                  <a:pos x="208" y="0"/>
                </a:cxn>
                <a:cxn ang="0">
                  <a:pos x="229" y="0"/>
                </a:cxn>
                <a:cxn ang="0">
                  <a:pos x="248" y="0"/>
                </a:cxn>
                <a:cxn ang="0">
                  <a:pos x="262" y="0"/>
                </a:cxn>
              </a:cxnLst>
              <a:rect l="0" t="0" r="r" b="b"/>
              <a:pathLst>
                <a:path w="274" h="341">
                  <a:moveTo>
                    <a:pt x="268" y="0"/>
                  </a:moveTo>
                  <a:lnTo>
                    <a:pt x="268" y="12"/>
                  </a:lnTo>
                  <a:lnTo>
                    <a:pt x="268" y="19"/>
                  </a:lnTo>
                  <a:lnTo>
                    <a:pt x="268" y="23"/>
                  </a:lnTo>
                  <a:lnTo>
                    <a:pt x="268" y="26"/>
                  </a:lnTo>
                  <a:lnTo>
                    <a:pt x="268" y="28"/>
                  </a:lnTo>
                  <a:lnTo>
                    <a:pt x="268" y="33"/>
                  </a:lnTo>
                  <a:lnTo>
                    <a:pt x="268" y="40"/>
                  </a:lnTo>
                  <a:lnTo>
                    <a:pt x="268" y="42"/>
                  </a:lnTo>
                  <a:lnTo>
                    <a:pt x="268" y="43"/>
                  </a:lnTo>
                  <a:lnTo>
                    <a:pt x="267" y="47"/>
                  </a:lnTo>
                  <a:lnTo>
                    <a:pt x="268" y="47"/>
                  </a:lnTo>
                  <a:lnTo>
                    <a:pt x="267" y="49"/>
                  </a:lnTo>
                  <a:lnTo>
                    <a:pt x="267" y="52"/>
                  </a:lnTo>
                  <a:lnTo>
                    <a:pt x="267" y="55"/>
                  </a:lnTo>
                  <a:lnTo>
                    <a:pt x="267" y="57"/>
                  </a:lnTo>
                  <a:lnTo>
                    <a:pt x="267" y="59"/>
                  </a:lnTo>
                  <a:lnTo>
                    <a:pt x="267" y="61"/>
                  </a:lnTo>
                  <a:lnTo>
                    <a:pt x="267" y="67"/>
                  </a:lnTo>
                  <a:lnTo>
                    <a:pt x="267" y="73"/>
                  </a:lnTo>
                  <a:lnTo>
                    <a:pt x="267" y="78"/>
                  </a:lnTo>
                  <a:lnTo>
                    <a:pt x="267" y="80"/>
                  </a:lnTo>
                  <a:lnTo>
                    <a:pt x="267" y="81"/>
                  </a:lnTo>
                  <a:lnTo>
                    <a:pt x="268" y="81"/>
                  </a:lnTo>
                  <a:lnTo>
                    <a:pt x="270" y="81"/>
                  </a:lnTo>
                  <a:lnTo>
                    <a:pt x="272" y="81"/>
                  </a:lnTo>
                  <a:lnTo>
                    <a:pt x="274" y="81"/>
                  </a:lnTo>
                  <a:lnTo>
                    <a:pt x="274" y="83"/>
                  </a:lnTo>
                  <a:lnTo>
                    <a:pt x="274" y="85"/>
                  </a:lnTo>
                  <a:lnTo>
                    <a:pt x="274" y="86"/>
                  </a:lnTo>
                  <a:lnTo>
                    <a:pt x="274" y="92"/>
                  </a:lnTo>
                  <a:lnTo>
                    <a:pt x="274" y="97"/>
                  </a:lnTo>
                  <a:lnTo>
                    <a:pt x="274" y="100"/>
                  </a:lnTo>
                  <a:lnTo>
                    <a:pt x="274" y="104"/>
                  </a:lnTo>
                  <a:lnTo>
                    <a:pt x="274" y="105"/>
                  </a:lnTo>
                  <a:lnTo>
                    <a:pt x="274" y="107"/>
                  </a:lnTo>
                  <a:lnTo>
                    <a:pt x="274" y="111"/>
                  </a:lnTo>
                  <a:lnTo>
                    <a:pt x="274" y="112"/>
                  </a:lnTo>
                  <a:lnTo>
                    <a:pt x="274" y="112"/>
                  </a:lnTo>
                  <a:lnTo>
                    <a:pt x="274" y="114"/>
                  </a:lnTo>
                  <a:lnTo>
                    <a:pt x="274" y="117"/>
                  </a:lnTo>
                  <a:lnTo>
                    <a:pt x="274" y="119"/>
                  </a:lnTo>
                  <a:lnTo>
                    <a:pt x="274" y="126"/>
                  </a:lnTo>
                  <a:lnTo>
                    <a:pt x="274" y="138"/>
                  </a:lnTo>
                  <a:lnTo>
                    <a:pt x="274" y="140"/>
                  </a:lnTo>
                  <a:lnTo>
                    <a:pt x="274" y="141"/>
                  </a:lnTo>
                  <a:lnTo>
                    <a:pt x="274" y="145"/>
                  </a:lnTo>
                  <a:lnTo>
                    <a:pt x="274" y="147"/>
                  </a:lnTo>
                  <a:lnTo>
                    <a:pt x="274" y="148"/>
                  </a:lnTo>
                  <a:lnTo>
                    <a:pt x="274" y="150"/>
                  </a:lnTo>
                  <a:lnTo>
                    <a:pt x="274" y="152"/>
                  </a:lnTo>
                  <a:lnTo>
                    <a:pt x="274" y="155"/>
                  </a:lnTo>
                  <a:lnTo>
                    <a:pt x="274" y="162"/>
                  </a:lnTo>
                  <a:lnTo>
                    <a:pt x="274" y="174"/>
                  </a:lnTo>
                  <a:lnTo>
                    <a:pt x="274" y="179"/>
                  </a:lnTo>
                  <a:lnTo>
                    <a:pt x="274" y="186"/>
                  </a:lnTo>
                  <a:lnTo>
                    <a:pt x="274" y="186"/>
                  </a:lnTo>
                  <a:lnTo>
                    <a:pt x="274" y="190"/>
                  </a:lnTo>
                  <a:lnTo>
                    <a:pt x="274" y="197"/>
                  </a:lnTo>
                  <a:lnTo>
                    <a:pt x="274" y="202"/>
                  </a:lnTo>
                  <a:lnTo>
                    <a:pt x="274" y="202"/>
                  </a:lnTo>
                  <a:lnTo>
                    <a:pt x="274" y="203"/>
                  </a:lnTo>
                  <a:lnTo>
                    <a:pt x="274" y="205"/>
                  </a:lnTo>
                  <a:lnTo>
                    <a:pt x="274" y="214"/>
                  </a:lnTo>
                  <a:lnTo>
                    <a:pt x="274" y="217"/>
                  </a:lnTo>
                  <a:lnTo>
                    <a:pt x="274" y="231"/>
                  </a:lnTo>
                  <a:lnTo>
                    <a:pt x="274" y="234"/>
                  </a:lnTo>
                  <a:lnTo>
                    <a:pt x="274" y="240"/>
                  </a:lnTo>
                  <a:lnTo>
                    <a:pt x="274" y="241"/>
                  </a:lnTo>
                  <a:lnTo>
                    <a:pt x="274" y="246"/>
                  </a:lnTo>
                  <a:lnTo>
                    <a:pt x="274" y="252"/>
                  </a:lnTo>
                  <a:lnTo>
                    <a:pt x="274" y="253"/>
                  </a:lnTo>
                  <a:lnTo>
                    <a:pt x="274" y="255"/>
                  </a:lnTo>
                  <a:lnTo>
                    <a:pt x="274" y="264"/>
                  </a:lnTo>
                  <a:lnTo>
                    <a:pt x="272" y="270"/>
                  </a:lnTo>
                  <a:lnTo>
                    <a:pt x="272" y="272"/>
                  </a:lnTo>
                  <a:lnTo>
                    <a:pt x="272" y="276"/>
                  </a:lnTo>
                  <a:lnTo>
                    <a:pt x="272" y="281"/>
                  </a:lnTo>
                  <a:lnTo>
                    <a:pt x="272" y="286"/>
                  </a:lnTo>
                  <a:lnTo>
                    <a:pt x="272" y="293"/>
                  </a:lnTo>
                  <a:lnTo>
                    <a:pt x="272" y="300"/>
                  </a:lnTo>
                  <a:lnTo>
                    <a:pt x="272" y="308"/>
                  </a:lnTo>
                  <a:lnTo>
                    <a:pt x="272" y="310"/>
                  </a:lnTo>
                  <a:lnTo>
                    <a:pt x="272" y="314"/>
                  </a:lnTo>
                  <a:lnTo>
                    <a:pt x="272" y="315"/>
                  </a:lnTo>
                  <a:lnTo>
                    <a:pt x="272" y="320"/>
                  </a:lnTo>
                  <a:lnTo>
                    <a:pt x="272" y="322"/>
                  </a:lnTo>
                  <a:lnTo>
                    <a:pt x="272" y="331"/>
                  </a:lnTo>
                  <a:lnTo>
                    <a:pt x="272" y="336"/>
                  </a:lnTo>
                  <a:lnTo>
                    <a:pt x="272" y="341"/>
                  </a:lnTo>
                  <a:lnTo>
                    <a:pt x="270" y="341"/>
                  </a:lnTo>
                  <a:lnTo>
                    <a:pt x="258" y="341"/>
                  </a:lnTo>
                  <a:lnTo>
                    <a:pt x="256" y="341"/>
                  </a:lnTo>
                  <a:lnTo>
                    <a:pt x="253" y="341"/>
                  </a:lnTo>
                  <a:lnTo>
                    <a:pt x="248" y="341"/>
                  </a:lnTo>
                  <a:lnTo>
                    <a:pt x="244" y="341"/>
                  </a:lnTo>
                  <a:lnTo>
                    <a:pt x="239" y="341"/>
                  </a:lnTo>
                  <a:lnTo>
                    <a:pt x="237" y="341"/>
                  </a:lnTo>
                  <a:lnTo>
                    <a:pt x="234" y="341"/>
                  </a:lnTo>
                  <a:lnTo>
                    <a:pt x="231" y="341"/>
                  </a:lnTo>
                  <a:lnTo>
                    <a:pt x="229" y="341"/>
                  </a:lnTo>
                  <a:lnTo>
                    <a:pt x="224" y="341"/>
                  </a:lnTo>
                  <a:lnTo>
                    <a:pt x="217" y="339"/>
                  </a:lnTo>
                  <a:lnTo>
                    <a:pt x="215" y="339"/>
                  </a:lnTo>
                  <a:lnTo>
                    <a:pt x="210" y="339"/>
                  </a:lnTo>
                  <a:lnTo>
                    <a:pt x="208" y="339"/>
                  </a:lnTo>
                  <a:lnTo>
                    <a:pt x="207" y="339"/>
                  </a:lnTo>
                  <a:lnTo>
                    <a:pt x="205" y="339"/>
                  </a:lnTo>
                  <a:lnTo>
                    <a:pt x="203" y="339"/>
                  </a:lnTo>
                  <a:lnTo>
                    <a:pt x="198" y="339"/>
                  </a:lnTo>
                  <a:lnTo>
                    <a:pt x="193" y="339"/>
                  </a:lnTo>
                  <a:lnTo>
                    <a:pt x="186" y="339"/>
                  </a:lnTo>
                  <a:lnTo>
                    <a:pt x="182" y="339"/>
                  </a:lnTo>
                  <a:lnTo>
                    <a:pt x="182" y="339"/>
                  </a:lnTo>
                  <a:lnTo>
                    <a:pt x="174" y="339"/>
                  </a:lnTo>
                  <a:lnTo>
                    <a:pt x="170" y="339"/>
                  </a:lnTo>
                  <a:lnTo>
                    <a:pt x="167" y="339"/>
                  </a:lnTo>
                  <a:lnTo>
                    <a:pt x="162" y="339"/>
                  </a:lnTo>
                  <a:lnTo>
                    <a:pt x="158" y="339"/>
                  </a:lnTo>
                  <a:lnTo>
                    <a:pt x="155" y="339"/>
                  </a:lnTo>
                  <a:lnTo>
                    <a:pt x="148" y="339"/>
                  </a:lnTo>
                  <a:lnTo>
                    <a:pt x="146" y="339"/>
                  </a:lnTo>
                  <a:lnTo>
                    <a:pt x="138" y="339"/>
                  </a:lnTo>
                  <a:lnTo>
                    <a:pt x="134" y="339"/>
                  </a:lnTo>
                  <a:lnTo>
                    <a:pt x="133" y="338"/>
                  </a:lnTo>
                  <a:lnTo>
                    <a:pt x="126" y="338"/>
                  </a:lnTo>
                  <a:lnTo>
                    <a:pt x="122" y="338"/>
                  </a:lnTo>
                  <a:lnTo>
                    <a:pt x="121" y="338"/>
                  </a:lnTo>
                  <a:lnTo>
                    <a:pt x="119" y="338"/>
                  </a:lnTo>
                  <a:lnTo>
                    <a:pt x="115" y="338"/>
                  </a:lnTo>
                  <a:lnTo>
                    <a:pt x="112" y="338"/>
                  </a:lnTo>
                  <a:lnTo>
                    <a:pt x="110" y="338"/>
                  </a:lnTo>
                  <a:lnTo>
                    <a:pt x="108" y="338"/>
                  </a:lnTo>
                  <a:lnTo>
                    <a:pt x="107" y="338"/>
                  </a:lnTo>
                  <a:lnTo>
                    <a:pt x="105" y="338"/>
                  </a:lnTo>
                  <a:lnTo>
                    <a:pt x="103" y="338"/>
                  </a:lnTo>
                  <a:lnTo>
                    <a:pt x="100" y="338"/>
                  </a:lnTo>
                  <a:lnTo>
                    <a:pt x="96" y="338"/>
                  </a:lnTo>
                  <a:lnTo>
                    <a:pt x="95" y="338"/>
                  </a:lnTo>
                  <a:lnTo>
                    <a:pt x="93" y="338"/>
                  </a:lnTo>
                  <a:lnTo>
                    <a:pt x="91" y="338"/>
                  </a:lnTo>
                  <a:lnTo>
                    <a:pt x="91" y="338"/>
                  </a:lnTo>
                  <a:lnTo>
                    <a:pt x="90" y="338"/>
                  </a:lnTo>
                  <a:lnTo>
                    <a:pt x="88" y="338"/>
                  </a:lnTo>
                  <a:lnTo>
                    <a:pt x="84" y="338"/>
                  </a:lnTo>
                  <a:lnTo>
                    <a:pt x="81" y="338"/>
                  </a:lnTo>
                  <a:lnTo>
                    <a:pt x="78" y="338"/>
                  </a:lnTo>
                  <a:lnTo>
                    <a:pt x="71" y="338"/>
                  </a:lnTo>
                  <a:lnTo>
                    <a:pt x="69" y="338"/>
                  </a:lnTo>
                  <a:lnTo>
                    <a:pt x="60" y="338"/>
                  </a:lnTo>
                  <a:lnTo>
                    <a:pt x="59" y="338"/>
                  </a:lnTo>
                  <a:lnTo>
                    <a:pt x="53" y="338"/>
                  </a:lnTo>
                  <a:lnTo>
                    <a:pt x="52" y="338"/>
                  </a:lnTo>
                  <a:lnTo>
                    <a:pt x="48" y="338"/>
                  </a:lnTo>
                  <a:lnTo>
                    <a:pt x="47" y="338"/>
                  </a:lnTo>
                  <a:lnTo>
                    <a:pt x="41" y="338"/>
                  </a:lnTo>
                  <a:lnTo>
                    <a:pt x="36" y="338"/>
                  </a:lnTo>
                  <a:lnTo>
                    <a:pt x="31" y="338"/>
                  </a:lnTo>
                  <a:lnTo>
                    <a:pt x="22" y="338"/>
                  </a:lnTo>
                  <a:lnTo>
                    <a:pt x="17" y="336"/>
                  </a:lnTo>
                  <a:lnTo>
                    <a:pt x="12" y="336"/>
                  </a:lnTo>
                  <a:lnTo>
                    <a:pt x="10" y="336"/>
                  </a:lnTo>
                  <a:lnTo>
                    <a:pt x="4" y="336"/>
                  </a:lnTo>
                  <a:lnTo>
                    <a:pt x="4" y="324"/>
                  </a:lnTo>
                  <a:lnTo>
                    <a:pt x="4" y="322"/>
                  </a:lnTo>
                  <a:lnTo>
                    <a:pt x="4" y="319"/>
                  </a:lnTo>
                  <a:lnTo>
                    <a:pt x="4" y="317"/>
                  </a:lnTo>
                  <a:lnTo>
                    <a:pt x="4" y="314"/>
                  </a:lnTo>
                  <a:lnTo>
                    <a:pt x="4" y="310"/>
                  </a:lnTo>
                  <a:lnTo>
                    <a:pt x="4" y="308"/>
                  </a:lnTo>
                  <a:lnTo>
                    <a:pt x="4" y="301"/>
                  </a:lnTo>
                  <a:lnTo>
                    <a:pt x="4" y="300"/>
                  </a:lnTo>
                  <a:lnTo>
                    <a:pt x="4" y="291"/>
                  </a:lnTo>
                  <a:lnTo>
                    <a:pt x="4" y="286"/>
                  </a:lnTo>
                  <a:lnTo>
                    <a:pt x="5" y="279"/>
                  </a:lnTo>
                  <a:lnTo>
                    <a:pt x="5" y="274"/>
                  </a:lnTo>
                  <a:lnTo>
                    <a:pt x="5" y="264"/>
                  </a:lnTo>
                  <a:lnTo>
                    <a:pt x="5" y="262"/>
                  </a:lnTo>
                  <a:lnTo>
                    <a:pt x="5" y="257"/>
                  </a:lnTo>
                  <a:lnTo>
                    <a:pt x="5" y="252"/>
                  </a:lnTo>
                  <a:lnTo>
                    <a:pt x="5" y="248"/>
                  </a:lnTo>
                  <a:lnTo>
                    <a:pt x="5" y="238"/>
                  </a:lnTo>
                  <a:lnTo>
                    <a:pt x="5" y="224"/>
                  </a:lnTo>
                  <a:lnTo>
                    <a:pt x="5" y="212"/>
                  </a:lnTo>
                  <a:lnTo>
                    <a:pt x="5" y="203"/>
                  </a:lnTo>
                  <a:lnTo>
                    <a:pt x="5" y="202"/>
                  </a:lnTo>
                  <a:lnTo>
                    <a:pt x="5" y="197"/>
                  </a:lnTo>
                  <a:lnTo>
                    <a:pt x="7" y="193"/>
                  </a:lnTo>
                  <a:lnTo>
                    <a:pt x="7" y="186"/>
                  </a:lnTo>
                  <a:lnTo>
                    <a:pt x="7" y="179"/>
                  </a:lnTo>
                  <a:lnTo>
                    <a:pt x="7" y="162"/>
                  </a:lnTo>
                  <a:lnTo>
                    <a:pt x="7" y="160"/>
                  </a:lnTo>
                  <a:lnTo>
                    <a:pt x="7" y="154"/>
                  </a:lnTo>
                  <a:lnTo>
                    <a:pt x="7" y="150"/>
                  </a:lnTo>
                  <a:lnTo>
                    <a:pt x="9" y="145"/>
                  </a:lnTo>
                  <a:lnTo>
                    <a:pt x="9" y="135"/>
                  </a:lnTo>
                  <a:lnTo>
                    <a:pt x="9" y="126"/>
                  </a:lnTo>
                  <a:lnTo>
                    <a:pt x="9" y="121"/>
                  </a:lnTo>
                  <a:lnTo>
                    <a:pt x="9" y="114"/>
                  </a:lnTo>
                  <a:lnTo>
                    <a:pt x="9" y="112"/>
                  </a:lnTo>
                  <a:lnTo>
                    <a:pt x="9" y="107"/>
                  </a:lnTo>
                  <a:lnTo>
                    <a:pt x="9" y="97"/>
                  </a:lnTo>
                  <a:lnTo>
                    <a:pt x="9" y="80"/>
                  </a:lnTo>
                  <a:lnTo>
                    <a:pt x="2" y="80"/>
                  </a:lnTo>
                  <a:lnTo>
                    <a:pt x="0" y="80"/>
                  </a:lnTo>
                  <a:lnTo>
                    <a:pt x="0" y="73"/>
                  </a:lnTo>
                  <a:lnTo>
                    <a:pt x="0" y="64"/>
                  </a:lnTo>
                  <a:lnTo>
                    <a:pt x="0" y="55"/>
                  </a:lnTo>
                  <a:lnTo>
                    <a:pt x="0" y="52"/>
                  </a:lnTo>
                  <a:lnTo>
                    <a:pt x="0" y="52"/>
                  </a:lnTo>
                  <a:lnTo>
                    <a:pt x="0" y="49"/>
                  </a:lnTo>
                  <a:lnTo>
                    <a:pt x="0" y="47"/>
                  </a:lnTo>
                  <a:lnTo>
                    <a:pt x="0" y="45"/>
                  </a:lnTo>
                  <a:lnTo>
                    <a:pt x="0" y="40"/>
                  </a:lnTo>
                  <a:lnTo>
                    <a:pt x="0" y="30"/>
                  </a:lnTo>
                  <a:lnTo>
                    <a:pt x="0" y="24"/>
                  </a:lnTo>
                  <a:lnTo>
                    <a:pt x="0" y="23"/>
                  </a:lnTo>
                  <a:lnTo>
                    <a:pt x="0" y="12"/>
                  </a:lnTo>
                  <a:lnTo>
                    <a:pt x="0" y="11"/>
                  </a:lnTo>
                  <a:lnTo>
                    <a:pt x="0" y="0"/>
                  </a:lnTo>
                  <a:lnTo>
                    <a:pt x="10" y="0"/>
                  </a:lnTo>
                  <a:lnTo>
                    <a:pt x="17" y="0"/>
                  </a:lnTo>
                  <a:lnTo>
                    <a:pt x="33" y="0"/>
                  </a:lnTo>
                  <a:lnTo>
                    <a:pt x="36" y="0"/>
                  </a:lnTo>
                  <a:lnTo>
                    <a:pt x="45" y="0"/>
                  </a:lnTo>
                  <a:lnTo>
                    <a:pt x="60" y="2"/>
                  </a:lnTo>
                  <a:lnTo>
                    <a:pt x="62" y="2"/>
                  </a:lnTo>
                  <a:lnTo>
                    <a:pt x="65" y="0"/>
                  </a:lnTo>
                  <a:lnTo>
                    <a:pt x="65" y="2"/>
                  </a:lnTo>
                  <a:lnTo>
                    <a:pt x="71" y="2"/>
                  </a:lnTo>
                  <a:lnTo>
                    <a:pt x="72" y="2"/>
                  </a:lnTo>
                  <a:lnTo>
                    <a:pt x="83" y="2"/>
                  </a:lnTo>
                  <a:lnTo>
                    <a:pt x="86" y="2"/>
                  </a:lnTo>
                  <a:lnTo>
                    <a:pt x="88" y="2"/>
                  </a:lnTo>
                  <a:lnTo>
                    <a:pt x="90" y="2"/>
                  </a:lnTo>
                  <a:lnTo>
                    <a:pt x="93" y="2"/>
                  </a:lnTo>
                  <a:lnTo>
                    <a:pt x="100" y="2"/>
                  </a:lnTo>
                  <a:lnTo>
                    <a:pt x="107" y="2"/>
                  </a:lnTo>
                  <a:lnTo>
                    <a:pt x="110" y="2"/>
                  </a:lnTo>
                  <a:lnTo>
                    <a:pt x="115" y="2"/>
                  </a:lnTo>
                  <a:lnTo>
                    <a:pt x="121" y="2"/>
                  </a:lnTo>
                  <a:lnTo>
                    <a:pt x="126" y="0"/>
                  </a:lnTo>
                  <a:lnTo>
                    <a:pt x="127" y="0"/>
                  </a:lnTo>
                  <a:lnTo>
                    <a:pt x="134" y="0"/>
                  </a:lnTo>
                  <a:lnTo>
                    <a:pt x="136" y="0"/>
                  </a:lnTo>
                  <a:lnTo>
                    <a:pt x="143" y="0"/>
                  </a:lnTo>
                  <a:lnTo>
                    <a:pt x="146" y="0"/>
                  </a:lnTo>
                  <a:lnTo>
                    <a:pt x="150" y="0"/>
                  </a:lnTo>
                  <a:lnTo>
                    <a:pt x="151" y="0"/>
                  </a:lnTo>
                  <a:lnTo>
                    <a:pt x="157" y="0"/>
                  </a:lnTo>
                  <a:lnTo>
                    <a:pt x="164" y="0"/>
                  </a:lnTo>
                  <a:lnTo>
                    <a:pt x="167" y="0"/>
                  </a:lnTo>
                  <a:lnTo>
                    <a:pt x="170" y="0"/>
                  </a:lnTo>
                  <a:lnTo>
                    <a:pt x="172" y="0"/>
                  </a:lnTo>
                  <a:lnTo>
                    <a:pt x="174" y="0"/>
                  </a:lnTo>
                  <a:lnTo>
                    <a:pt x="179" y="0"/>
                  </a:lnTo>
                  <a:lnTo>
                    <a:pt x="181" y="0"/>
                  </a:lnTo>
                  <a:lnTo>
                    <a:pt x="182" y="0"/>
                  </a:lnTo>
                  <a:lnTo>
                    <a:pt x="186" y="0"/>
                  </a:lnTo>
                  <a:lnTo>
                    <a:pt x="189" y="0"/>
                  </a:lnTo>
                  <a:lnTo>
                    <a:pt x="194" y="0"/>
                  </a:lnTo>
                  <a:lnTo>
                    <a:pt x="196" y="0"/>
                  </a:lnTo>
                  <a:lnTo>
                    <a:pt x="198" y="0"/>
                  </a:lnTo>
                  <a:lnTo>
                    <a:pt x="200" y="0"/>
                  </a:lnTo>
                  <a:lnTo>
                    <a:pt x="208" y="0"/>
                  </a:lnTo>
                  <a:lnTo>
                    <a:pt x="210" y="0"/>
                  </a:lnTo>
                  <a:lnTo>
                    <a:pt x="215" y="0"/>
                  </a:lnTo>
                  <a:lnTo>
                    <a:pt x="217" y="0"/>
                  </a:lnTo>
                  <a:lnTo>
                    <a:pt x="222" y="0"/>
                  </a:lnTo>
                  <a:lnTo>
                    <a:pt x="229" y="0"/>
                  </a:lnTo>
                  <a:lnTo>
                    <a:pt x="234" y="0"/>
                  </a:lnTo>
                  <a:lnTo>
                    <a:pt x="239" y="0"/>
                  </a:lnTo>
                  <a:lnTo>
                    <a:pt x="243" y="0"/>
                  </a:lnTo>
                  <a:lnTo>
                    <a:pt x="243" y="0"/>
                  </a:lnTo>
                  <a:lnTo>
                    <a:pt x="248" y="0"/>
                  </a:lnTo>
                  <a:lnTo>
                    <a:pt x="251" y="0"/>
                  </a:lnTo>
                  <a:lnTo>
                    <a:pt x="253" y="0"/>
                  </a:lnTo>
                  <a:lnTo>
                    <a:pt x="258" y="0"/>
                  </a:lnTo>
                  <a:lnTo>
                    <a:pt x="260" y="0"/>
                  </a:lnTo>
                  <a:lnTo>
                    <a:pt x="262" y="0"/>
                  </a:lnTo>
                  <a:lnTo>
                    <a:pt x="265" y="0"/>
                  </a:lnTo>
                  <a:lnTo>
                    <a:pt x="268"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89" name="Freeform 147"/>
            <p:cNvSpPr>
              <a:spLocks/>
            </p:cNvSpPr>
            <p:nvPr/>
          </p:nvSpPr>
          <p:spPr bwMode="auto">
            <a:xfrm>
              <a:off x="2744084" y="1276144"/>
              <a:ext cx="520700" cy="501650"/>
            </a:xfrm>
            <a:custGeom>
              <a:avLst/>
              <a:gdLst/>
              <a:ahLst/>
              <a:cxnLst>
                <a:cxn ang="0">
                  <a:pos x="283" y="12"/>
                </a:cxn>
                <a:cxn ang="0">
                  <a:pos x="283" y="22"/>
                </a:cxn>
                <a:cxn ang="0">
                  <a:pos x="288" y="24"/>
                </a:cxn>
                <a:cxn ang="0">
                  <a:pos x="287" y="34"/>
                </a:cxn>
                <a:cxn ang="0">
                  <a:pos x="287" y="53"/>
                </a:cxn>
                <a:cxn ang="0">
                  <a:pos x="282" y="65"/>
                </a:cxn>
                <a:cxn ang="0">
                  <a:pos x="287" y="74"/>
                </a:cxn>
                <a:cxn ang="0">
                  <a:pos x="285" y="82"/>
                </a:cxn>
                <a:cxn ang="0">
                  <a:pos x="287" y="93"/>
                </a:cxn>
                <a:cxn ang="0">
                  <a:pos x="288" y="103"/>
                </a:cxn>
                <a:cxn ang="0">
                  <a:pos x="294" y="106"/>
                </a:cxn>
                <a:cxn ang="0">
                  <a:pos x="299" y="111"/>
                </a:cxn>
                <a:cxn ang="0">
                  <a:pos x="299" y="117"/>
                </a:cxn>
                <a:cxn ang="0">
                  <a:pos x="301" y="123"/>
                </a:cxn>
                <a:cxn ang="0">
                  <a:pos x="302" y="127"/>
                </a:cxn>
                <a:cxn ang="0">
                  <a:pos x="301" y="132"/>
                </a:cxn>
                <a:cxn ang="0">
                  <a:pos x="299" y="142"/>
                </a:cxn>
                <a:cxn ang="0">
                  <a:pos x="294" y="154"/>
                </a:cxn>
                <a:cxn ang="0">
                  <a:pos x="287" y="156"/>
                </a:cxn>
                <a:cxn ang="0">
                  <a:pos x="301" y="168"/>
                </a:cxn>
                <a:cxn ang="0">
                  <a:pos x="304" y="173"/>
                </a:cxn>
                <a:cxn ang="0">
                  <a:pos x="316" y="177"/>
                </a:cxn>
                <a:cxn ang="0">
                  <a:pos x="318" y="185"/>
                </a:cxn>
                <a:cxn ang="0">
                  <a:pos x="316" y="199"/>
                </a:cxn>
                <a:cxn ang="0">
                  <a:pos x="318" y="211"/>
                </a:cxn>
                <a:cxn ang="0">
                  <a:pos x="319" y="228"/>
                </a:cxn>
                <a:cxn ang="0">
                  <a:pos x="319" y="239"/>
                </a:cxn>
                <a:cxn ang="0">
                  <a:pos x="326" y="247"/>
                </a:cxn>
                <a:cxn ang="0">
                  <a:pos x="323" y="258"/>
                </a:cxn>
                <a:cxn ang="0">
                  <a:pos x="319" y="270"/>
                </a:cxn>
                <a:cxn ang="0">
                  <a:pos x="325" y="282"/>
                </a:cxn>
                <a:cxn ang="0">
                  <a:pos x="309" y="289"/>
                </a:cxn>
                <a:cxn ang="0">
                  <a:pos x="304" y="304"/>
                </a:cxn>
                <a:cxn ang="0">
                  <a:pos x="280" y="314"/>
                </a:cxn>
                <a:cxn ang="0">
                  <a:pos x="251" y="309"/>
                </a:cxn>
                <a:cxn ang="0">
                  <a:pos x="235" y="296"/>
                </a:cxn>
                <a:cxn ang="0">
                  <a:pos x="227" y="282"/>
                </a:cxn>
                <a:cxn ang="0">
                  <a:pos x="208" y="285"/>
                </a:cxn>
                <a:cxn ang="0">
                  <a:pos x="199" y="271"/>
                </a:cxn>
                <a:cxn ang="0">
                  <a:pos x="196" y="252"/>
                </a:cxn>
                <a:cxn ang="0">
                  <a:pos x="177" y="249"/>
                </a:cxn>
                <a:cxn ang="0">
                  <a:pos x="159" y="230"/>
                </a:cxn>
                <a:cxn ang="0">
                  <a:pos x="139" y="215"/>
                </a:cxn>
                <a:cxn ang="0">
                  <a:pos x="130" y="196"/>
                </a:cxn>
                <a:cxn ang="0">
                  <a:pos x="108" y="182"/>
                </a:cxn>
                <a:cxn ang="0">
                  <a:pos x="89" y="184"/>
                </a:cxn>
                <a:cxn ang="0">
                  <a:pos x="75" y="170"/>
                </a:cxn>
                <a:cxn ang="0">
                  <a:pos x="80" y="154"/>
                </a:cxn>
                <a:cxn ang="0">
                  <a:pos x="91" y="142"/>
                </a:cxn>
                <a:cxn ang="0">
                  <a:pos x="91" y="122"/>
                </a:cxn>
                <a:cxn ang="0">
                  <a:pos x="84" y="105"/>
                </a:cxn>
                <a:cxn ang="0">
                  <a:pos x="68" y="93"/>
                </a:cxn>
                <a:cxn ang="0">
                  <a:pos x="51" y="72"/>
                </a:cxn>
                <a:cxn ang="0">
                  <a:pos x="41" y="56"/>
                </a:cxn>
                <a:cxn ang="0">
                  <a:pos x="48" y="34"/>
                </a:cxn>
                <a:cxn ang="0">
                  <a:pos x="39" y="13"/>
                </a:cxn>
                <a:cxn ang="0">
                  <a:pos x="15" y="10"/>
                </a:cxn>
                <a:cxn ang="0">
                  <a:pos x="8" y="0"/>
                </a:cxn>
                <a:cxn ang="0">
                  <a:pos x="58" y="1"/>
                </a:cxn>
                <a:cxn ang="0">
                  <a:pos x="120" y="5"/>
                </a:cxn>
                <a:cxn ang="0">
                  <a:pos x="189" y="6"/>
                </a:cxn>
              </a:cxnLst>
              <a:rect l="0" t="0" r="r" b="b"/>
              <a:pathLst>
                <a:path w="328" h="316">
                  <a:moveTo>
                    <a:pt x="220" y="8"/>
                  </a:moveTo>
                  <a:lnTo>
                    <a:pt x="230" y="8"/>
                  </a:lnTo>
                  <a:lnTo>
                    <a:pt x="237" y="8"/>
                  </a:lnTo>
                  <a:lnTo>
                    <a:pt x="242" y="10"/>
                  </a:lnTo>
                  <a:lnTo>
                    <a:pt x="249" y="10"/>
                  </a:lnTo>
                  <a:lnTo>
                    <a:pt x="251" y="10"/>
                  </a:lnTo>
                  <a:lnTo>
                    <a:pt x="252" y="10"/>
                  </a:lnTo>
                  <a:lnTo>
                    <a:pt x="254" y="10"/>
                  </a:lnTo>
                  <a:lnTo>
                    <a:pt x="264" y="10"/>
                  </a:lnTo>
                  <a:lnTo>
                    <a:pt x="275" y="10"/>
                  </a:lnTo>
                  <a:lnTo>
                    <a:pt x="278" y="10"/>
                  </a:lnTo>
                  <a:lnTo>
                    <a:pt x="285" y="10"/>
                  </a:lnTo>
                  <a:lnTo>
                    <a:pt x="283" y="12"/>
                  </a:lnTo>
                  <a:lnTo>
                    <a:pt x="283" y="12"/>
                  </a:lnTo>
                  <a:lnTo>
                    <a:pt x="285" y="12"/>
                  </a:lnTo>
                  <a:lnTo>
                    <a:pt x="287" y="12"/>
                  </a:lnTo>
                  <a:lnTo>
                    <a:pt x="287" y="13"/>
                  </a:lnTo>
                  <a:lnTo>
                    <a:pt x="287" y="15"/>
                  </a:lnTo>
                  <a:lnTo>
                    <a:pt x="285" y="15"/>
                  </a:lnTo>
                  <a:lnTo>
                    <a:pt x="283" y="15"/>
                  </a:lnTo>
                  <a:lnTo>
                    <a:pt x="282" y="15"/>
                  </a:lnTo>
                  <a:lnTo>
                    <a:pt x="282" y="17"/>
                  </a:lnTo>
                  <a:lnTo>
                    <a:pt x="282" y="19"/>
                  </a:lnTo>
                  <a:lnTo>
                    <a:pt x="283" y="19"/>
                  </a:lnTo>
                  <a:lnTo>
                    <a:pt x="283" y="20"/>
                  </a:lnTo>
                  <a:lnTo>
                    <a:pt x="283" y="22"/>
                  </a:lnTo>
                  <a:lnTo>
                    <a:pt x="283" y="24"/>
                  </a:lnTo>
                  <a:lnTo>
                    <a:pt x="285" y="24"/>
                  </a:lnTo>
                  <a:lnTo>
                    <a:pt x="285" y="25"/>
                  </a:lnTo>
                  <a:lnTo>
                    <a:pt x="287" y="25"/>
                  </a:lnTo>
                  <a:lnTo>
                    <a:pt x="287" y="24"/>
                  </a:lnTo>
                  <a:lnTo>
                    <a:pt x="287" y="22"/>
                  </a:lnTo>
                  <a:lnTo>
                    <a:pt x="285" y="22"/>
                  </a:lnTo>
                  <a:lnTo>
                    <a:pt x="285" y="20"/>
                  </a:lnTo>
                  <a:lnTo>
                    <a:pt x="287" y="20"/>
                  </a:lnTo>
                  <a:lnTo>
                    <a:pt x="287" y="20"/>
                  </a:lnTo>
                  <a:lnTo>
                    <a:pt x="287" y="22"/>
                  </a:lnTo>
                  <a:lnTo>
                    <a:pt x="287" y="24"/>
                  </a:lnTo>
                  <a:lnTo>
                    <a:pt x="288" y="24"/>
                  </a:lnTo>
                  <a:lnTo>
                    <a:pt x="288" y="25"/>
                  </a:lnTo>
                  <a:lnTo>
                    <a:pt x="290" y="25"/>
                  </a:lnTo>
                  <a:lnTo>
                    <a:pt x="290" y="25"/>
                  </a:lnTo>
                  <a:lnTo>
                    <a:pt x="292" y="25"/>
                  </a:lnTo>
                  <a:lnTo>
                    <a:pt x="292" y="27"/>
                  </a:lnTo>
                  <a:lnTo>
                    <a:pt x="290" y="27"/>
                  </a:lnTo>
                  <a:lnTo>
                    <a:pt x="290" y="29"/>
                  </a:lnTo>
                  <a:lnTo>
                    <a:pt x="290" y="31"/>
                  </a:lnTo>
                  <a:lnTo>
                    <a:pt x="288" y="31"/>
                  </a:lnTo>
                  <a:lnTo>
                    <a:pt x="288" y="32"/>
                  </a:lnTo>
                  <a:lnTo>
                    <a:pt x="287" y="32"/>
                  </a:lnTo>
                  <a:lnTo>
                    <a:pt x="287" y="34"/>
                  </a:lnTo>
                  <a:lnTo>
                    <a:pt x="287" y="34"/>
                  </a:lnTo>
                  <a:lnTo>
                    <a:pt x="287" y="36"/>
                  </a:lnTo>
                  <a:lnTo>
                    <a:pt x="287" y="37"/>
                  </a:lnTo>
                  <a:lnTo>
                    <a:pt x="287" y="39"/>
                  </a:lnTo>
                  <a:lnTo>
                    <a:pt x="287" y="41"/>
                  </a:lnTo>
                  <a:lnTo>
                    <a:pt x="287" y="41"/>
                  </a:lnTo>
                  <a:lnTo>
                    <a:pt x="287" y="43"/>
                  </a:lnTo>
                  <a:lnTo>
                    <a:pt x="287" y="44"/>
                  </a:lnTo>
                  <a:lnTo>
                    <a:pt x="287" y="46"/>
                  </a:lnTo>
                  <a:lnTo>
                    <a:pt x="287" y="48"/>
                  </a:lnTo>
                  <a:lnTo>
                    <a:pt x="287" y="49"/>
                  </a:lnTo>
                  <a:lnTo>
                    <a:pt x="287" y="49"/>
                  </a:lnTo>
                  <a:lnTo>
                    <a:pt x="287" y="51"/>
                  </a:lnTo>
                  <a:lnTo>
                    <a:pt x="287" y="53"/>
                  </a:lnTo>
                  <a:lnTo>
                    <a:pt x="287" y="53"/>
                  </a:lnTo>
                  <a:lnTo>
                    <a:pt x="285" y="53"/>
                  </a:lnTo>
                  <a:lnTo>
                    <a:pt x="285" y="55"/>
                  </a:lnTo>
                  <a:lnTo>
                    <a:pt x="285" y="56"/>
                  </a:lnTo>
                  <a:lnTo>
                    <a:pt x="285" y="56"/>
                  </a:lnTo>
                  <a:lnTo>
                    <a:pt x="283" y="56"/>
                  </a:lnTo>
                  <a:lnTo>
                    <a:pt x="283" y="58"/>
                  </a:lnTo>
                  <a:lnTo>
                    <a:pt x="282" y="60"/>
                  </a:lnTo>
                  <a:lnTo>
                    <a:pt x="283" y="60"/>
                  </a:lnTo>
                  <a:lnTo>
                    <a:pt x="282" y="62"/>
                  </a:lnTo>
                  <a:lnTo>
                    <a:pt x="283" y="63"/>
                  </a:lnTo>
                  <a:lnTo>
                    <a:pt x="282" y="63"/>
                  </a:lnTo>
                  <a:lnTo>
                    <a:pt x="282" y="65"/>
                  </a:lnTo>
                  <a:lnTo>
                    <a:pt x="282" y="67"/>
                  </a:lnTo>
                  <a:lnTo>
                    <a:pt x="283" y="67"/>
                  </a:lnTo>
                  <a:lnTo>
                    <a:pt x="283" y="68"/>
                  </a:lnTo>
                  <a:lnTo>
                    <a:pt x="283" y="70"/>
                  </a:lnTo>
                  <a:lnTo>
                    <a:pt x="283" y="72"/>
                  </a:lnTo>
                  <a:lnTo>
                    <a:pt x="283" y="72"/>
                  </a:lnTo>
                  <a:lnTo>
                    <a:pt x="285" y="72"/>
                  </a:lnTo>
                  <a:lnTo>
                    <a:pt x="287" y="72"/>
                  </a:lnTo>
                  <a:lnTo>
                    <a:pt x="287" y="74"/>
                  </a:lnTo>
                  <a:lnTo>
                    <a:pt x="285" y="74"/>
                  </a:lnTo>
                  <a:lnTo>
                    <a:pt x="285" y="75"/>
                  </a:lnTo>
                  <a:lnTo>
                    <a:pt x="287" y="75"/>
                  </a:lnTo>
                  <a:lnTo>
                    <a:pt x="287" y="74"/>
                  </a:lnTo>
                  <a:lnTo>
                    <a:pt x="287" y="74"/>
                  </a:lnTo>
                  <a:lnTo>
                    <a:pt x="287" y="75"/>
                  </a:lnTo>
                  <a:lnTo>
                    <a:pt x="287" y="77"/>
                  </a:lnTo>
                  <a:lnTo>
                    <a:pt x="288" y="77"/>
                  </a:lnTo>
                  <a:lnTo>
                    <a:pt x="288" y="79"/>
                  </a:lnTo>
                  <a:lnTo>
                    <a:pt x="287" y="79"/>
                  </a:lnTo>
                  <a:lnTo>
                    <a:pt x="287" y="80"/>
                  </a:lnTo>
                  <a:lnTo>
                    <a:pt x="287" y="80"/>
                  </a:lnTo>
                  <a:lnTo>
                    <a:pt x="287" y="82"/>
                  </a:lnTo>
                  <a:lnTo>
                    <a:pt x="287" y="82"/>
                  </a:lnTo>
                  <a:lnTo>
                    <a:pt x="287" y="80"/>
                  </a:lnTo>
                  <a:lnTo>
                    <a:pt x="285" y="80"/>
                  </a:lnTo>
                  <a:lnTo>
                    <a:pt x="285" y="82"/>
                  </a:lnTo>
                  <a:lnTo>
                    <a:pt x="285" y="84"/>
                  </a:lnTo>
                  <a:lnTo>
                    <a:pt x="287" y="84"/>
                  </a:lnTo>
                  <a:lnTo>
                    <a:pt x="287" y="84"/>
                  </a:lnTo>
                  <a:lnTo>
                    <a:pt x="287" y="86"/>
                  </a:lnTo>
                  <a:lnTo>
                    <a:pt x="287" y="87"/>
                  </a:lnTo>
                  <a:lnTo>
                    <a:pt x="288" y="87"/>
                  </a:lnTo>
                  <a:lnTo>
                    <a:pt x="288" y="87"/>
                  </a:lnTo>
                  <a:lnTo>
                    <a:pt x="287" y="87"/>
                  </a:lnTo>
                  <a:lnTo>
                    <a:pt x="287" y="89"/>
                  </a:lnTo>
                  <a:lnTo>
                    <a:pt x="288" y="91"/>
                  </a:lnTo>
                  <a:lnTo>
                    <a:pt x="287" y="91"/>
                  </a:lnTo>
                  <a:lnTo>
                    <a:pt x="287" y="93"/>
                  </a:lnTo>
                  <a:lnTo>
                    <a:pt x="287" y="93"/>
                  </a:lnTo>
                  <a:lnTo>
                    <a:pt x="287" y="94"/>
                  </a:lnTo>
                  <a:lnTo>
                    <a:pt x="287" y="94"/>
                  </a:lnTo>
                  <a:lnTo>
                    <a:pt x="288" y="94"/>
                  </a:lnTo>
                  <a:lnTo>
                    <a:pt x="288" y="96"/>
                  </a:lnTo>
                  <a:lnTo>
                    <a:pt x="288" y="98"/>
                  </a:lnTo>
                  <a:lnTo>
                    <a:pt x="287" y="98"/>
                  </a:lnTo>
                  <a:lnTo>
                    <a:pt x="287" y="96"/>
                  </a:lnTo>
                  <a:lnTo>
                    <a:pt x="288" y="99"/>
                  </a:lnTo>
                  <a:lnTo>
                    <a:pt x="288" y="101"/>
                  </a:lnTo>
                  <a:lnTo>
                    <a:pt x="287" y="101"/>
                  </a:lnTo>
                  <a:lnTo>
                    <a:pt x="287" y="101"/>
                  </a:lnTo>
                  <a:lnTo>
                    <a:pt x="288" y="101"/>
                  </a:lnTo>
                  <a:lnTo>
                    <a:pt x="288" y="103"/>
                  </a:lnTo>
                  <a:lnTo>
                    <a:pt x="287" y="103"/>
                  </a:lnTo>
                  <a:lnTo>
                    <a:pt x="288" y="103"/>
                  </a:lnTo>
                  <a:lnTo>
                    <a:pt x="288" y="105"/>
                  </a:lnTo>
                  <a:lnTo>
                    <a:pt x="288" y="103"/>
                  </a:lnTo>
                  <a:lnTo>
                    <a:pt x="290" y="103"/>
                  </a:lnTo>
                  <a:lnTo>
                    <a:pt x="290" y="101"/>
                  </a:lnTo>
                  <a:lnTo>
                    <a:pt x="292" y="101"/>
                  </a:lnTo>
                  <a:lnTo>
                    <a:pt x="292" y="103"/>
                  </a:lnTo>
                  <a:lnTo>
                    <a:pt x="292" y="105"/>
                  </a:lnTo>
                  <a:lnTo>
                    <a:pt x="290" y="105"/>
                  </a:lnTo>
                  <a:lnTo>
                    <a:pt x="290" y="106"/>
                  </a:lnTo>
                  <a:lnTo>
                    <a:pt x="292" y="106"/>
                  </a:lnTo>
                  <a:lnTo>
                    <a:pt x="294" y="106"/>
                  </a:lnTo>
                  <a:lnTo>
                    <a:pt x="294" y="105"/>
                  </a:lnTo>
                  <a:lnTo>
                    <a:pt x="294" y="103"/>
                  </a:lnTo>
                  <a:lnTo>
                    <a:pt x="295" y="103"/>
                  </a:lnTo>
                  <a:lnTo>
                    <a:pt x="295" y="105"/>
                  </a:lnTo>
                  <a:lnTo>
                    <a:pt x="295" y="106"/>
                  </a:lnTo>
                  <a:lnTo>
                    <a:pt x="294" y="106"/>
                  </a:lnTo>
                  <a:lnTo>
                    <a:pt x="292" y="108"/>
                  </a:lnTo>
                  <a:lnTo>
                    <a:pt x="294" y="108"/>
                  </a:lnTo>
                  <a:lnTo>
                    <a:pt x="295" y="108"/>
                  </a:lnTo>
                  <a:lnTo>
                    <a:pt x="297" y="108"/>
                  </a:lnTo>
                  <a:lnTo>
                    <a:pt x="297" y="110"/>
                  </a:lnTo>
                  <a:lnTo>
                    <a:pt x="299" y="110"/>
                  </a:lnTo>
                  <a:lnTo>
                    <a:pt x="299" y="111"/>
                  </a:lnTo>
                  <a:lnTo>
                    <a:pt x="299" y="113"/>
                  </a:lnTo>
                  <a:lnTo>
                    <a:pt x="297" y="111"/>
                  </a:lnTo>
                  <a:lnTo>
                    <a:pt x="295" y="111"/>
                  </a:lnTo>
                  <a:lnTo>
                    <a:pt x="295" y="113"/>
                  </a:lnTo>
                  <a:lnTo>
                    <a:pt x="297" y="113"/>
                  </a:lnTo>
                  <a:lnTo>
                    <a:pt x="299" y="113"/>
                  </a:lnTo>
                  <a:lnTo>
                    <a:pt x="301" y="113"/>
                  </a:lnTo>
                  <a:lnTo>
                    <a:pt x="301" y="113"/>
                  </a:lnTo>
                  <a:lnTo>
                    <a:pt x="301" y="113"/>
                  </a:lnTo>
                  <a:lnTo>
                    <a:pt x="301" y="115"/>
                  </a:lnTo>
                  <a:lnTo>
                    <a:pt x="299" y="113"/>
                  </a:lnTo>
                  <a:lnTo>
                    <a:pt x="299" y="115"/>
                  </a:lnTo>
                  <a:lnTo>
                    <a:pt x="299" y="117"/>
                  </a:lnTo>
                  <a:lnTo>
                    <a:pt x="301" y="117"/>
                  </a:lnTo>
                  <a:lnTo>
                    <a:pt x="299" y="117"/>
                  </a:lnTo>
                  <a:lnTo>
                    <a:pt x="299" y="117"/>
                  </a:lnTo>
                  <a:lnTo>
                    <a:pt x="299" y="118"/>
                  </a:lnTo>
                  <a:lnTo>
                    <a:pt x="299" y="117"/>
                  </a:lnTo>
                  <a:lnTo>
                    <a:pt x="297" y="118"/>
                  </a:lnTo>
                  <a:lnTo>
                    <a:pt x="299" y="120"/>
                  </a:lnTo>
                  <a:lnTo>
                    <a:pt x="301" y="120"/>
                  </a:lnTo>
                  <a:lnTo>
                    <a:pt x="301" y="122"/>
                  </a:lnTo>
                  <a:lnTo>
                    <a:pt x="301" y="122"/>
                  </a:lnTo>
                  <a:lnTo>
                    <a:pt x="302" y="122"/>
                  </a:lnTo>
                  <a:lnTo>
                    <a:pt x="302" y="123"/>
                  </a:lnTo>
                  <a:lnTo>
                    <a:pt x="301" y="123"/>
                  </a:lnTo>
                  <a:lnTo>
                    <a:pt x="301" y="123"/>
                  </a:lnTo>
                  <a:lnTo>
                    <a:pt x="299" y="123"/>
                  </a:lnTo>
                  <a:lnTo>
                    <a:pt x="299" y="125"/>
                  </a:lnTo>
                  <a:lnTo>
                    <a:pt x="301" y="125"/>
                  </a:lnTo>
                  <a:lnTo>
                    <a:pt x="301" y="127"/>
                  </a:lnTo>
                  <a:lnTo>
                    <a:pt x="301" y="127"/>
                  </a:lnTo>
                  <a:lnTo>
                    <a:pt x="301" y="129"/>
                  </a:lnTo>
                  <a:lnTo>
                    <a:pt x="302" y="129"/>
                  </a:lnTo>
                  <a:lnTo>
                    <a:pt x="302" y="127"/>
                  </a:lnTo>
                  <a:lnTo>
                    <a:pt x="301" y="127"/>
                  </a:lnTo>
                  <a:lnTo>
                    <a:pt x="301" y="125"/>
                  </a:lnTo>
                  <a:lnTo>
                    <a:pt x="302" y="125"/>
                  </a:lnTo>
                  <a:lnTo>
                    <a:pt x="302" y="127"/>
                  </a:lnTo>
                  <a:lnTo>
                    <a:pt x="304" y="127"/>
                  </a:lnTo>
                  <a:lnTo>
                    <a:pt x="302" y="127"/>
                  </a:lnTo>
                  <a:lnTo>
                    <a:pt x="302" y="129"/>
                  </a:lnTo>
                  <a:lnTo>
                    <a:pt x="301" y="129"/>
                  </a:lnTo>
                  <a:lnTo>
                    <a:pt x="301" y="130"/>
                  </a:lnTo>
                  <a:lnTo>
                    <a:pt x="301" y="132"/>
                  </a:lnTo>
                  <a:lnTo>
                    <a:pt x="301" y="130"/>
                  </a:lnTo>
                  <a:lnTo>
                    <a:pt x="299" y="130"/>
                  </a:lnTo>
                  <a:lnTo>
                    <a:pt x="299" y="132"/>
                  </a:lnTo>
                  <a:lnTo>
                    <a:pt x="297" y="132"/>
                  </a:lnTo>
                  <a:lnTo>
                    <a:pt x="297" y="132"/>
                  </a:lnTo>
                  <a:lnTo>
                    <a:pt x="299" y="132"/>
                  </a:lnTo>
                  <a:lnTo>
                    <a:pt x="301" y="132"/>
                  </a:lnTo>
                  <a:lnTo>
                    <a:pt x="301" y="134"/>
                  </a:lnTo>
                  <a:lnTo>
                    <a:pt x="301" y="134"/>
                  </a:lnTo>
                  <a:lnTo>
                    <a:pt x="299" y="134"/>
                  </a:lnTo>
                  <a:lnTo>
                    <a:pt x="297" y="134"/>
                  </a:lnTo>
                  <a:lnTo>
                    <a:pt x="297" y="136"/>
                  </a:lnTo>
                  <a:lnTo>
                    <a:pt x="299" y="136"/>
                  </a:lnTo>
                  <a:lnTo>
                    <a:pt x="301" y="136"/>
                  </a:lnTo>
                  <a:lnTo>
                    <a:pt x="299" y="137"/>
                  </a:lnTo>
                  <a:lnTo>
                    <a:pt x="299" y="139"/>
                  </a:lnTo>
                  <a:lnTo>
                    <a:pt x="301" y="139"/>
                  </a:lnTo>
                  <a:lnTo>
                    <a:pt x="301" y="141"/>
                  </a:lnTo>
                  <a:lnTo>
                    <a:pt x="299" y="141"/>
                  </a:lnTo>
                  <a:lnTo>
                    <a:pt x="299" y="142"/>
                  </a:lnTo>
                  <a:lnTo>
                    <a:pt x="297" y="142"/>
                  </a:lnTo>
                  <a:lnTo>
                    <a:pt x="299" y="144"/>
                  </a:lnTo>
                  <a:lnTo>
                    <a:pt x="297" y="146"/>
                  </a:lnTo>
                  <a:lnTo>
                    <a:pt x="299" y="146"/>
                  </a:lnTo>
                  <a:lnTo>
                    <a:pt x="299" y="148"/>
                  </a:lnTo>
                  <a:lnTo>
                    <a:pt x="299" y="148"/>
                  </a:lnTo>
                  <a:lnTo>
                    <a:pt x="297" y="148"/>
                  </a:lnTo>
                  <a:lnTo>
                    <a:pt x="297" y="149"/>
                  </a:lnTo>
                  <a:lnTo>
                    <a:pt x="295" y="151"/>
                  </a:lnTo>
                  <a:lnTo>
                    <a:pt x="294" y="151"/>
                  </a:lnTo>
                  <a:lnTo>
                    <a:pt x="295" y="153"/>
                  </a:lnTo>
                  <a:lnTo>
                    <a:pt x="295" y="154"/>
                  </a:lnTo>
                  <a:lnTo>
                    <a:pt x="294" y="154"/>
                  </a:lnTo>
                  <a:lnTo>
                    <a:pt x="294" y="153"/>
                  </a:lnTo>
                  <a:lnTo>
                    <a:pt x="292" y="153"/>
                  </a:lnTo>
                  <a:lnTo>
                    <a:pt x="292" y="151"/>
                  </a:lnTo>
                  <a:lnTo>
                    <a:pt x="292" y="153"/>
                  </a:lnTo>
                  <a:lnTo>
                    <a:pt x="292" y="154"/>
                  </a:lnTo>
                  <a:lnTo>
                    <a:pt x="292" y="156"/>
                  </a:lnTo>
                  <a:lnTo>
                    <a:pt x="290" y="156"/>
                  </a:lnTo>
                  <a:lnTo>
                    <a:pt x="290" y="154"/>
                  </a:lnTo>
                  <a:lnTo>
                    <a:pt x="288" y="153"/>
                  </a:lnTo>
                  <a:lnTo>
                    <a:pt x="287" y="153"/>
                  </a:lnTo>
                  <a:lnTo>
                    <a:pt x="287" y="154"/>
                  </a:lnTo>
                  <a:lnTo>
                    <a:pt x="288" y="156"/>
                  </a:lnTo>
                  <a:lnTo>
                    <a:pt x="287" y="156"/>
                  </a:lnTo>
                  <a:lnTo>
                    <a:pt x="287" y="158"/>
                  </a:lnTo>
                  <a:lnTo>
                    <a:pt x="287" y="160"/>
                  </a:lnTo>
                  <a:lnTo>
                    <a:pt x="287" y="161"/>
                  </a:lnTo>
                  <a:lnTo>
                    <a:pt x="288" y="161"/>
                  </a:lnTo>
                  <a:lnTo>
                    <a:pt x="290" y="161"/>
                  </a:lnTo>
                  <a:lnTo>
                    <a:pt x="292" y="161"/>
                  </a:lnTo>
                  <a:lnTo>
                    <a:pt x="294" y="161"/>
                  </a:lnTo>
                  <a:lnTo>
                    <a:pt x="295" y="161"/>
                  </a:lnTo>
                  <a:lnTo>
                    <a:pt x="297" y="161"/>
                  </a:lnTo>
                  <a:lnTo>
                    <a:pt x="299" y="163"/>
                  </a:lnTo>
                  <a:lnTo>
                    <a:pt x="301" y="165"/>
                  </a:lnTo>
                  <a:lnTo>
                    <a:pt x="301" y="166"/>
                  </a:lnTo>
                  <a:lnTo>
                    <a:pt x="301" y="168"/>
                  </a:lnTo>
                  <a:lnTo>
                    <a:pt x="301" y="170"/>
                  </a:lnTo>
                  <a:lnTo>
                    <a:pt x="301" y="170"/>
                  </a:lnTo>
                  <a:lnTo>
                    <a:pt x="301" y="172"/>
                  </a:lnTo>
                  <a:lnTo>
                    <a:pt x="301" y="172"/>
                  </a:lnTo>
                  <a:lnTo>
                    <a:pt x="301" y="173"/>
                  </a:lnTo>
                  <a:lnTo>
                    <a:pt x="301" y="173"/>
                  </a:lnTo>
                  <a:lnTo>
                    <a:pt x="302" y="173"/>
                  </a:lnTo>
                  <a:lnTo>
                    <a:pt x="301" y="175"/>
                  </a:lnTo>
                  <a:lnTo>
                    <a:pt x="301" y="177"/>
                  </a:lnTo>
                  <a:lnTo>
                    <a:pt x="302" y="177"/>
                  </a:lnTo>
                  <a:lnTo>
                    <a:pt x="302" y="175"/>
                  </a:lnTo>
                  <a:lnTo>
                    <a:pt x="302" y="173"/>
                  </a:lnTo>
                  <a:lnTo>
                    <a:pt x="304" y="173"/>
                  </a:lnTo>
                  <a:lnTo>
                    <a:pt x="306" y="173"/>
                  </a:lnTo>
                  <a:lnTo>
                    <a:pt x="307" y="173"/>
                  </a:lnTo>
                  <a:lnTo>
                    <a:pt x="307" y="172"/>
                  </a:lnTo>
                  <a:lnTo>
                    <a:pt x="309" y="172"/>
                  </a:lnTo>
                  <a:lnTo>
                    <a:pt x="311" y="172"/>
                  </a:lnTo>
                  <a:lnTo>
                    <a:pt x="313" y="172"/>
                  </a:lnTo>
                  <a:lnTo>
                    <a:pt x="313" y="173"/>
                  </a:lnTo>
                  <a:lnTo>
                    <a:pt x="314" y="173"/>
                  </a:lnTo>
                  <a:lnTo>
                    <a:pt x="316" y="173"/>
                  </a:lnTo>
                  <a:lnTo>
                    <a:pt x="316" y="175"/>
                  </a:lnTo>
                  <a:lnTo>
                    <a:pt x="316" y="175"/>
                  </a:lnTo>
                  <a:lnTo>
                    <a:pt x="316" y="177"/>
                  </a:lnTo>
                  <a:lnTo>
                    <a:pt x="316" y="177"/>
                  </a:lnTo>
                  <a:lnTo>
                    <a:pt x="314" y="177"/>
                  </a:lnTo>
                  <a:lnTo>
                    <a:pt x="314" y="177"/>
                  </a:lnTo>
                  <a:lnTo>
                    <a:pt x="313" y="177"/>
                  </a:lnTo>
                  <a:lnTo>
                    <a:pt x="313" y="179"/>
                  </a:lnTo>
                  <a:lnTo>
                    <a:pt x="314" y="179"/>
                  </a:lnTo>
                  <a:lnTo>
                    <a:pt x="316" y="179"/>
                  </a:lnTo>
                  <a:lnTo>
                    <a:pt x="316" y="179"/>
                  </a:lnTo>
                  <a:lnTo>
                    <a:pt x="316" y="180"/>
                  </a:lnTo>
                  <a:lnTo>
                    <a:pt x="316" y="182"/>
                  </a:lnTo>
                  <a:lnTo>
                    <a:pt x="316" y="184"/>
                  </a:lnTo>
                  <a:lnTo>
                    <a:pt x="316" y="184"/>
                  </a:lnTo>
                  <a:lnTo>
                    <a:pt x="318" y="184"/>
                  </a:lnTo>
                  <a:lnTo>
                    <a:pt x="318" y="185"/>
                  </a:lnTo>
                  <a:lnTo>
                    <a:pt x="316" y="185"/>
                  </a:lnTo>
                  <a:lnTo>
                    <a:pt x="316" y="187"/>
                  </a:lnTo>
                  <a:lnTo>
                    <a:pt x="316" y="189"/>
                  </a:lnTo>
                  <a:lnTo>
                    <a:pt x="318" y="189"/>
                  </a:lnTo>
                  <a:lnTo>
                    <a:pt x="319" y="191"/>
                  </a:lnTo>
                  <a:lnTo>
                    <a:pt x="319" y="192"/>
                  </a:lnTo>
                  <a:lnTo>
                    <a:pt x="318" y="192"/>
                  </a:lnTo>
                  <a:lnTo>
                    <a:pt x="316" y="192"/>
                  </a:lnTo>
                  <a:lnTo>
                    <a:pt x="316" y="192"/>
                  </a:lnTo>
                  <a:lnTo>
                    <a:pt x="316" y="194"/>
                  </a:lnTo>
                  <a:lnTo>
                    <a:pt x="316" y="196"/>
                  </a:lnTo>
                  <a:lnTo>
                    <a:pt x="316" y="197"/>
                  </a:lnTo>
                  <a:lnTo>
                    <a:pt x="316" y="199"/>
                  </a:lnTo>
                  <a:lnTo>
                    <a:pt x="316" y="201"/>
                  </a:lnTo>
                  <a:lnTo>
                    <a:pt x="316" y="203"/>
                  </a:lnTo>
                  <a:lnTo>
                    <a:pt x="316" y="203"/>
                  </a:lnTo>
                  <a:lnTo>
                    <a:pt x="316" y="203"/>
                  </a:lnTo>
                  <a:lnTo>
                    <a:pt x="316" y="204"/>
                  </a:lnTo>
                  <a:lnTo>
                    <a:pt x="316" y="204"/>
                  </a:lnTo>
                  <a:lnTo>
                    <a:pt x="316" y="206"/>
                  </a:lnTo>
                  <a:lnTo>
                    <a:pt x="316" y="206"/>
                  </a:lnTo>
                  <a:lnTo>
                    <a:pt x="316" y="208"/>
                  </a:lnTo>
                  <a:lnTo>
                    <a:pt x="316" y="208"/>
                  </a:lnTo>
                  <a:lnTo>
                    <a:pt x="316" y="209"/>
                  </a:lnTo>
                  <a:lnTo>
                    <a:pt x="316" y="211"/>
                  </a:lnTo>
                  <a:lnTo>
                    <a:pt x="318" y="211"/>
                  </a:lnTo>
                  <a:lnTo>
                    <a:pt x="318" y="213"/>
                  </a:lnTo>
                  <a:lnTo>
                    <a:pt x="319" y="213"/>
                  </a:lnTo>
                  <a:lnTo>
                    <a:pt x="319" y="215"/>
                  </a:lnTo>
                  <a:lnTo>
                    <a:pt x="318" y="215"/>
                  </a:lnTo>
                  <a:lnTo>
                    <a:pt x="318" y="216"/>
                  </a:lnTo>
                  <a:lnTo>
                    <a:pt x="318" y="218"/>
                  </a:lnTo>
                  <a:lnTo>
                    <a:pt x="318" y="220"/>
                  </a:lnTo>
                  <a:lnTo>
                    <a:pt x="318" y="222"/>
                  </a:lnTo>
                  <a:lnTo>
                    <a:pt x="318" y="222"/>
                  </a:lnTo>
                  <a:lnTo>
                    <a:pt x="318" y="223"/>
                  </a:lnTo>
                  <a:lnTo>
                    <a:pt x="318" y="225"/>
                  </a:lnTo>
                  <a:lnTo>
                    <a:pt x="318" y="227"/>
                  </a:lnTo>
                  <a:lnTo>
                    <a:pt x="319" y="228"/>
                  </a:lnTo>
                  <a:lnTo>
                    <a:pt x="321" y="230"/>
                  </a:lnTo>
                  <a:lnTo>
                    <a:pt x="323" y="232"/>
                  </a:lnTo>
                  <a:lnTo>
                    <a:pt x="323" y="234"/>
                  </a:lnTo>
                  <a:lnTo>
                    <a:pt x="325" y="234"/>
                  </a:lnTo>
                  <a:lnTo>
                    <a:pt x="325" y="235"/>
                  </a:lnTo>
                  <a:lnTo>
                    <a:pt x="325" y="237"/>
                  </a:lnTo>
                  <a:lnTo>
                    <a:pt x="325" y="235"/>
                  </a:lnTo>
                  <a:lnTo>
                    <a:pt x="323" y="235"/>
                  </a:lnTo>
                  <a:lnTo>
                    <a:pt x="323" y="237"/>
                  </a:lnTo>
                  <a:lnTo>
                    <a:pt x="321" y="237"/>
                  </a:lnTo>
                  <a:lnTo>
                    <a:pt x="321" y="237"/>
                  </a:lnTo>
                  <a:lnTo>
                    <a:pt x="321" y="239"/>
                  </a:lnTo>
                  <a:lnTo>
                    <a:pt x="319" y="239"/>
                  </a:lnTo>
                  <a:lnTo>
                    <a:pt x="319" y="240"/>
                  </a:lnTo>
                  <a:lnTo>
                    <a:pt x="319" y="242"/>
                  </a:lnTo>
                  <a:lnTo>
                    <a:pt x="318" y="242"/>
                  </a:lnTo>
                  <a:lnTo>
                    <a:pt x="319" y="244"/>
                  </a:lnTo>
                  <a:lnTo>
                    <a:pt x="321" y="244"/>
                  </a:lnTo>
                  <a:lnTo>
                    <a:pt x="321" y="242"/>
                  </a:lnTo>
                  <a:lnTo>
                    <a:pt x="323" y="240"/>
                  </a:lnTo>
                  <a:lnTo>
                    <a:pt x="323" y="242"/>
                  </a:lnTo>
                  <a:lnTo>
                    <a:pt x="323" y="244"/>
                  </a:lnTo>
                  <a:lnTo>
                    <a:pt x="323" y="246"/>
                  </a:lnTo>
                  <a:lnTo>
                    <a:pt x="325" y="246"/>
                  </a:lnTo>
                  <a:lnTo>
                    <a:pt x="326" y="246"/>
                  </a:lnTo>
                  <a:lnTo>
                    <a:pt x="326" y="247"/>
                  </a:lnTo>
                  <a:lnTo>
                    <a:pt x="326" y="249"/>
                  </a:lnTo>
                  <a:lnTo>
                    <a:pt x="326" y="251"/>
                  </a:lnTo>
                  <a:lnTo>
                    <a:pt x="325" y="252"/>
                  </a:lnTo>
                  <a:lnTo>
                    <a:pt x="323" y="252"/>
                  </a:lnTo>
                  <a:lnTo>
                    <a:pt x="323" y="252"/>
                  </a:lnTo>
                  <a:lnTo>
                    <a:pt x="325" y="252"/>
                  </a:lnTo>
                  <a:lnTo>
                    <a:pt x="325" y="252"/>
                  </a:lnTo>
                  <a:lnTo>
                    <a:pt x="326" y="252"/>
                  </a:lnTo>
                  <a:lnTo>
                    <a:pt x="326" y="252"/>
                  </a:lnTo>
                  <a:lnTo>
                    <a:pt x="328" y="252"/>
                  </a:lnTo>
                  <a:lnTo>
                    <a:pt x="328" y="254"/>
                  </a:lnTo>
                  <a:lnTo>
                    <a:pt x="325" y="256"/>
                  </a:lnTo>
                  <a:lnTo>
                    <a:pt x="323" y="258"/>
                  </a:lnTo>
                  <a:lnTo>
                    <a:pt x="323" y="259"/>
                  </a:lnTo>
                  <a:lnTo>
                    <a:pt x="321" y="259"/>
                  </a:lnTo>
                  <a:lnTo>
                    <a:pt x="321" y="261"/>
                  </a:lnTo>
                  <a:lnTo>
                    <a:pt x="319" y="261"/>
                  </a:lnTo>
                  <a:lnTo>
                    <a:pt x="319" y="263"/>
                  </a:lnTo>
                  <a:lnTo>
                    <a:pt x="318" y="263"/>
                  </a:lnTo>
                  <a:lnTo>
                    <a:pt x="318" y="265"/>
                  </a:lnTo>
                  <a:lnTo>
                    <a:pt x="318" y="266"/>
                  </a:lnTo>
                  <a:lnTo>
                    <a:pt x="316" y="266"/>
                  </a:lnTo>
                  <a:lnTo>
                    <a:pt x="316" y="268"/>
                  </a:lnTo>
                  <a:lnTo>
                    <a:pt x="318" y="268"/>
                  </a:lnTo>
                  <a:lnTo>
                    <a:pt x="318" y="268"/>
                  </a:lnTo>
                  <a:lnTo>
                    <a:pt x="319" y="270"/>
                  </a:lnTo>
                  <a:lnTo>
                    <a:pt x="318" y="270"/>
                  </a:lnTo>
                  <a:lnTo>
                    <a:pt x="318" y="271"/>
                  </a:lnTo>
                  <a:lnTo>
                    <a:pt x="318" y="270"/>
                  </a:lnTo>
                  <a:lnTo>
                    <a:pt x="316" y="270"/>
                  </a:lnTo>
                  <a:lnTo>
                    <a:pt x="316" y="271"/>
                  </a:lnTo>
                  <a:lnTo>
                    <a:pt x="318" y="273"/>
                  </a:lnTo>
                  <a:lnTo>
                    <a:pt x="319" y="275"/>
                  </a:lnTo>
                  <a:lnTo>
                    <a:pt x="321" y="275"/>
                  </a:lnTo>
                  <a:lnTo>
                    <a:pt x="321" y="277"/>
                  </a:lnTo>
                  <a:lnTo>
                    <a:pt x="323" y="277"/>
                  </a:lnTo>
                  <a:lnTo>
                    <a:pt x="325" y="277"/>
                  </a:lnTo>
                  <a:lnTo>
                    <a:pt x="325" y="280"/>
                  </a:lnTo>
                  <a:lnTo>
                    <a:pt x="325" y="282"/>
                  </a:lnTo>
                  <a:lnTo>
                    <a:pt x="325" y="289"/>
                  </a:lnTo>
                  <a:lnTo>
                    <a:pt x="323" y="290"/>
                  </a:lnTo>
                  <a:lnTo>
                    <a:pt x="323" y="289"/>
                  </a:lnTo>
                  <a:lnTo>
                    <a:pt x="321" y="289"/>
                  </a:lnTo>
                  <a:lnTo>
                    <a:pt x="319" y="289"/>
                  </a:lnTo>
                  <a:lnTo>
                    <a:pt x="318" y="289"/>
                  </a:lnTo>
                  <a:lnTo>
                    <a:pt x="318" y="287"/>
                  </a:lnTo>
                  <a:lnTo>
                    <a:pt x="316" y="287"/>
                  </a:lnTo>
                  <a:lnTo>
                    <a:pt x="316" y="287"/>
                  </a:lnTo>
                  <a:lnTo>
                    <a:pt x="314" y="287"/>
                  </a:lnTo>
                  <a:lnTo>
                    <a:pt x="313" y="287"/>
                  </a:lnTo>
                  <a:lnTo>
                    <a:pt x="311" y="289"/>
                  </a:lnTo>
                  <a:lnTo>
                    <a:pt x="309" y="289"/>
                  </a:lnTo>
                  <a:lnTo>
                    <a:pt x="309" y="290"/>
                  </a:lnTo>
                  <a:lnTo>
                    <a:pt x="307" y="290"/>
                  </a:lnTo>
                  <a:lnTo>
                    <a:pt x="307" y="292"/>
                  </a:lnTo>
                  <a:lnTo>
                    <a:pt x="306" y="292"/>
                  </a:lnTo>
                  <a:lnTo>
                    <a:pt x="306" y="294"/>
                  </a:lnTo>
                  <a:lnTo>
                    <a:pt x="306" y="296"/>
                  </a:lnTo>
                  <a:lnTo>
                    <a:pt x="304" y="296"/>
                  </a:lnTo>
                  <a:lnTo>
                    <a:pt x="304" y="297"/>
                  </a:lnTo>
                  <a:lnTo>
                    <a:pt x="304" y="297"/>
                  </a:lnTo>
                  <a:lnTo>
                    <a:pt x="304" y="299"/>
                  </a:lnTo>
                  <a:lnTo>
                    <a:pt x="304" y="301"/>
                  </a:lnTo>
                  <a:lnTo>
                    <a:pt x="304" y="302"/>
                  </a:lnTo>
                  <a:lnTo>
                    <a:pt x="304" y="304"/>
                  </a:lnTo>
                  <a:lnTo>
                    <a:pt x="304" y="306"/>
                  </a:lnTo>
                  <a:lnTo>
                    <a:pt x="304" y="308"/>
                  </a:lnTo>
                  <a:lnTo>
                    <a:pt x="302" y="309"/>
                  </a:lnTo>
                  <a:lnTo>
                    <a:pt x="301" y="311"/>
                  </a:lnTo>
                  <a:lnTo>
                    <a:pt x="301" y="313"/>
                  </a:lnTo>
                  <a:lnTo>
                    <a:pt x="299" y="313"/>
                  </a:lnTo>
                  <a:lnTo>
                    <a:pt x="297" y="313"/>
                  </a:lnTo>
                  <a:lnTo>
                    <a:pt x="294" y="314"/>
                  </a:lnTo>
                  <a:lnTo>
                    <a:pt x="292" y="314"/>
                  </a:lnTo>
                  <a:lnTo>
                    <a:pt x="287" y="314"/>
                  </a:lnTo>
                  <a:lnTo>
                    <a:pt x="287" y="314"/>
                  </a:lnTo>
                  <a:lnTo>
                    <a:pt x="283" y="314"/>
                  </a:lnTo>
                  <a:lnTo>
                    <a:pt x="280" y="314"/>
                  </a:lnTo>
                  <a:lnTo>
                    <a:pt x="276" y="316"/>
                  </a:lnTo>
                  <a:lnTo>
                    <a:pt x="273" y="316"/>
                  </a:lnTo>
                  <a:lnTo>
                    <a:pt x="271" y="316"/>
                  </a:lnTo>
                  <a:lnTo>
                    <a:pt x="270" y="316"/>
                  </a:lnTo>
                  <a:lnTo>
                    <a:pt x="268" y="314"/>
                  </a:lnTo>
                  <a:lnTo>
                    <a:pt x="266" y="314"/>
                  </a:lnTo>
                  <a:lnTo>
                    <a:pt x="264" y="314"/>
                  </a:lnTo>
                  <a:lnTo>
                    <a:pt x="263" y="313"/>
                  </a:lnTo>
                  <a:lnTo>
                    <a:pt x="259" y="313"/>
                  </a:lnTo>
                  <a:lnTo>
                    <a:pt x="256" y="311"/>
                  </a:lnTo>
                  <a:lnTo>
                    <a:pt x="256" y="311"/>
                  </a:lnTo>
                  <a:lnTo>
                    <a:pt x="254" y="309"/>
                  </a:lnTo>
                  <a:lnTo>
                    <a:pt x="251" y="309"/>
                  </a:lnTo>
                  <a:lnTo>
                    <a:pt x="249" y="308"/>
                  </a:lnTo>
                  <a:lnTo>
                    <a:pt x="245" y="308"/>
                  </a:lnTo>
                  <a:lnTo>
                    <a:pt x="244" y="306"/>
                  </a:lnTo>
                  <a:lnTo>
                    <a:pt x="242" y="306"/>
                  </a:lnTo>
                  <a:lnTo>
                    <a:pt x="240" y="306"/>
                  </a:lnTo>
                  <a:lnTo>
                    <a:pt x="240" y="304"/>
                  </a:lnTo>
                  <a:lnTo>
                    <a:pt x="240" y="304"/>
                  </a:lnTo>
                  <a:lnTo>
                    <a:pt x="239" y="302"/>
                  </a:lnTo>
                  <a:lnTo>
                    <a:pt x="237" y="301"/>
                  </a:lnTo>
                  <a:lnTo>
                    <a:pt x="237" y="299"/>
                  </a:lnTo>
                  <a:lnTo>
                    <a:pt x="235" y="297"/>
                  </a:lnTo>
                  <a:lnTo>
                    <a:pt x="235" y="297"/>
                  </a:lnTo>
                  <a:lnTo>
                    <a:pt x="235" y="296"/>
                  </a:lnTo>
                  <a:lnTo>
                    <a:pt x="235" y="294"/>
                  </a:lnTo>
                  <a:lnTo>
                    <a:pt x="235" y="292"/>
                  </a:lnTo>
                  <a:lnTo>
                    <a:pt x="235" y="290"/>
                  </a:lnTo>
                  <a:lnTo>
                    <a:pt x="235" y="287"/>
                  </a:lnTo>
                  <a:lnTo>
                    <a:pt x="235" y="285"/>
                  </a:lnTo>
                  <a:lnTo>
                    <a:pt x="235" y="283"/>
                  </a:lnTo>
                  <a:lnTo>
                    <a:pt x="233" y="283"/>
                  </a:lnTo>
                  <a:lnTo>
                    <a:pt x="233" y="282"/>
                  </a:lnTo>
                  <a:lnTo>
                    <a:pt x="232" y="282"/>
                  </a:lnTo>
                  <a:lnTo>
                    <a:pt x="232" y="282"/>
                  </a:lnTo>
                  <a:lnTo>
                    <a:pt x="230" y="282"/>
                  </a:lnTo>
                  <a:lnTo>
                    <a:pt x="228" y="282"/>
                  </a:lnTo>
                  <a:lnTo>
                    <a:pt x="227" y="282"/>
                  </a:lnTo>
                  <a:lnTo>
                    <a:pt x="225" y="282"/>
                  </a:lnTo>
                  <a:lnTo>
                    <a:pt x="225" y="282"/>
                  </a:lnTo>
                  <a:lnTo>
                    <a:pt x="223" y="282"/>
                  </a:lnTo>
                  <a:lnTo>
                    <a:pt x="221" y="282"/>
                  </a:lnTo>
                  <a:lnTo>
                    <a:pt x="220" y="282"/>
                  </a:lnTo>
                  <a:lnTo>
                    <a:pt x="218" y="283"/>
                  </a:lnTo>
                  <a:lnTo>
                    <a:pt x="216" y="285"/>
                  </a:lnTo>
                  <a:lnTo>
                    <a:pt x="215" y="285"/>
                  </a:lnTo>
                  <a:lnTo>
                    <a:pt x="213" y="285"/>
                  </a:lnTo>
                  <a:lnTo>
                    <a:pt x="211" y="285"/>
                  </a:lnTo>
                  <a:lnTo>
                    <a:pt x="211" y="285"/>
                  </a:lnTo>
                  <a:lnTo>
                    <a:pt x="209" y="285"/>
                  </a:lnTo>
                  <a:lnTo>
                    <a:pt x="208" y="285"/>
                  </a:lnTo>
                  <a:lnTo>
                    <a:pt x="206" y="283"/>
                  </a:lnTo>
                  <a:lnTo>
                    <a:pt x="204" y="283"/>
                  </a:lnTo>
                  <a:lnTo>
                    <a:pt x="202" y="283"/>
                  </a:lnTo>
                  <a:lnTo>
                    <a:pt x="202" y="282"/>
                  </a:lnTo>
                  <a:lnTo>
                    <a:pt x="201" y="282"/>
                  </a:lnTo>
                  <a:lnTo>
                    <a:pt x="199" y="282"/>
                  </a:lnTo>
                  <a:lnTo>
                    <a:pt x="199" y="280"/>
                  </a:lnTo>
                  <a:lnTo>
                    <a:pt x="197" y="280"/>
                  </a:lnTo>
                  <a:lnTo>
                    <a:pt x="197" y="278"/>
                  </a:lnTo>
                  <a:lnTo>
                    <a:pt x="197" y="277"/>
                  </a:lnTo>
                  <a:lnTo>
                    <a:pt x="197" y="275"/>
                  </a:lnTo>
                  <a:lnTo>
                    <a:pt x="197" y="273"/>
                  </a:lnTo>
                  <a:lnTo>
                    <a:pt x="199" y="271"/>
                  </a:lnTo>
                  <a:lnTo>
                    <a:pt x="199" y="270"/>
                  </a:lnTo>
                  <a:lnTo>
                    <a:pt x="201" y="268"/>
                  </a:lnTo>
                  <a:lnTo>
                    <a:pt x="201" y="268"/>
                  </a:lnTo>
                  <a:lnTo>
                    <a:pt x="201" y="266"/>
                  </a:lnTo>
                  <a:lnTo>
                    <a:pt x="201" y="265"/>
                  </a:lnTo>
                  <a:lnTo>
                    <a:pt x="201" y="263"/>
                  </a:lnTo>
                  <a:lnTo>
                    <a:pt x="201" y="261"/>
                  </a:lnTo>
                  <a:lnTo>
                    <a:pt x="201" y="259"/>
                  </a:lnTo>
                  <a:lnTo>
                    <a:pt x="201" y="258"/>
                  </a:lnTo>
                  <a:lnTo>
                    <a:pt x="201" y="256"/>
                  </a:lnTo>
                  <a:lnTo>
                    <a:pt x="199" y="254"/>
                  </a:lnTo>
                  <a:lnTo>
                    <a:pt x="197" y="254"/>
                  </a:lnTo>
                  <a:lnTo>
                    <a:pt x="196" y="252"/>
                  </a:lnTo>
                  <a:lnTo>
                    <a:pt x="196" y="252"/>
                  </a:lnTo>
                  <a:lnTo>
                    <a:pt x="196" y="252"/>
                  </a:lnTo>
                  <a:lnTo>
                    <a:pt x="194" y="252"/>
                  </a:lnTo>
                  <a:lnTo>
                    <a:pt x="192" y="252"/>
                  </a:lnTo>
                  <a:lnTo>
                    <a:pt x="190" y="251"/>
                  </a:lnTo>
                  <a:lnTo>
                    <a:pt x="185" y="252"/>
                  </a:lnTo>
                  <a:lnTo>
                    <a:pt x="184" y="252"/>
                  </a:lnTo>
                  <a:lnTo>
                    <a:pt x="182" y="252"/>
                  </a:lnTo>
                  <a:lnTo>
                    <a:pt x="180" y="252"/>
                  </a:lnTo>
                  <a:lnTo>
                    <a:pt x="180" y="251"/>
                  </a:lnTo>
                  <a:lnTo>
                    <a:pt x="178" y="251"/>
                  </a:lnTo>
                  <a:lnTo>
                    <a:pt x="177" y="251"/>
                  </a:lnTo>
                  <a:lnTo>
                    <a:pt x="177" y="249"/>
                  </a:lnTo>
                  <a:lnTo>
                    <a:pt x="175" y="249"/>
                  </a:lnTo>
                  <a:lnTo>
                    <a:pt x="173" y="247"/>
                  </a:lnTo>
                  <a:lnTo>
                    <a:pt x="172" y="247"/>
                  </a:lnTo>
                  <a:lnTo>
                    <a:pt x="172" y="246"/>
                  </a:lnTo>
                  <a:lnTo>
                    <a:pt x="170" y="244"/>
                  </a:lnTo>
                  <a:lnTo>
                    <a:pt x="168" y="242"/>
                  </a:lnTo>
                  <a:lnTo>
                    <a:pt x="168" y="240"/>
                  </a:lnTo>
                  <a:lnTo>
                    <a:pt x="166" y="239"/>
                  </a:lnTo>
                  <a:lnTo>
                    <a:pt x="165" y="237"/>
                  </a:lnTo>
                  <a:lnTo>
                    <a:pt x="165" y="235"/>
                  </a:lnTo>
                  <a:lnTo>
                    <a:pt x="165" y="234"/>
                  </a:lnTo>
                  <a:lnTo>
                    <a:pt x="161" y="232"/>
                  </a:lnTo>
                  <a:lnTo>
                    <a:pt x="159" y="230"/>
                  </a:lnTo>
                  <a:lnTo>
                    <a:pt x="159" y="228"/>
                  </a:lnTo>
                  <a:lnTo>
                    <a:pt x="156" y="227"/>
                  </a:lnTo>
                  <a:lnTo>
                    <a:pt x="153" y="225"/>
                  </a:lnTo>
                  <a:lnTo>
                    <a:pt x="151" y="225"/>
                  </a:lnTo>
                  <a:lnTo>
                    <a:pt x="151" y="223"/>
                  </a:lnTo>
                  <a:lnTo>
                    <a:pt x="147" y="222"/>
                  </a:lnTo>
                  <a:lnTo>
                    <a:pt x="144" y="222"/>
                  </a:lnTo>
                  <a:lnTo>
                    <a:pt x="144" y="220"/>
                  </a:lnTo>
                  <a:lnTo>
                    <a:pt x="142" y="220"/>
                  </a:lnTo>
                  <a:lnTo>
                    <a:pt x="142" y="218"/>
                  </a:lnTo>
                  <a:lnTo>
                    <a:pt x="141" y="218"/>
                  </a:lnTo>
                  <a:lnTo>
                    <a:pt x="141" y="216"/>
                  </a:lnTo>
                  <a:lnTo>
                    <a:pt x="139" y="215"/>
                  </a:lnTo>
                  <a:lnTo>
                    <a:pt x="139" y="213"/>
                  </a:lnTo>
                  <a:lnTo>
                    <a:pt x="139" y="211"/>
                  </a:lnTo>
                  <a:lnTo>
                    <a:pt x="139" y="209"/>
                  </a:lnTo>
                  <a:lnTo>
                    <a:pt x="139" y="208"/>
                  </a:lnTo>
                  <a:lnTo>
                    <a:pt x="139" y="208"/>
                  </a:lnTo>
                  <a:lnTo>
                    <a:pt x="139" y="206"/>
                  </a:lnTo>
                  <a:lnTo>
                    <a:pt x="139" y="204"/>
                  </a:lnTo>
                  <a:lnTo>
                    <a:pt x="137" y="201"/>
                  </a:lnTo>
                  <a:lnTo>
                    <a:pt x="137" y="199"/>
                  </a:lnTo>
                  <a:lnTo>
                    <a:pt x="135" y="197"/>
                  </a:lnTo>
                  <a:lnTo>
                    <a:pt x="135" y="196"/>
                  </a:lnTo>
                  <a:lnTo>
                    <a:pt x="132" y="196"/>
                  </a:lnTo>
                  <a:lnTo>
                    <a:pt x="130" y="196"/>
                  </a:lnTo>
                  <a:lnTo>
                    <a:pt x="129" y="194"/>
                  </a:lnTo>
                  <a:lnTo>
                    <a:pt x="125" y="192"/>
                  </a:lnTo>
                  <a:lnTo>
                    <a:pt x="123" y="192"/>
                  </a:lnTo>
                  <a:lnTo>
                    <a:pt x="120" y="191"/>
                  </a:lnTo>
                  <a:lnTo>
                    <a:pt x="120" y="187"/>
                  </a:lnTo>
                  <a:lnTo>
                    <a:pt x="118" y="185"/>
                  </a:lnTo>
                  <a:lnTo>
                    <a:pt x="118" y="184"/>
                  </a:lnTo>
                  <a:lnTo>
                    <a:pt x="116" y="184"/>
                  </a:lnTo>
                  <a:lnTo>
                    <a:pt x="115" y="182"/>
                  </a:lnTo>
                  <a:lnTo>
                    <a:pt x="113" y="182"/>
                  </a:lnTo>
                  <a:lnTo>
                    <a:pt x="111" y="182"/>
                  </a:lnTo>
                  <a:lnTo>
                    <a:pt x="110" y="182"/>
                  </a:lnTo>
                  <a:lnTo>
                    <a:pt x="108" y="182"/>
                  </a:lnTo>
                  <a:lnTo>
                    <a:pt x="106" y="182"/>
                  </a:lnTo>
                  <a:lnTo>
                    <a:pt x="104" y="182"/>
                  </a:lnTo>
                  <a:lnTo>
                    <a:pt x="104" y="182"/>
                  </a:lnTo>
                  <a:lnTo>
                    <a:pt x="103" y="184"/>
                  </a:lnTo>
                  <a:lnTo>
                    <a:pt x="101" y="184"/>
                  </a:lnTo>
                  <a:lnTo>
                    <a:pt x="99" y="184"/>
                  </a:lnTo>
                  <a:lnTo>
                    <a:pt x="98" y="184"/>
                  </a:lnTo>
                  <a:lnTo>
                    <a:pt x="96" y="185"/>
                  </a:lnTo>
                  <a:lnTo>
                    <a:pt x="94" y="185"/>
                  </a:lnTo>
                  <a:lnTo>
                    <a:pt x="92" y="185"/>
                  </a:lnTo>
                  <a:lnTo>
                    <a:pt x="91" y="185"/>
                  </a:lnTo>
                  <a:lnTo>
                    <a:pt x="91" y="184"/>
                  </a:lnTo>
                  <a:lnTo>
                    <a:pt x="89" y="184"/>
                  </a:lnTo>
                  <a:lnTo>
                    <a:pt x="87" y="184"/>
                  </a:lnTo>
                  <a:lnTo>
                    <a:pt x="86" y="182"/>
                  </a:lnTo>
                  <a:lnTo>
                    <a:pt x="84" y="182"/>
                  </a:lnTo>
                  <a:lnTo>
                    <a:pt x="82" y="180"/>
                  </a:lnTo>
                  <a:lnTo>
                    <a:pt x="82" y="179"/>
                  </a:lnTo>
                  <a:lnTo>
                    <a:pt x="80" y="179"/>
                  </a:lnTo>
                  <a:lnTo>
                    <a:pt x="79" y="177"/>
                  </a:lnTo>
                  <a:lnTo>
                    <a:pt x="79" y="177"/>
                  </a:lnTo>
                  <a:lnTo>
                    <a:pt x="77" y="177"/>
                  </a:lnTo>
                  <a:lnTo>
                    <a:pt x="77" y="175"/>
                  </a:lnTo>
                  <a:lnTo>
                    <a:pt x="75" y="173"/>
                  </a:lnTo>
                  <a:lnTo>
                    <a:pt x="75" y="172"/>
                  </a:lnTo>
                  <a:lnTo>
                    <a:pt x="75" y="170"/>
                  </a:lnTo>
                  <a:lnTo>
                    <a:pt x="75" y="168"/>
                  </a:lnTo>
                  <a:lnTo>
                    <a:pt x="75" y="166"/>
                  </a:lnTo>
                  <a:lnTo>
                    <a:pt x="75" y="163"/>
                  </a:lnTo>
                  <a:lnTo>
                    <a:pt x="75" y="161"/>
                  </a:lnTo>
                  <a:lnTo>
                    <a:pt x="73" y="161"/>
                  </a:lnTo>
                  <a:lnTo>
                    <a:pt x="73" y="160"/>
                  </a:lnTo>
                  <a:lnTo>
                    <a:pt x="75" y="160"/>
                  </a:lnTo>
                  <a:lnTo>
                    <a:pt x="75" y="158"/>
                  </a:lnTo>
                  <a:lnTo>
                    <a:pt x="75" y="156"/>
                  </a:lnTo>
                  <a:lnTo>
                    <a:pt x="75" y="156"/>
                  </a:lnTo>
                  <a:lnTo>
                    <a:pt x="77" y="154"/>
                  </a:lnTo>
                  <a:lnTo>
                    <a:pt x="79" y="154"/>
                  </a:lnTo>
                  <a:lnTo>
                    <a:pt x="80" y="154"/>
                  </a:lnTo>
                  <a:lnTo>
                    <a:pt x="82" y="154"/>
                  </a:lnTo>
                  <a:lnTo>
                    <a:pt x="84" y="154"/>
                  </a:lnTo>
                  <a:lnTo>
                    <a:pt x="86" y="154"/>
                  </a:lnTo>
                  <a:lnTo>
                    <a:pt x="86" y="153"/>
                  </a:lnTo>
                  <a:lnTo>
                    <a:pt x="89" y="151"/>
                  </a:lnTo>
                  <a:lnTo>
                    <a:pt x="89" y="149"/>
                  </a:lnTo>
                  <a:lnTo>
                    <a:pt x="89" y="148"/>
                  </a:lnTo>
                  <a:lnTo>
                    <a:pt x="91" y="148"/>
                  </a:lnTo>
                  <a:lnTo>
                    <a:pt x="91" y="146"/>
                  </a:lnTo>
                  <a:lnTo>
                    <a:pt x="91" y="146"/>
                  </a:lnTo>
                  <a:lnTo>
                    <a:pt x="91" y="144"/>
                  </a:lnTo>
                  <a:lnTo>
                    <a:pt x="91" y="144"/>
                  </a:lnTo>
                  <a:lnTo>
                    <a:pt x="91" y="142"/>
                  </a:lnTo>
                  <a:lnTo>
                    <a:pt x="91" y="141"/>
                  </a:lnTo>
                  <a:lnTo>
                    <a:pt x="89" y="139"/>
                  </a:lnTo>
                  <a:lnTo>
                    <a:pt x="87" y="137"/>
                  </a:lnTo>
                  <a:lnTo>
                    <a:pt x="87" y="136"/>
                  </a:lnTo>
                  <a:lnTo>
                    <a:pt x="89" y="134"/>
                  </a:lnTo>
                  <a:lnTo>
                    <a:pt x="91" y="134"/>
                  </a:lnTo>
                  <a:lnTo>
                    <a:pt x="91" y="132"/>
                  </a:lnTo>
                  <a:lnTo>
                    <a:pt x="91" y="132"/>
                  </a:lnTo>
                  <a:lnTo>
                    <a:pt x="91" y="130"/>
                  </a:lnTo>
                  <a:lnTo>
                    <a:pt x="89" y="129"/>
                  </a:lnTo>
                  <a:lnTo>
                    <a:pt x="87" y="127"/>
                  </a:lnTo>
                  <a:lnTo>
                    <a:pt x="89" y="125"/>
                  </a:lnTo>
                  <a:lnTo>
                    <a:pt x="91" y="122"/>
                  </a:lnTo>
                  <a:lnTo>
                    <a:pt x="91" y="120"/>
                  </a:lnTo>
                  <a:lnTo>
                    <a:pt x="91" y="118"/>
                  </a:lnTo>
                  <a:lnTo>
                    <a:pt x="91" y="117"/>
                  </a:lnTo>
                  <a:lnTo>
                    <a:pt x="91" y="117"/>
                  </a:lnTo>
                  <a:lnTo>
                    <a:pt x="91" y="115"/>
                  </a:lnTo>
                  <a:lnTo>
                    <a:pt x="91" y="113"/>
                  </a:lnTo>
                  <a:lnTo>
                    <a:pt x="91" y="111"/>
                  </a:lnTo>
                  <a:lnTo>
                    <a:pt x="91" y="110"/>
                  </a:lnTo>
                  <a:lnTo>
                    <a:pt x="91" y="108"/>
                  </a:lnTo>
                  <a:lnTo>
                    <a:pt x="89" y="108"/>
                  </a:lnTo>
                  <a:lnTo>
                    <a:pt x="87" y="106"/>
                  </a:lnTo>
                  <a:lnTo>
                    <a:pt x="86" y="106"/>
                  </a:lnTo>
                  <a:lnTo>
                    <a:pt x="84" y="105"/>
                  </a:lnTo>
                  <a:lnTo>
                    <a:pt x="82" y="105"/>
                  </a:lnTo>
                  <a:lnTo>
                    <a:pt x="79" y="105"/>
                  </a:lnTo>
                  <a:lnTo>
                    <a:pt x="77" y="105"/>
                  </a:lnTo>
                  <a:lnTo>
                    <a:pt x="75" y="105"/>
                  </a:lnTo>
                  <a:lnTo>
                    <a:pt x="75" y="103"/>
                  </a:lnTo>
                  <a:lnTo>
                    <a:pt x="73" y="103"/>
                  </a:lnTo>
                  <a:lnTo>
                    <a:pt x="72" y="101"/>
                  </a:lnTo>
                  <a:lnTo>
                    <a:pt x="72" y="101"/>
                  </a:lnTo>
                  <a:lnTo>
                    <a:pt x="70" y="99"/>
                  </a:lnTo>
                  <a:lnTo>
                    <a:pt x="70" y="96"/>
                  </a:lnTo>
                  <a:lnTo>
                    <a:pt x="68" y="96"/>
                  </a:lnTo>
                  <a:lnTo>
                    <a:pt x="68" y="94"/>
                  </a:lnTo>
                  <a:lnTo>
                    <a:pt x="68" y="93"/>
                  </a:lnTo>
                  <a:lnTo>
                    <a:pt x="68" y="89"/>
                  </a:lnTo>
                  <a:lnTo>
                    <a:pt x="68" y="87"/>
                  </a:lnTo>
                  <a:lnTo>
                    <a:pt x="68" y="86"/>
                  </a:lnTo>
                  <a:lnTo>
                    <a:pt x="67" y="84"/>
                  </a:lnTo>
                  <a:lnTo>
                    <a:pt x="65" y="82"/>
                  </a:lnTo>
                  <a:lnTo>
                    <a:pt x="65" y="80"/>
                  </a:lnTo>
                  <a:lnTo>
                    <a:pt x="63" y="79"/>
                  </a:lnTo>
                  <a:lnTo>
                    <a:pt x="60" y="79"/>
                  </a:lnTo>
                  <a:lnTo>
                    <a:pt x="60" y="77"/>
                  </a:lnTo>
                  <a:lnTo>
                    <a:pt x="58" y="77"/>
                  </a:lnTo>
                  <a:lnTo>
                    <a:pt x="56" y="75"/>
                  </a:lnTo>
                  <a:lnTo>
                    <a:pt x="53" y="74"/>
                  </a:lnTo>
                  <a:lnTo>
                    <a:pt x="51" y="72"/>
                  </a:lnTo>
                  <a:lnTo>
                    <a:pt x="49" y="72"/>
                  </a:lnTo>
                  <a:lnTo>
                    <a:pt x="48" y="70"/>
                  </a:lnTo>
                  <a:lnTo>
                    <a:pt x="46" y="68"/>
                  </a:lnTo>
                  <a:lnTo>
                    <a:pt x="46" y="67"/>
                  </a:lnTo>
                  <a:lnTo>
                    <a:pt x="44" y="65"/>
                  </a:lnTo>
                  <a:lnTo>
                    <a:pt x="44" y="65"/>
                  </a:lnTo>
                  <a:lnTo>
                    <a:pt x="44" y="63"/>
                  </a:lnTo>
                  <a:lnTo>
                    <a:pt x="43" y="62"/>
                  </a:lnTo>
                  <a:lnTo>
                    <a:pt x="43" y="60"/>
                  </a:lnTo>
                  <a:lnTo>
                    <a:pt x="43" y="58"/>
                  </a:lnTo>
                  <a:lnTo>
                    <a:pt x="41" y="58"/>
                  </a:lnTo>
                  <a:lnTo>
                    <a:pt x="41" y="56"/>
                  </a:lnTo>
                  <a:lnTo>
                    <a:pt x="41" y="56"/>
                  </a:lnTo>
                  <a:lnTo>
                    <a:pt x="41" y="55"/>
                  </a:lnTo>
                  <a:lnTo>
                    <a:pt x="41" y="53"/>
                  </a:lnTo>
                  <a:lnTo>
                    <a:pt x="41" y="51"/>
                  </a:lnTo>
                  <a:lnTo>
                    <a:pt x="41" y="49"/>
                  </a:lnTo>
                  <a:lnTo>
                    <a:pt x="43" y="48"/>
                  </a:lnTo>
                  <a:lnTo>
                    <a:pt x="43" y="46"/>
                  </a:lnTo>
                  <a:lnTo>
                    <a:pt x="44" y="43"/>
                  </a:lnTo>
                  <a:lnTo>
                    <a:pt x="44" y="41"/>
                  </a:lnTo>
                  <a:lnTo>
                    <a:pt x="46" y="41"/>
                  </a:lnTo>
                  <a:lnTo>
                    <a:pt x="46" y="39"/>
                  </a:lnTo>
                  <a:lnTo>
                    <a:pt x="48" y="37"/>
                  </a:lnTo>
                  <a:lnTo>
                    <a:pt x="48" y="36"/>
                  </a:lnTo>
                  <a:lnTo>
                    <a:pt x="48" y="34"/>
                  </a:lnTo>
                  <a:lnTo>
                    <a:pt x="48" y="32"/>
                  </a:lnTo>
                  <a:lnTo>
                    <a:pt x="48" y="31"/>
                  </a:lnTo>
                  <a:lnTo>
                    <a:pt x="48" y="29"/>
                  </a:lnTo>
                  <a:lnTo>
                    <a:pt x="48" y="27"/>
                  </a:lnTo>
                  <a:lnTo>
                    <a:pt x="48" y="25"/>
                  </a:lnTo>
                  <a:lnTo>
                    <a:pt x="48" y="25"/>
                  </a:lnTo>
                  <a:lnTo>
                    <a:pt x="46" y="24"/>
                  </a:lnTo>
                  <a:lnTo>
                    <a:pt x="46" y="20"/>
                  </a:lnTo>
                  <a:lnTo>
                    <a:pt x="44" y="19"/>
                  </a:lnTo>
                  <a:lnTo>
                    <a:pt x="44" y="17"/>
                  </a:lnTo>
                  <a:lnTo>
                    <a:pt x="44" y="15"/>
                  </a:lnTo>
                  <a:lnTo>
                    <a:pt x="43" y="15"/>
                  </a:lnTo>
                  <a:lnTo>
                    <a:pt x="39" y="13"/>
                  </a:lnTo>
                  <a:lnTo>
                    <a:pt x="37" y="12"/>
                  </a:lnTo>
                  <a:lnTo>
                    <a:pt x="34" y="12"/>
                  </a:lnTo>
                  <a:lnTo>
                    <a:pt x="30" y="12"/>
                  </a:lnTo>
                  <a:lnTo>
                    <a:pt x="29" y="12"/>
                  </a:lnTo>
                  <a:lnTo>
                    <a:pt x="27" y="12"/>
                  </a:lnTo>
                  <a:lnTo>
                    <a:pt x="24" y="12"/>
                  </a:lnTo>
                  <a:lnTo>
                    <a:pt x="22" y="12"/>
                  </a:lnTo>
                  <a:lnTo>
                    <a:pt x="20" y="12"/>
                  </a:lnTo>
                  <a:lnTo>
                    <a:pt x="18" y="12"/>
                  </a:lnTo>
                  <a:lnTo>
                    <a:pt x="17" y="12"/>
                  </a:lnTo>
                  <a:lnTo>
                    <a:pt x="15" y="12"/>
                  </a:lnTo>
                  <a:lnTo>
                    <a:pt x="15" y="10"/>
                  </a:lnTo>
                  <a:lnTo>
                    <a:pt x="15" y="10"/>
                  </a:lnTo>
                  <a:lnTo>
                    <a:pt x="13" y="10"/>
                  </a:lnTo>
                  <a:lnTo>
                    <a:pt x="12" y="8"/>
                  </a:lnTo>
                  <a:lnTo>
                    <a:pt x="10" y="6"/>
                  </a:lnTo>
                  <a:lnTo>
                    <a:pt x="8" y="6"/>
                  </a:lnTo>
                  <a:lnTo>
                    <a:pt x="6" y="5"/>
                  </a:lnTo>
                  <a:lnTo>
                    <a:pt x="3" y="3"/>
                  </a:lnTo>
                  <a:lnTo>
                    <a:pt x="1" y="1"/>
                  </a:lnTo>
                  <a:lnTo>
                    <a:pt x="0" y="1"/>
                  </a:lnTo>
                  <a:lnTo>
                    <a:pt x="0" y="0"/>
                  </a:lnTo>
                  <a:lnTo>
                    <a:pt x="0" y="0"/>
                  </a:lnTo>
                  <a:lnTo>
                    <a:pt x="0" y="0"/>
                  </a:lnTo>
                  <a:lnTo>
                    <a:pt x="6" y="0"/>
                  </a:lnTo>
                  <a:lnTo>
                    <a:pt x="8" y="0"/>
                  </a:lnTo>
                  <a:lnTo>
                    <a:pt x="18" y="0"/>
                  </a:lnTo>
                  <a:lnTo>
                    <a:pt x="25" y="0"/>
                  </a:lnTo>
                  <a:lnTo>
                    <a:pt x="29" y="0"/>
                  </a:lnTo>
                  <a:lnTo>
                    <a:pt x="30" y="0"/>
                  </a:lnTo>
                  <a:lnTo>
                    <a:pt x="34" y="1"/>
                  </a:lnTo>
                  <a:lnTo>
                    <a:pt x="36" y="1"/>
                  </a:lnTo>
                  <a:lnTo>
                    <a:pt x="43" y="1"/>
                  </a:lnTo>
                  <a:lnTo>
                    <a:pt x="46" y="1"/>
                  </a:lnTo>
                  <a:lnTo>
                    <a:pt x="48" y="1"/>
                  </a:lnTo>
                  <a:lnTo>
                    <a:pt x="53" y="1"/>
                  </a:lnTo>
                  <a:lnTo>
                    <a:pt x="55" y="1"/>
                  </a:lnTo>
                  <a:lnTo>
                    <a:pt x="56" y="1"/>
                  </a:lnTo>
                  <a:lnTo>
                    <a:pt x="58" y="1"/>
                  </a:lnTo>
                  <a:lnTo>
                    <a:pt x="60" y="1"/>
                  </a:lnTo>
                  <a:lnTo>
                    <a:pt x="72" y="1"/>
                  </a:lnTo>
                  <a:lnTo>
                    <a:pt x="73" y="1"/>
                  </a:lnTo>
                  <a:lnTo>
                    <a:pt x="75" y="1"/>
                  </a:lnTo>
                  <a:lnTo>
                    <a:pt x="77" y="3"/>
                  </a:lnTo>
                  <a:lnTo>
                    <a:pt x="79" y="3"/>
                  </a:lnTo>
                  <a:lnTo>
                    <a:pt x="80" y="3"/>
                  </a:lnTo>
                  <a:lnTo>
                    <a:pt x="86" y="3"/>
                  </a:lnTo>
                  <a:lnTo>
                    <a:pt x="91" y="3"/>
                  </a:lnTo>
                  <a:lnTo>
                    <a:pt x="98" y="3"/>
                  </a:lnTo>
                  <a:lnTo>
                    <a:pt x="104" y="3"/>
                  </a:lnTo>
                  <a:lnTo>
                    <a:pt x="108" y="3"/>
                  </a:lnTo>
                  <a:lnTo>
                    <a:pt x="120" y="5"/>
                  </a:lnTo>
                  <a:lnTo>
                    <a:pt x="123" y="5"/>
                  </a:lnTo>
                  <a:lnTo>
                    <a:pt x="127" y="5"/>
                  </a:lnTo>
                  <a:lnTo>
                    <a:pt x="130" y="5"/>
                  </a:lnTo>
                  <a:lnTo>
                    <a:pt x="139" y="5"/>
                  </a:lnTo>
                  <a:lnTo>
                    <a:pt x="141" y="5"/>
                  </a:lnTo>
                  <a:lnTo>
                    <a:pt x="147" y="5"/>
                  </a:lnTo>
                  <a:lnTo>
                    <a:pt x="153" y="5"/>
                  </a:lnTo>
                  <a:lnTo>
                    <a:pt x="165" y="5"/>
                  </a:lnTo>
                  <a:lnTo>
                    <a:pt x="166" y="5"/>
                  </a:lnTo>
                  <a:lnTo>
                    <a:pt x="175" y="6"/>
                  </a:lnTo>
                  <a:lnTo>
                    <a:pt x="180" y="6"/>
                  </a:lnTo>
                  <a:lnTo>
                    <a:pt x="185" y="6"/>
                  </a:lnTo>
                  <a:lnTo>
                    <a:pt x="189" y="6"/>
                  </a:lnTo>
                  <a:lnTo>
                    <a:pt x="192" y="6"/>
                  </a:lnTo>
                  <a:lnTo>
                    <a:pt x="197" y="6"/>
                  </a:lnTo>
                  <a:lnTo>
                    <a:pt x="202" y="6"/>
                  </a:lnTo>
                  <a:lnTo>
                    <a:pt x="209" y="6"/>
                  </a:lnTo>
                  <a:lnTo>
                    <a:pt x="220" y="8"/>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0" name="Freeform 135"/>
            <p:cNvSpPr>
              <a:spLocks/>
            </p:cNvSpPr>
            <p:nvPr/>
          </p:nvSpPr>
          <p:spPr bwMode="auto">
            <a:xfrm>
              <a:off x="2548821" y="879269"/>
              <a:ext cx="552450" cy="409575"/>
            </a:xfrm>
            <a:custGeom>
              <a:avLst/>
              <a:gdLst/>
              <a:ahLst/>
              <a:cxnLst>
                <a:cxn ang="0">
                  <a:pos x="124" y="236"/>
                </a:cxn>
                <a:cxn ang="0">
                  <a:pos x="121" y="226"/>
                </a:cxn>
                <a:cxn ang="0">
                  <a:pos x="109" y="222"/>
                </a:cxn>
                <a:cxn ang="0">
                  <a:pos x="100" y="215"/>
                </a:cxn>
                <a:cxn ang="0">
                  <a:pos x="92" y="212"/>
                </a:cxn>
                <a:cxn ang="0">
                  <a:pos x="83" y="212"/>
                </a:cxn>
                <a:cxn ang="0">
                  <a:pos x="66" y="215"/>
                </a:cxn>
                <a:cxn ang="0">
                  <a:pos x="62" y="205"/>
                </a:cxn>
                <a:cxn ang="0">
                  <a:pos x="76" y="200"/>
                </a:cxn>
                <a:cxn ang="0">
                  <a:pos x="83" y="191"/>
                </a:cxn>
                <a:cxn ang="0">
                  <a:pos x="83" y="183"/>
                </a:cxn>
                <a:cxn ang="0">
                  <a:pos x="76" y="172"/>
                </a:cxn>
                <a:cxn ang="0">
                  <a:pos x="74" y="162"/>
                </a:cxn>
                <a:cxn ang="0">
                  <a:pos x="67" y="143"/>
                </a:cxn>
                <a:cxn ang="0">
                  <a:pos x="64" y="126"/>
                </a:cxn>
                <a:cxn ang="0">
                  <a:pos x="76" y="119"/>
                </a:cxn>
                <a:cxn ang="0">
                  <a:pos x="71" y="110"/>
                </a:cxn>
                <a:cxn ang="0">
                  <a:pos x="74" y="98"/>
                </a:cxn>
                <a:cxn ang="0">
                  <a:pos x="59" y="100"/>
                </a:cxn>
                <a:cxn ang="0">
                  <a:pos x="49" y="93"/>
                </a:cxn>
                <a:cxn ang="0">
                  <a:pos x="47" y="81"/>
                </a:cxn>
                <a:cxn ang="0">
                  <a:pos x="54" y="71"/>
                </a:cxn>
                <a:cxn ang="0">
                  <a:pos x="47" y="64"/>
                </a:cxn>
                <a:cxn ang="0">
                  <a:pos x="54" y="57"/>
                </a:cxn>
                <a:cxn ang="0">
                  <a:pos x="66" y="50"/>
                </a:cxn>
                <a:cxn ang="0">
                  <a:pos x="71" y="35"/>
                </a:cxn>
                <a:cxn ang="0">
                  <a:pos x="62" y="21"/>
                </a:cxn>
                <a:cxn ang="0">
                  <a:pos x="49" y="21"/>
                </a:cxn>
                <a:cxn ang="0">
                  <a:pos x="45" y="36"/>
                </a:cxn>
                <a:cxn ang="0">
                  <a:pos x="43" y="47"/>
                </a:cxn>
                <a:cxn ang="0">
                  <a:pos x="35" y="45"/>
                </a:cxn>
                <a:cxn ang="0">
                  <a:pos x="24" y="47"/>
                </a:cxn>
                <a:cxn ang="0">
                  <a:pos x="14" y="47"/>
                </a:cxn>
                <a:cxn ang="0">
                  <a:pos x="2" y="36"/>
                </a:cxn>
                <a:cxn ang="0">
                  <a:pos x="6" y="23"/>
                </a:cxn>
                <a:cxn ang="0">
                  <a:pos x="2" y="5"/>
                </a:cxn>
                <a:cxn ang="0">
                  <a:pos x="18" y="0"/>
                </a:cxn>
                <a:cxn ang="0">
                  <a:pos x="43" y="2"/>
                </a:cxn>
                <a:cxn ang="0">
                  <a:pos x="76" y="2"/>
                </a:cxn>
                <a:cxn ang="0">
                  <a:pos x="97" y="4"/>
                </a:cxn>
                <a:cxn ang="0">
                  <a:pos x="119" y="5"/>
                </a:cxn>
                <a:cxn ang="0">
                  <a:pos x="141" y="5"/>
                </a:cxn>
                <a:cxn ang="0">
                  <a:pos x="167" y="5"/>
                </a:cxn>
                <a:cxn ang="0">
                  <a:pos x="196" y="7"/>
                </a:cxn>
                <a:cxn ang="0">
                  <a:pos x="227" y="9"/>
                </a:cxn>
                <a:cxn ang="0">
                  <a:pos x="246" y="10"/>
                </a:cxn>
                <a:cxn ang="0">
                  <a:pos x="291" y="12"/>
                </a:cxn>
                <a:cxn ang="0">
                  <a:pos x="322" y="14"/>
                </a:cxn>
                <a:cxn ang="0">
                  <a:pos x="336" y="14"/>
                </a:cxn>
                <a:cxn ang="0">
                  <a:pos x="336" y="35"/>
                </a:cxn>
                <a:cxn ang="0">
                  <a:pos x="334" y="57"/>
                </a:cxn>
                <a:cxn ang="0">
                  <a:pos x="338" y="90"/>
                </a:cxn>
                <a:cxn ang="0">
                  <a:pos x="348" y="136"/>
                </a:cxn>
                <a:cxn ang="0">
                  <a:pos x="348" y="170"/>
                </a:cxn>
                <a:cxn ang="0">
                  <a:pos x="344" y="217"/>
                </a:cxn>
                <a:cxn ang="0">
                  <a:pos x="343" y="258"/>
                </a:cxn>
                <a:cxn ang="0">
                  <a:pos x="308" y="256"/>
                </a:cxn>
                <a:cxn ang="0">
                  <a:pos x="270" y="255"/>
                </a:cxn>
                <a:cxn ang="0">
                  <a:pos x="243" y="255"/>
                </a:cxn>
                <a:cxn ang="0">
                  <a:pos x="203" y="253"/>
                </a:cxn>
                <a:cxn ang="0">
                  <a:pos x="183" y="251"/>
                </a:cxn>
                <a:cxn ang="0">
                  <a:pos x="169" y="251"/>
                </a:cxn>
                <a:cxn ang="0">
                  <a:pos x="148" y="250"/>
                </a:cxn>
              </a:cxnLst>
              <a:rect l="0" t="0" r="r" b="b"/>
              <a:pathLst>
                <a:path w="348" h="258">
                  <a:moveTo>
                    <a:pt x="123" y="250"/>
                  </a:moveTo>
                  <a:lnTo>
                    <a:pt x="123" y="246"/>
                  </a:lnTo>
                  <a:lnTo>
                    <a:pt x="123" y="246"/>
                  </a:lnTo>
                  <a:lnTo>
                    <a:pt x="123" y="243"/>
                  </a:lnTo>
                  <a:lnTo>
                    <a:pt x="123" y="239"/>
                  </a:lnTo>
                  <a:lnTo>
                    <a:pt x="124" y="236"/>
                  </a:lnTo>
                  <a:lnTo>
                    <a:pt x="124" y="234"/>
                  </a:lnTo>
                  <a:lnTo>
                    <a:pt x="124" y="232"/>
                  </a:lnTo>
                  <a:lnTo>
                    <a:pt x="124" y="231"/>
                  </a:lnTo>
                  <a:lnTo>
                    <a:pt x="123" y="229"/>
                  </a:lnTo>
                  <a:lnTo>
                    <a:pt x="123" y="227"/>
                  </a:lnTo>
                  <a:lnTo>
                    <a:pt x="121" y="226"/>
                  </a:lnTo>
                  <a:lnTo>
                    <a:pt x="119" y="224"/>
                  </a:lnTo>
                  <a:lnTo>
                    <a:pt x="117" y="224"/>
                  </a:lnTo>
                  <a:lnTo>
                    <a:pt x="116" y="222"/>
                  </a:lnTo>
                  <a:lnTo>
                    <a:pt x="114" y="222"/>
                  </a:lnTo>
                  <a:lnTo>
                    <a:pt x="110" y="222"/>
                  </a:lnTo>
                  <a:lnTo>
                    <a:pt x="109" y="222"/>
                  </a:lnTo>
                  <a:lnTo>
                    <a:pt x="107" y="222"/>
                  </a:lnTo>
                  <a:lnTo>
                    <a:pt x="105" y="220"/>
                  </a:lnTo>
                  <a:lnTo>
                    <a:pt x="104" y="219"/>
                  </a:lnTo>
                  <a:lnTo>
                    <a:pt x="102" y="217"/>
                  </a:lnTo>
                  <a:lnTo>
                    <a:pt x="100" y="217"/>
                  </a:lnTo>
                  <a:lnTo>
                    <a:pt x="100" y="215"/>
                  </a:lnTo>
                  <a:lnTo>
                    <a:pt x="98" y="215"/>
                  </a:lnTo>
                  <a:lnTo>
                    <a:pt x="97" y="215"/>
                  </a:lnTo>
                  <a:lnTo>
                    <a:pt x="97" y="213"/>
                  </a:lnTo>
                  <a:lnTo>
                    <a:pt x="95" y="213"/>
                  </a:lnTo>
                  <a:lnTo>
                    <a:pt x="93" y="212"/>
                  </a:lnTo>
                  <a:lnTo>
                    <a:pt x="92" y="212"/>
                  </a:lnTo>
                  <a:lnTo>
                    <a:pt x="92" y="210"/>
                  </a:lnTo>
                  <a:lnTo>
                    <a:pt x="90" y="210"/>
                  </a:lnTo>
                  <a:lnTo>
                    <a:pt x="88" y="210"/>
                  </a:lnTo>
                  <a:lnTo>
                    <a:pt x="86" y="210"/>
                  </a:lnTo>
                  <a:lnTo>
                    <a:pt x="85" y="212"/>
                  </a:lnTo>
                  <a:lnTo>
                    <a:pt x="83" y="212"/>
                  </a:lnTo>
                  <a:lnTo>
                    <a:pt x="81" y="212"/>
                  </a:lnTo>
                  <a:lnTo>
                    <a:pt x="80" y="213"/>
                  </a:lnTo>
                  <a:lnTo>
                    <a:pt x="76" y="215"/>
                  </a:lnTo>
                  <a:lnTo>
                    <a:pt x="73" y="215"/>
                  </a:lnTo>
                  <a:lnTo>
                    <a:pt x="71" y="215"/>
                  </a:lnTo>
                  <a:lnTo>
                    <a:pt x="66" y="215"/>
                  </a:lnTo>
                  <a:lnTo>
                    <a:pt x="64" y="215"/>
                  </a:lnTo>
                  <a:lnTo>
                    <a:pt x="64" y="213"/>
                  </a:lnTo>
                  <a:lnTo>
                    <a:pt x="62" y="212"/>
                  </a:lnTo>
                  <a:lnTo>
                    <a:pt x="62" y="210"/>
                  </a:lnTo>
                  <a:lnTo>
                    <a:pt x="62" y="208"/>
                  </a:lnTo>
                  <a:lnTo>
                    <a:pt x="62" y="205"/>
                  </a:lnTo>
                  <a:lnTo>
                    <a:pt x="66" y="203"/>
                  </a:lnTo>
                  <a:lnTo>
                    <a:pt x="67" y="201"/>
                  </a:lnTo>
                  <a:lnTo>
                    <a:pt x="69" y="201"/>
                  </a:lnTo>
                  <a:lnTo>
                    <a:pt x="71" y="201"/>
                  </a:lnTo>
                  <a:lnTo>
                    <a:pt x="74" y="200"/>
                  </a:lnTo>
                  <a:lnTo>
                    <a:pt x="76" y="200"/>
                  </a:lnTo>
                  <a:lnTo>
                    <a:pt x="78" y="200"/>
                  </a:lnTo>
                  <a:lnTo>
                    <a:pt x="80" y="198"/>
                  </a:lnTo>
                  <a:lnTo>
                    <a:pt x="81" y="196"/>
                  </a:lnTo>
                  <a:lnTo>
                    <a:pt x="83" y="195"/>
                  </a:lnTo>
                  <a:lnTo>
                    <a:pt x="83" y="193"/>
                  </a:lnTo>
                  <a:lnTo>
                    <a:pt x="83" y="191"/>
                  </a:lnTo>
                  <a:lnTo>
                    <a:pt x="85" y="189"/>
                  </a:lnTo>
                  <a:lnTo>
                    <a:pt x="85" y="188"/>
                  </a:lnTo>
                  <a:lnTo>
                    <a:pt x="85" y="186"/>
                  </a:lnTo>
                  <a:lnTo>
                    <a:pt x="83" y="186"/>
                  </a:lnTo>
                  <a:lnTo>
                    <a:pt x="83" y="184"/>
                  </a:lnTo>
                  <a:lnTo>
                    <a:pt x="83" y="183"/>
                  </a:lnTo>
                  <a:lnTo>
                    <a:pt x="81" y="181"/>
                  </a:lnTo>
                  <a:lnTo>
                    <a:pt x="81" y="179"/>
                  </a:lnTo>
                  <a:lnTo>
                    <a:pt x="80" y="177"/>
                  </a:lnTo>
                  <a:lnTo>
                    <a:pt x="78" y="176"/>
                  </a:lnTo>
                  <a:lnTo>
                    <a:pt x="78" y="174"/>
                  </a:lnTo>
                  <a:lnTo>
                    <a:pt x="76" y="172"/>
                  </a:lnTo>
                  <a:lnTo>
                    <a:pt x="76" y="170"/>
                  </a:lnTo>
                  <a:lnTo>
                    <a:pt x="74" y="170"/>
                  </a:lnTo>
                  <a:lnTo>
                    <a:pt x="74" y="167"/>
                  </a:lnTo>
                  <a:lnTo>
                    <a:pt x="74" y="165"/>
                  </a:lnTo>
                  <a:lnTo>
                    <a:pt x="74" y="164"/>
                  </a:lnTo>
                  <a:lnTo>
                    <a:pt x="74" y="162"/>
                  </a:lnTo>
                  <a:lnTo>
                    <a:pt x="74" y="160"/>
                  </a:lnTo>
                  <a:lnTo>
                    <a:pt x="74" y="157"/>
                  </a:lnTo>
                  <a:lnTo>
                    <a:pt x="73" y="155"/>
                  </a:lnTo>
                  <a:lnTo>
                    <a:pt x="71" y="152"/>
                  </a:lnTo>
                  <a:lnTo>
                    <a:pt x="69" y="146"/>
                  </a:lnTo>
                  <a:lnTo>
                    <a:pt x="67" y="143"/>
                  </a:lnTo>
                  <a:lnTo>
                    <a:pt x="64" y="138"/>
                  </a:lnTo>
                  <a:lnTo>
                    <a:pt x="62" y="134"/>
                  </a:lnTo>
                  <a:lnTo>
                    <a:pt x="62" y="131"/>
                  </a:lnTo>
                  <a:lnTo>
                    <a:pt x="62" y="129"/>
                  </a:lnTo>
                  <a:lnTo>
                    <a:pt x="64" y="126"/>
                  </a:lnTo>
                  <a:lnTo>
                    <a:pt x="64" y="126"/>
                  </a:lnTo>
                  <a:lnTo>
                    <a:pt x="66" y="124"/>
                  </a:lnTo>
                  <a:lnTo>
                    <a:pt x="67" y="124"/>
                  </a:lnTo>
                  <a:lnTo>
                    <a:pt x="71" y="124"/>
                  </a:lnTo>
                  <a:lnTo>
                    <a:pt x="73" y="122"/>
                  </a:lnTo>
                  <a:lnTo>
                    <a:pt x="74" y="121"/>
                  </a:lnTo>
                  <a:lnTo>
                    <a:pt x="76" y="119"/>
                  </a:lnTo>
                  <a:lnTo>
                    <a:pt x="76" y="117"/>
                  </a:lnTo>
                  <a:lnTo>
                    <a:pt x="74" y="115"/>
                  </a:lnTo>
                  <a:lnTo>
                    <a:pt x="73" y="115"/>
                  </a:lnTo>
                  <a:lnTo>
                    <a:pt x="73" y="114"/>
                  </a:lnTo>
                  <a:lnTo>
                    <a:pt x="71" y="112"/>
                  </a:lnTo>
                  <a:lnTo>
                    <a:pt x="71" y="110"/>
                  </a:lnTo>
                  <a:lnTo>
                    <a:pt x="71" y="109"/>
                  </a:lnTo>
                  <a:lnTo>
                    <a:pt x="73" y="107"/>
                  </a:lnTo>
                  <a:lnTo>
                    <a:pt x="73" y="105"/>
                  </a:lnTo>
                  <a:lnTo>
                    <a:pt x="74" y="102"/>
                  </a:lnTo>
                  <a:lnTo>
                    <a:pt x="74" y="100"/>
                  </a:lnTo>
                  <a:lnTo>
                    <a:pt x="74" y="98"/>
                  </a:lnTo>
                  <a:lnTo>
                    <a:pt x="73" y="98"/>
                  </a:lnTo>
                  <a:lnTo>
                    <a:pt x="71" y="96"/>
                  </a:lnTo>
                  <a:lnTo>
                    <a:pt x="67" y="96"/>
                  </a:lnTo>
                  <a:lnTo>
                    <a:pt x="66" y="98"/>
                  </a:lnTo>
                  <a:lnTo>
                    <a:pt x="62" y="98"/>
                  </a:lnTo>
                  <a:lnTo>
                    <a:pt x="59" y="100"/>
                  </a:lnTo>
                  <a:lnTo>
                    <a:pt x="59" y="98"/>
                  </a:lnTo>
                  <a:lnTo>
                    <a:pt x="57" y="98"/>
                  </a:lnTo>
                  <a:lnTo>
                    <a:pt x="55" y="96"/>
                  </a:lnTo>
                  <a:lnTo>
                    <a:pt x="54" y="95"/>
                  </a:lnTo>
                  <a:lnTo>
                    <a:pt x="50" y="95"/>
                  </a:lnTo>
                  <a:lnTo>
                    <a:pt x="49" y="93"/>
                  </a:lnTo>
                  <a:lnTo>
                    <a:pt x="47" y="90"/>
                  </a:lnTo>
                  <a:lnTo>
                    <a:pt x="45" y="88"/>
                  </a:lnTo>
                  <a:lnTo>
                    <a:pt x="45" y="84"/>
                  </a:lnTo>
                  <a:lnTo>
                    <a:pt x="45" y="81"/>
                  </a:lnTo>
                  <a:lnTo>
                    <a:pt x="45" y="81"/>
                  </a:lnTo>
                  <a:lnTo>
                    <a:pt x="47" y="81"/>
                  </a:lnTo>
                  <a:lnTo>
                    <a:pt x="47" y="79"/>
                  </a:lnTo>
                  <a:lnTo>
                    <a:pt x="49" y="79"/>
                  </a:lnTo>
                  <a:lnTo>
                    <a:pt x="50" y="78"/>
                  </a:lnTo>
                  <a:lnTo>
                    <a:pt x="52" y="76"/>
                  </a:lnTo>
                  <a:lnTo>
                    <a:pt x="54" y="74"/>
                  </a:lnTo>
                  <a:lnTo>
                    <a:pt x="54" y="71"/>
                  </a:lnTo>
                  <a:lnTo>
                    <a:pt x="54" y="67"/>
                  </a:lnTo>
                  <a:lnTo>
                    <a:pt x="52" y="66"/>
                  </a:lnTo>
                  <a:lnTo>
                    <a:pt x="50" y="66"/>
                  </a:lnTo>
                  <a:lnTo>
                    <a:pt x="49" y="66"/>
                  </a:lnTo>
                  <a:lnTo>
                    <a:pt x="49" y="64"/>
                  </a:lnTo>
                  <a:lnTo>
                    <a:pt x="47" y="64"/>
                  </a:lnTo>
                  <a:lnTo>
                    <a:pt x="43" y="62"/>
                  </a:lnTo>
                  <a:lnTo>
                    <a:pt x="45" y="62"/>
                  </a:lnTo>
                  <a:lnTo>
                    <a:pt x="47" y="60"/>
                  </a:lnTo>
                  <a:lnTo>
                    <a:pt x="49" y="60"/>
                  </a:lnTo>
                  <a:lnTo>
                    <a:pt x="52" y="59"/>
                  </a:lnTo>
                  <a:lnTo>
                    <a:pt x="54" y="57"/>
                  </a:lnTo>
                  <a:lnTo>
                    <a:pt x="55" y="57"/>
                  </a:lnTo>
                  <a:lnTo>
                    <a:pt x="57" y="57"/>
                  </a:lnTo>
                  <a:lnTo>
                    <a:pt x="61" y="55"/>
                  </a:lnTo>
                  <a:lnTo>
                    <a:pt x="62" y="55"/>
                  </a:lnTo>
                  <a:lnTo>
                    <a:pt x="64" y="53"/>
                  </a:lnTo>
                  <a:lnTo>
                    <a:pt x="66" y="50"/>
                  </a:lnTo>
                  <a:lnTo>
                    <a:pt x="69" y="50"/>
                  </a:lnTo>
                  <a:lnTo>
                    <a:pt x="69" y="47"/>
                  </a:lnTo>
                  <a:lnTo>
                    <a:pt x="71" y="41"/>
                  </a:lnTo>
                  <a:lnTo>
                    <a:pt x="71" y="40"/>
                  </a:lnTo>
                  <a:lnTo>
                    <a:pt x="71" y="36"/>
                  </a:lnTo>
                  <a:lnTo>
                    <a:pt x="71" y="35"/>
                  </a:lnTo>
                  <a:lnTo>
                    <a:pt x="69" y="33"/>
                  </a:lnTo>
                  <a:lnTo>
                    <a:pt x="69" y="31"/>
                  </a:lnTo>
                  <a:lnTo>
                    <a:pt x="67" y="29"/>
                  </a:lnTo>
                  <a:lnTo>
                    <a:pt x="66" y="28"/>
                  </a:lnTo>
                  <a:lnTo>
                    <a:pt x="64" y="23"/>
                  </a:lnTo>
                  <a:lnTo>
                    <a:pt x="62" y="21"/>
                  </a:lnTo>
                  <a:lnTo>
                    <a:pt x="61" y="19"/>
                  </a:lnTo>
                  <a:lnTo>
                    <a:pt x="57" y="19"/>
                  </a:lnTo>
                  <a:lnTo>
                    <a:pt x="55" y="19"/>
                  </a:lnTo>
                  <a:lnTo>
                    <a:pt x="52" y="21"/>
                  </a:lnTo>
                  <a:lnTo>
                    <a:pt x="50" y="21"/>
                  </a:lnTo>
                  <a:lnTo>
                    <a:pt x="49" y="21"/>
                  </a:lnTo>
                  <a:lnTo>
                    <a:pt x="47" y="21"/>
                  </a:lnTo>
                  <a:lnTo>
                    <a:pt x="47" y="23"/>
                  </a:lnTo>
                  <a:lnTo>
                    <a:pt x="47" y="28"/>
                  </a:lnTo>
                  <a:lnTo>
                    <a:pt x="47" y="31"/>
                  </a:lnTo>
                  <a:lnTo>
                    <a:pt x="45" y="35"/>
                  </a:lnTo>
                  <a:lnTo>
                    <a:pt x="45" y="36"/>
                  </a:lnTo>
                  <a:lnTo>
                    <a:pt x="47" y="38"/>
                  </a:lnTo>
                  <a:lnTo>
                    <a:pt x="47" y="40"/>
                  </a:lnTo>
                  <a:lnTo>
                    <a:pt x="47" y="41"/>
                  </a:lnTo>
                  <a:lnTo>
                    <a:pt x="45" y="45"/>
                  </a:lnTo>
                  <a:lnTo>
                    <a:pt x="43" y="45"/>
                  </a:lnTo>
                  <a:lnTo>
                    <a:pt x="43" y="47"/>
                  </a:lnTo>
                  <a:lnTo>
                    <a:pt x="42" y="47"/>
                  </a:lnTo>
                  <a:lnTo>
                    <a:pt x="40" y="48"/>
                  </a:lnTo>
                  <a:lnTo>
                    <a:pt x="38" y="50"/>
                  </a:lnTo>
                  <a:lnTo>
                    <a:pt x="38" y="48"/>
                  </a:lnTo>
                  <a:lnTo>
                    <a:pt x="37" y="48"/>
                  </a:lnTo>
                  <a:lnTo>
                    <a:pt x="35" y="45"/>
                  </a:lnTo>
                  <a:lnTo>
                    <a:pt x="31" y="45"/>
                  </a:lnTo>
                  <a:lnTo>
                    <a:pt x="31" y="45"/>
                  </a:lnTo>
                  <a:lnTo>
                    <a:pt x="30" y="45"/>
                  </a:lnTo>
                  <a:lnTo>
                    <a:pt x="28" y="45"/>
                  </a:lnTo>
                  <a:lnTo>
                    <a:pt x="26" y="45"/>
                  </a:lnTo>
                  <a:lnTo>
                    <a:pt x="24" y="47"/>
                  </a:lnTo>
                  <a:lnTo>
                    <a:pt x="23" y="47"/>
                  </a:lnTo>
                  <a:lnTo>
                    <a:pt x="21" y="47"/>
                  </a:lnTo>
                  <a:lnTo>
                    <a:pt x="18" y="47"/>
                  </a:lnTo>
                  <a:lnTo>
                    <a:pt x="18" y="47"/>
                  </a:lnTo>
                  <a:lnTo>
                    <a:pt x="16" y="47"/>
                  </a:lnTo>
                  <a:lnTo>
                    <a:pt x="14" y="47"/>
                  </a:lnTo>
                  <a:lnTo>
                    <a:pt x="12" y="47"/>
                  </a:lnTo>
                  <a:lnTo>
                    <a:pt x="9" y="45"/>
                  </a:lnTo>
                  <a:lnTo>
                    <a:pt x="6" y="43"/>
                  </a:lnTo>
                  <a:lnTo>
                    <a:pt x="4" y="40"/>
                  </a:lnTo>
                  <a:lnTo>
                    <a:pt x="2" y="38"/>
                  </a:lnTo>
                  <a:lnTo>
                    <a:pt x="2" y="36"/>
                  </a:lnTo>
                  <a:lnTo>
                    <a:pt x="2" y="35"/>
                  </a:lnTo>
                  <a:lnTo>
                    <a:pt x="4" y="33"/>
                  </a:lnTo>
                  <a:lnTo>
                    <a:pt x="6" y="29"/>
                  </a:lnTo>
                  <a:lnTo>
                    <a:pt x="6" y="28"/>
                  </a:lnTo>
                  <a:lnTo>
                    <a:pt x="6" y="26"/>
                  </a:lnTo>
                  <a:lnTo>
                    <a:pt x="6" y="23"/>
                  </a:lnTo>
                  <a:lnTo>
                    <a:pt x="6" y="21"/>
                  </a:lnTo>
                  <a:lnTo>
                    <a:pt x="4" y="17"/>
                  </a:lnTo>
                  <a:lnTo>
                    <a:pt x="2" y="14"/>
                  </a:lnTo>
                  <a:lnTo>
                    <a:pt x="2" y="10"/>
                  </a:lnTo>
                  <a:lnTo>
                    <a:pt x="0" y="7"/>
                  </a:lnTo>
                  <a:lnTo>
                    <a:pt x="2" y="5"/>
                  </a:lnTo>
                  <a:lnTo>
                    <a:pt x="2" y="4"/>
                  </a:lnTo>
                  <a:lnTo>
                    <a:pt x="4" y="2"/>
                  </a:lnTo>
                  <a:lnTo>
                    <a:pt x="6" y="0"/>
                  </a:lnTo>
                  <a:lnTo>
                    <a:pt x="7" y="0"/>
                  </a:lnTo>
                  <a:lnTo>
                    <a:pt x="16" y="0"/>
                  </a:lnTo>
                  <a:lnTo>
                    <a:pt x="18" y="0"/>
                  </a:lnTo>
                  <a:lnTo>
                    <a:pt x="18" y="0"/>
                  </a:lnTo>
                  <a:lnTo>
                    <a:pt x="24" y="0"/>
                  </a:lnTo>
                  <a:lnTo>
                    <a:pt x="30" y="0"/>
                  </a:lnTo>
                  <a:lnTo>
                    <a:pt x="31" y="0"/>
                  </a:lnTo>
                  <a:lnTo>
                    <a:pt x="35" y="2"/>
                  </a:lnTo>
                  <a:lnTo>
                    <a:pt x="43" y="2"/>
                  </a:lnTo>
                  <a:lnTo>
                    <a:pt x="52" y="2"/>
                  </a:lnTo>
                  <a:lnTo>
                    <a:pt x="61" y="2"/>
                  </a:lnTo>
                  <a:lnTo>
                    <a:pt x="69" y="2"/>
                  </a:lnTo>
                  <a:lnTo>
                    <a:pt x="73" y="2"/>
                  </a:lnTo>
                  <a:lnTo>
                    <a:pt x="74" y="2"/>
                  </a:lnTo>
                  <a:lnTo>
                    <a:pt x="76" y="2"/>
                  </a:lnTo>
                  <a:lnTo>
                    <a:pt x="78" y="4"/>
                  </a:lnTo>
                  <a:lnTo>
                    <a:pt x="80" y="4"/>
                  </a:lnTo>
                  <a:lnTo>
                    <a:pt x="81" y="4"/>
                  </a:lnTo>
                  <a:lnTo>
                    <a:pt x="85" y="4"/>
                  </a:lnTo>
                  <a:lnTo>
                    <a:pt x="88" y="4"/>
                  </a:lnTo>
                  <a:lnTo>
                    <a:pt x="97" y="4"/>
                  </a:lnTo>
                  <a:lnTo>
                    <a:pt x="98" y="4"/>
                  </a:lnTo>
                  <a:lnTo>
                    <a:pt x="102" y="4"/>
                  </a:lnTo>
                  <a:lnTo>
                    <a:pt x="107" y="5"/>
                  </a:lnTo>
                  <a:lnTo>
                    <a:pt x="107" y="5"/>
                  </a:lnTo>
                  <a:lnTo>
                    <a:pt x="112" y="5"/>
                  </a:lnTo>
                  <a:lnTo>
                    <a:pt x="119" y="5"/>
                  </a:lnTo>
                  <a:lnTo>
                    <a:pt x="123" y="5"/>
                  </a:lnTo>
                  <a:lnTo>
                    <a:pt x="129" y="5"/>
                  </a:lnTo>
                  <a:lnTo>
                    <a:pt x="131" y="5"/>
                  </a:lnTo>
                  <a:lnTo>
                    <a:pt x="135" y="5"/>
                  </a:lnTo>
                  <a:lnTo>
                    <a:pt x="136" y="5"/>
                  </a:lnTo>
                  <a:lnTo>
                    <a:pt x="141" y="5"/>
                  </a:lnTo>
                  <a:lnTo>
                    <a:pt x="143" y="5"/>
                  </a:lnTo>
                  <a:lnTo>
                    <a:pt x="147" y="5"/>
                  </a:lnTo>
                  <a:lnTo>
                    <a:pt x="148" y="5"/>
                  </a:lnTo>
                  <a:lnTo>
                    <a:pt x="157" y="5"/>
                  </a:lnTo>
                  <a:lnTo>
                    <a:pt x="162" y="5"/>
                  </a:lnTo>
                  <a:lnTo>
                    <a:pt x="167" y="5"/>
                  </a:lnTo>
                  <a:lnTo>
                    <a:pt x="171" y="7"/>
                  </a:lnTo>
                  <a:lnTo>
                    <a:pt x="178" y="7"/>
                  </a:lnTo>
                  <a:lnTo>
                    <a:pt x="179" y="7"/>
                  </a:lnTo>
                  <a:lnTo>
                    <a:pt x="184" y="7"/>
                  </a:lnTo>
                  <a:lnTo>
                    <a:pt x="191" y="7"/>
                  </a:lnTo>
                  <a:lnTo>
                    <a:pt x="196" y="7"/>
                  </a:lnTo>
                  <a:lnTo>
                    <a:pt x="202" y="7"/>
                  </a:lnTo>
                  <a:lnTo>
                    <a:pt x="203" y="7"/>
                  </a:lnTo>
                  <a:lnTo>
                    <a:pt x="212" y="9"/>
                  </a:lnTo>
                  <a:lnTo>
                    <a:pt x="214" y="9"/>
                  </a:lnTo>
                  <a:lnTo>
                    <a:pt x="224" y="9"/>
                  </a:lnTo>
                  <a:lnTo>
                    <a:pt x="227" y="9"/>
                  </a:lnTo>
                  <a:lnTo>
                    <a:pt x="234" y="9"/>
                  </a:lnTo>
                  <a:lnTo>
                    <a:pt x="236" y="9"/>
                  </a:lnTo>
                  <a:lnTo>
                    <a:pt x="239" y="9"/>
                  </a:lnTo>
                  <a:lnTo>
                    <a:pt x="243" y="10"/>
                  </a:lnTo>
                  <a:lnTo>
                    <a:pt x="245" y="10"/>
                  </a:lnTo>
                  <a:lnTo>
                    <a:pt x="246" y="10"/>
                  </a:lnTo>
                  <a:lnTo>
                    <a:pt x="258" y="10"/>
                  </a:lnTo>
                  <a:lnTo>
                    <a:pt x="270" y="10"/>
                  </a:lnTo>
                  <a:lnTo>
                    <a:pt x="274" y="10"/>
                  </a:lnTo>
                  <a:lnTo>
                    <a:pt x="277" y="10"/>
                  </a:lnTo>
                  <a:lnTo>
                    <a:pt x="281" y="12"/>
                  </a:lnTo>
                  <a:lnTo>
                    <a:pt x="291" y="12"/>
                  </a:lnTo>
                  <a:lnTo>
                    <a:pt x="293" y="12"/>
                  </a:lnTo>
                  <a:lnTo>
                    <a:pt x="303" y="12"/>
                  </a:lnTo>
                  <a:lnTo>
                    <a:pt x="308" y="12"/>
                  </a:lnTo>
                  <a:lnTo>
                    <a:pt x="319" y="12"/>
                  </a:lnTo>
                  <a:lnTo>
                    <a:pt x="319" y="12"/>
                  </a:lnTo>
                  <a:lnTo>
                    <a:pt x="322" y="14"/>
                  </a:lnTo>
                  <a:lnTo>
                    <a:pt x="324" y="14"/>
                  </a:lnTo>
                  <a:lnTo>
                    <a:pt x="325" y="14"/>
                  </a:lnTo>
                  <a:lnTo>
                    <a:pt x="327" y="14"/>
                  </a:lnTo>
                  <a:lnTo>
                    <a:pt x="331" y="14"/>
                  </a:lnTo>
                  <a:lnTo>
                    <a:pt x="334" y="14"/>
                  </a:lnTo>
                  <a:lnTo>
                    <a:pt x="336" y="14"/>
                  </a:lnTo>
                  <a:lnTo>
                    <a:pt x="336" y="19"/>
                  </a:lnTo>
                  <a:lnTo>
                    <a:pt x="336" y="21"/>
                  </a:lnTo>
                  <a:lnTo>
                    <a:pt x="336" y="23"/>
                  </a:lnTo>
                  <a:lnTo>
                    <a:pt x="336" y="24"/>
                  </a:lnTo>
                  <a:lnTo>
                    <a:pt x="336" y="31"/>
                  </a:lnTo>
                  <a:lnTo>
                    <a:pt x="336" y="35"/>
                  </a:lnTo>
                  <a:lnTo>
                    <a:pt x="334" y="38"/>
                  </a:lnTo>
                  <a:lnTo>
                    <a:pt x="334" y="47"/>
                  </a:lnTo>
                  <a:lnTo>
                    <a:pt x="334" y="50"/>
                  </a:lnTo>
                  <a:lnTo>
                    <a:pt x="334" y="52"/>
                  </a:lnTo>
                  <a:lnTo>
                    <a:pt x="334" y="55"/>
                  </a:lnTo>
                  <a:lnTo>
                    <a:pt x="334" y="57"/>
                  </a:lnTo>
                  <a:lnTo>
                    <a:pt x="334" y="67"/>
                  </a:lnTo>
                  <a:lnTo>
                    <a:pt x="334" y="69"/>
                  </a:lnTo>
                  <a:lnTo>
                    <a:pt x="334" y="74"/>
                  </a:lnTo>
                  <a:lnTo>
                    <a:pt x="334" y="81"/>
                  </a:lnTo>
                  <a:lnTo>
                    <a:pt x="334" y="90"/>
                  </a:lnTo>
                  <a:lnTo>
                    <a:pt x="338" y="90"/>
                  </a:lnTo>
                  <a:lnTo>
                    <a:pt x="344" y="90"/>
                  </a:lnTo>
                  <a:lnTo>
                    <a:pt x="348" y="91"/>
                  </a:lnTo>
                  <a:lnTo>
                    <a:pt x="348" y="91"/>
                  </a:lnTo>
                  <a:lnTo>
                    <a:pt x="348" y="102"/>
                  </a:lnTo>
                  <a:lnTo>
                    <a:pt x="348" y="124"/>
                  </a:lnTo>
                  <a:lnTo>
                    <a:pt x="348" y="136"/>
                  </a:lnTo>
                  <a:lnTo>
                    <a:pt x="348" y="141"/>
                  </a:lnTo>
                  <a:lnTo>
                    <a:pt x="348" y="145"/>
                  </a:lnTo>
                  <a:lnTo>
                    <a:pt x="348" y="157"/>
                  </a:lnTo>
                  <a:lnTo>
                    <a:pt x="348" y="164"/>
                  </a:lnTo>
                  <a:lnTo>
                    <a:pt x="348" y="169"/>
                  </a:lnTo>
                  <a:lnTo>
                    <a:pt x="348" y="170"/>
                  </a:lnTo>
                  <a:lnTo>
                    <a:pt x="346" y="179"/>
                  </a:lnTo>
                  <a:lnTo>
                    <a:pt x="346" y="189"/>
                  </a:lnTo>
                  <a:lnTo>
                    <a:pt x="346" y="201"/>
                  </a:lnTo>
                  <a:lnTo>
                    <a:pt x="344" y="213"/>
                  </a:lnTo>
                  <a:lnTo>
                    <a:pt x="344" y="215"/>
                  </a:lnTo>
                  <a:lnTo>
                    <a:pt x="344" y="217"/>
                  </a:lnTo>
                  <a:lnTo>
                    <a:pt x="344" y="224"/>
                  </a:lnTo>
                  <a:lnTo>
                    <a:pt x="344" y="234"/>
                  </a:lnTo>
                  <a:lnTo>
                    <a:pt x="344" y="236"/>
                  </a:lnTo>
                  <a:lnTo>
                    <a:pt x="343" y="246"/>
                  </a:lnTo>
                  <a:lnTo>
                    <a:pt x="343" y="256"/>
                  </a:lnTo>
                  <a:lnTo>
                    <a:pt x="343" y="258"/>
                  </a:lnTo>
                  <a:lnTo>
                    <a:pt x="332" y="256"/>
                  </a:lnTo>
                  <a:lnTo>
                    <a:pt x="325" y="256"/>
                  </a:lnTo>
                  <a:lnTo>
                    <a:pt x="320" y="256"/>
                  </a:lnTo>
                  <a:lnTo>
                    <a:pt x="315" y="256"/>
                  </a:lnTo>
                  <a:lnTo>
                    <a:pt x="312" y="256"/>
                  </a:lnTo>
                  <a:lnTo>
                    <a:pt x="308" y="256"/>
                  </a:lnTo>
                  <a:lnTo>
                    <a:pt x="303" y="256"/>
                  </a:lnTo>
                  <a:lnTo>
                    <a:pt x="298" y="256"/>
                  </a:lnTo>
                  <a:lnTo>
                    <a:pt x="289" y="255"/>
                  </a:lnTo>
                  <a:lnTo>
                    <a:pt x="288" y="255"/>
                  </a:lnTo>
                  <a:lnTo>
                    <a:pt x="276" y="255"/>
                  </a:lnTo>
                  <a:lnTo>
                    <a:pt x="270" y="255"/>
                  </a:lnTo>
                  <a:lnTo>
                    <a:pt x="264" y="255"/>
                  </a:lnTo>
                  <a:lnTo>
                    <a:pt x="262" y="255"/>
                  </a:lnTo>
                  <a:lnTo>
                    <a:pt x="253" y="255"/>
                  </a:lnTo>
                  <a:lnTo>
                    <a:pt x="250" y="255"/>
                  </a:lnTo>
                  <a:lnTo>
                    <a:pt x="246" y="255"/>
                  </a:lnTo>
                  <a:lnTo>
                    <a:pt x="243" y="255"/>
                  </a:lnTo>
                  <a:lnTo>
                    <a:pt x="231" y="253"/>
                  </a:lnTo>
                  <a:lnTo>
                    <a:pt x="227" y="253"/>
                  </a:lnTo>
                  <a:lnTo>
                    <a:pt x="221" y="253"/>
                  </a:lnTo>
                  <a:lnTo>
                    <a:pt x="214" y="253"/>
                  </a:lnTo>
                  <a:lnTo>
                    <a:pt x="209" y="253"/>
                  </a:lnTo>
                  <a:lnTo>
                    <a:pt x="203" y="253"/>
                  </a:lnTo>
                  <a:lnTo>
                    <a:pt x="202" y="253"/>
                  </a:lnTo>
                  <a:lnTo>
                    <a:pt x="200" y="253"/>
                  </a:lnTo>
                  <a:lnTo>
                    <a:pt x="198" y="251"/>
                  </a:lnTo>
                  <a:lnTo>
                    <a:pt x="196" y="251"/>
                  </a:lnTo>
                  <a:lnTo>
                    <a:pt x="195" y="251"/>
                  </a:lnTo>
                  <a:lnTo>
                    <a:pt x="183" y="251"/>
                  </a:lnTo>
                  <a:lnTo>
                    <a:pt x="181" y="251"/>
                  </a:lnTo>
                  <a:lnTo>
                    <a:pt x="179" y="251"/>
                  </a:lnTo>
                  <a:lnTo>
                    <a:pt x="178" y="251"/>
                  </a:lnTo>
                  <a:lnTo>
                    <a:pt x="176" y="251"/>
                  </a:lnTo>
                  <a:lnTo>
                    <a:pt x="171" y="251"/>
                  </a:lnTo>
                  <a:lnTo>
                    <a:pt x="169" y="251"/>
                  </a:lnTo>
                  <a:lnTo>
                    <a:pt x="166" y="251"/>
                  </a:lnTo>
                  <a:lnTo>
                    <a:pt x="159" y="251"/>
                  </a:lnTo>
                  <a:lnTo>
                    <a:pt x="157" y="251"/>
                  </a:lnTo>
                  <a:lnTo>
                    <a:pt x="153" y="250"/>
                  </a:lnTo>
                  <a:lnTo>
                    <a:pt x="152" y="250"/>
                  </a:lnTo>
                  <a:lnTo>
                    <a:pt x="148" y="250"/>
                  </a:lnTo>
                  <a:lnTo>
                    <a:pt x="141" y="250"/>
                  </a:lnTo>
                  <a:lnTo>
                    <a:pt x="131" y="250"/>
                  </a:lnTo>
                  <a:lnTo>
                    <a:pt x="129" y="250"/>
                  </a:lnTo>
                  <a:lnTo>
                    <a:pt x="123" y="250"/>
                  </a:lnTo>
                  <a:lnTo>
                    <a:pt x="123" y="25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B02E"/>
                </a:solidFill>
                <a:effectLst/>
                <a:uLnTx/>
                <a:uFillTx/>
                <a:latin typeface="Verdana" panose="020B0604030504040204"/>
                <a:ea typeface="+mn-ea"/>
                <a:cs typeface="+mn-cs"/>
              </a:endParaRPr>
            </a:p>
          </p:txBody>
        </p:sp>
        <p:sp>
          <p:nvSpPr>
            <p:cNvPr id="91" name="Freeform 150"/>
            <p:cNvSpPr>
              <a:spLocks/>
            </p:cNvSpPr>
            <p:nvPr/>
          </p:nvSpPr>
          <p:spPr bwMode="auto">
            <a:xfrm>
              <a:off x="3199696" y="1452356"/>
              <a:ext cx="428625" cy="388938"/>
            </a:xfrm>
            <a:custGeom>
              <a:avLst/>
              <a:gdLst/>
              <a:ahLst/>
              <a:cxnLst>
                <a:cxn ang="0">
                  <a:pos x="57" y="2"/>
                </a:cxn>
                <a:cxn ang="0">
                  <a:pos x="103" y="4"/>
                </a:cxn>
                <a:cxn ang="0">
                  <a:pos x="134" y="6"/>
                </a:cxn>
                <a:cxn ang="0">
                  <a:pos x="161" y="6"/>
                </a:cxn>
                <a:cxn ang="0">
                  <a:pos x="194" y="6"/>
                </a:cxn>
                <a:cxn ang="0">
                  <a:pos x="225" y="6"/>
                </a:cxn>
                <a:cxn ang="0">
                  <a:pos x="242" y="7"/>
                </a:cxn>
                <a:cxn ang="0">
                  <a:pos x="270" y="9"/>
                </a:cxn>
                <a:cxn ang="0">
                  <a:pos x="268" y="74"/>
                </a:cxn>
                <a:cxn ang="0">
                  <a:pos x="268" y="111"/>
                </a:cxn>
                <a:cxn ang="0">
                  <a:pos x="268" y="136"/>
                </a:cxn>
                <a:cxn ang="0">
                  <a:pos x="268" y="171"/>
                </a:cxn>
                <a:cxn ang="0">
                  <a:pos x="268" y="221"/>
                </a:cxn>
                <a:cxn ang="0">
                  <a:pos x="266" y="245"/>
                </a:cxn>
                <a:cxn ang="0">
                  <a:pos x="230" y="243"/>
                </a:cxn>
                <a:cxn ang="0">
                  <a:pos x="216" y="243"/>
                </a:cxn>
                <a:cxn ang="0">
                  <a:pos x="199" y="241"/>
                </a:cxn>
                <a:cxn ang="0">
                  <a:pos x="186" y="241"/>
                </a:cxn>
                <a:cxn ang="0">
                  <a:pos x="160" y="241"/>
                </a:cxn>
                <a:cxn ang="0">
                  <a:pos x="137" y="241"/>
                </a:cxn>
                <a:cxn ang="0">
                  <a:pos x="124" y="240"/>
                </a:cxn>
                <a:cxn ang="0">
                  <a:pos x="105" y="238"/>
                </a:cxn>
                <a:cxn ang="0">
                  <a:pos x="96" y="229"/>
                </a:cxn>
                <a:cxn ang="0">
                  <a:pos x="81" y="228"/>
                </a:cxn>
                <a:cxn ang="0">
                  <a:pos x="70" y="217"/>
                </a:cxn>
                <a:cxn ang="0">
                  <a:pos x="67" y="207"/>
                </a:cxn>
                <a:cxn ang="0">
                  <a:pos x="74" y="198"/>
                </a:cxn>
                <a:cxn ang="0">
                  <a:pos x="74" y="186"/>
                </a:cxn>
                <a:cxn ang="0">
                  <a:pos x="60" y="176"/>
                </a:cxn>
                <a:cxn ang="0">
                  <a:pos x="48" y="178"/>
                </a:cxn>
                <a:cxn ang="0">
                  <a:pos x="36" y="179"/>
                </a:cxn>
                <a:cxn ang="0">
                  <a:pos x="32" y="164"/>
                </a:cxn>
                <a:cxn ang="0">
                  <a:pos x="31" y="157"/>
                </a:cxn>
                <a:cxn ang="0">
                  <a:pos x="32" y="150"/>
                </a:cxn>
                <a:cxn ang="0">
                  <a:pos x="39" y="141"/>
                </a:cxn>
                <a:cxn ang="0">
                  <a:pos x="39" y="138"/>
                </a:cxn>
                <a:cxn ang="0">
                  <a:pos x="34" y="131"/>
                </a:cxn>
                <a:cxn ang="0">
                  <a:pos x="34" y="126"/>
                </a:cxn>
                <a:cxn ang="0">
                  <a:pos x="36" y="123"/>
                </a:cxn>
                <a:cxn ang="0">
                  <a:pos x="31" y="111"/>
                </a:cxn>
                <a:cxn ang="0">
                  <a:pos x="31" y="100"/>
                </a:cxn>
                <a:cxn ang="0">
                  <a:pos x="29" y="93"/>
                </a:cxn>
                <a:cxn ang="0">
                  <a:pos x="29" y="83"/>
                </a:cxn>
                <a:cxn ang="0">
                  <a:pos x="29" y="76"/>
                </a:cxn>
                <a:cxn ang="0">
                  <a:pos x="29" y="68"/>
                </a:cxn>
                <a:cxn ang="0">
                  <a:pos x="29" y="66"/>
                </a:cxn>
                <a:cxn ang="0">
                  <a:pos x="22" y="61"/>
                </a:cxn>
                <a:cxn ang="0">
                  <a:pos x="14" y="66"/>
                </a:cxn>
                <a:cxn ang="0">
                  <a:pos x="14" y="59"/>
                </a:cxn>
                <a:cxn ang="0">
                  <a:pos x="5" y="50"/>
                </a:cxn>
                <a:cxn ang="0">
                  <a:pos x="0" y="43"/>
                </a:cxn>
                <a:cxn ang="0">
                  <a:pos x="5" y="40"/>
                </a:cxn>
                <a:cxn ang="0">
                  <a:pos x="10" y="38"/>
                </a:cxn>
                <a:cxn ang="0">
                  <a:pos x="12" y="31"/>
                </a:cxn>
                <a:cxn ang="0">
                  <a:pos x="10" y="25"/>
                </a:cxn>
                <a:cxn ang="0">
                  <a:pos x="10" y="21"/>
                </a:cxn>
                <a:cxn ang="0">
                  <a:pos x="15" y="16"/>
                </a:cxn>
                <a:cxn ang="0">
                  <a:pos x="14" y="18"/>
                </a:cxn>
                <a:cxn ang="0">
                  <a:pos x="15" y="12"/>
                </a:cxn>
                <a:cxn ang="0">
                  <a:pos x="12" y="7"/>
                </a:cxn>
                <a:cxn ang="0">
                  <a:pos x="14" y="2"/>
                </a:cxn>
                <a:cxn ang="0">
                  <a:pos x="12" y="2"/>
                </a:cxn>
              </a:cxnLst>
              <a:rect l="0" t="0" r="r" b="b"/>
              <a:pathLst>
                <a:path w="270" h="245">
                  <a:moveTo>
                    <a:pt x="12" y="0"/>
                  </a:moveTo>
                  <a:lnTo>
                    <a:pt x="14" y="0"/>
                  </a:lnTo>
                  <a:lnTo>
                    <a:pt x="24" y="0"/>
                  </a:lnTo>
                  <a:lnTo>
                    <a:pt x="32" y="0"/>
                  </a:lnTo>
                  <a:lnTo>
                    <a:pt x="36" y="0"/>
                  </a:lnTo>
                  <a:lnTo>
                    <a:pt x="51" y="2"/>
                  </a:lnTo>
                  <a:lnTo>
                    <a:pt x="53" y="2"/>
                  </a:lnTo>
                  <a:lnTo>
                    <a:pt x="57" y="2"/>
                  </a:lnTo>
                  <a:lnTo>
                    <a:pt x="63" y="2"/>
                  </a:lnTo>
                  <a:lnTo>
                    <a:pt x="69" y="2"/>
                  </a:lnTo>
                  <a:lnTo>
                    <a:pt x="74" y="2"/>
                  </a:lnTo>
                  <a:lnTo>
                    <a:pt x="75" y="2"/>
                  </a:lnTo>
                  <a:lnTo>
                    <a:pt x="86" y="2"/>
                  </a:lnTo>
                  <a:lnTo>
                    <a:pt x="89" y="2"/>
                  </a:lnTo>
                  <a:lnTo>
                    <a:pt x="96" y="4"/>
                  </a:lnTo>
                  <a:lnTo>
                    <a:pt x="103" y="4"/>
                  </a:lnTo>
                  <a:lnTo>
                    <a:pt x="110" y="4"/>
                  </a:lnTo>
                  <a:lnTo>
                    <a:pt x="113" y="4"/>
                  </a:lnTo>
                  <a:lnTo>
                    <a:pt x="117" y="4"/>
                  </a:lnTo>
                  <a:lnTo>
                    <a:pt x="120" y="4"/>
                  </a:lnTo>
                  <a:lnTo>
                    <a:pt x="124" y="4"/>
                  </a:lnTo>
                  <a:lnTo>
                    <a:pt x="127" y="6"/>
                  </a:lnTo>
                  <a:lnTo>
                    <a:pt x="130" y="6"/>
                  </a:lnTo>
                  <a:lnTo>
                    <a:pt x="134" y="6"/>
                  </a:lnTo>
                  <a:lnTo>
                    <a:pt x="134" y="6"/>
                  </a:lnTo>
                  <a:lnTo>
                    <a:pt x="139" y="6"/>
                  </a:lnTo>
                  <a:lnTo>
                    <a:pt x="141" y="6"/>
                  </a:lnTo>
                  <a:lnTo>
                    <a:pt x="144" y="6"/>
                  </a:lnTo>
                  <a:lnTo>
                    <a:pt x="149" y="6"/>
                  </a:lnTo>
                  <a:lnTo>
                    <a:pt x="149" y="6"/>
                  </a:lnTo>
                  <a:lnTo>
                    <a:pt x="156" y="6"/>
                  </a:lnTo>
                  <a:lnTo>
                    <a:pt x="161" y="6"/>
                  </a:lnTo>
                  <a:lnTo>
                    <a:pt x="165" y="6"/>
                  </a:lnTo>
                  <a:lnTo>
                    <a:pt x="177" y="6"/>
                  </a:lnTo>
                  <a:lnTo>
                    <a:pt x="180" y="6"/>
                  </a:lnTo>
                  <a:lnTo>
                    <a:pt x="184" y="6"/>
                  </a:lnTo>
                  <a:lnTo>
                    <a:pt x="186" y="6"/>
                  </a:lnTo>
                  <a:lnTo>
                    <a:pt x="187" y="6"/>
                  </a:lnTo>
                  <a:lnTo>
                    <a:pt x="189" y="6"/>
                  </a:lnTo>
                  <a:lnTo>
                    <a:pt x="194" y="6"/>
                  </a:lnTo>
                  <a:lnTo>
                    <a:pt x="196" y="6"/>
                  </a:lnTo>
                  <a:lnTo>
                    <a:pt x="203" y="6"/>
                  </a:lnTo>
                  <a:lnTo>
                    <a:pt x="204" y="6"/>
                  </a:lnTo>
                  <a:lnTo>
                    <a:pt x="210" y="6"/>
                  </a:lnTo>
                  <a:lnTo>
                    <a:pt x="216" y="6"/>
                  </a:lnTo>
                  <a:lnTo>
                    <a:pt x="220" y="6"/>
                  </a:lnTo>
                  <a:lnTo>
                    <a:pt x="223" y="6"/>
                  </a:lnTo>
                  <a:lnTo>
                    <a:pt x="225" y="6"/>
                  </a:lnTo>
                  <a:lnTo>
                    <a:pt x="230" y="6"/>
                  </a:lnTo>
                  <a:lnTo>
                    <a:pt x="232" y="6"/>
                  </a:lnTo>
                  <a:lnTo>
                    <a:pt x="235" y="6"/>
                  </a:lnTo>
                  <a:lnTo>
                    <a:pt x="237" y="7"/>
                  </a:lnTo>
                  <a:lnTo>
                    <a:pt x="239" y="7"/>
                  </a:lnTo>
                  <a:lnTo>
                    <a:pt x="241" y="7"/>
                  </a:lnTo>
                  <a:lnTo>
                    <a:pt x="241" y="7"/>
                  </a:lnTo>
                  <a:lnTo>
                    <a:pt x="242" y="7"/>
                  </a:lnTo>
                  <a:lnTo>
                    <a:pt x="246" y="7"/>
                  </a:lnTo>
                  <a:lnTo>
                    <a:pt x="247" y="7"/>
                  </a:lnTo>
                  <a:lnTo>
                    <a:pt x="251" y="7"/>
                  </a:lnTo>
                  <a:lnTo>
                    <a:pt x="253" y="7"/>
                  </a:lnTo>
                  <a:lnTo>
                    <a:pt x="254" y="7"/>
                  </a:lnTo>
                  <a:lnTo>
                    <a:pt x="258" y="7"/>
                  </a:lnTo>
                  <a:lnTo>
                    <a:pt x="270" y="7"/>
                  </a:lnTo>
                  <a:lnTo>
                    <a:pt x="270" y="9"/>
                  </a:lnTo>
                  <a:lnTo>
                    <a:pt x="270" y="16"/>
                  </a:lnTo>
                  <a:lnTo>
                    <a:pt x="270" y="25"/>
                  </a:lnTo>
                  <a:lnTo>
                    <a:pt x="270" y="31"/>
                  </a:lnTo>
                  <a:lnTo>
                    <a:pt x="270" y="42"/>
                  </a:lnTo>
                  <a:lnTo>
                    <a:pt x="268" y="47"/>
                  </a:lnTo>
                  <a:lnTo>
                    <a:pt x="268" y="52"/>
                  </a:lnTo>
                  <a:lnTo>
                    <a:pt x="268" y="64"/>
                  </a:lnTo>
                  <a:lnTo>
                    <a:pt x="268" y="74"/>
                  </a:lnTo>
                  <a:lnTo>
                    <a:pt x="270" y="74"/>
                  </a:lnTo>
                  <a:lnTo>
                    <a:pt x="268" y="86"/>
                  </a:lnTo>
                  <a:lnTo>
                    <a:pt x="268" y="97"/>
                  </a:lnTo>
                  <a:lnTo>
                    <a:pt x="268" y="102"/>
                  </a:lnTo>
                  <a:lnTo>
                    <a:pt x="268" y="105"/>
                  </a:lnTo>
                  <a:lnTo>
                    <a:pt x="268" y="109"/>
                  </a:lnTo>
                  <a:lnTo>
                    <a:pt x="268" y="111"/>
                  </a:lnTo>
                  <a:lnTo>
                    <a:pt x="268" y="111"/>
                  </a:lnTo>
                  <a:lnTo>
                    <a:pt x="268" y="116"/>
                  </a:lnTo>
                  <a:lnTo>
                    <a:pt x="268" y="119"/>
                  </a:lnTo>
                  <a:lnTo>
                    <a:pt x="268" y="121"/>
                  </a:lnTo>
                  <a:lnTo>
                    <a:pt x="268" y="123"/>
                  </a:lnTo>
                  <a:lnTo>
                    <a:pt x="268" y="124"/>
                  </a:lnTo>
                  <a:lnTo>
                    <a:pt x="268" y="129"/>
                  </a:lnTo>
                  <a:lnTo>
                    <a:pt x="268" y="131"/>
                  </a:lnTo>
                  <a:lnTo>
                    <a:pt x="268" y="136"/>
                  </a:lnTo>
                  <a:lnTo>
                    <a:pt x="268" y="140"/>
                  </a:lnTo>
                  <a:lnTo>
                    <a:pt x="268" y="141"/>
                  </a:lnTo>
                  <a:lnTo>
                    <a:pt x="268" y="143"/>
                  </a:lnTo>
                  <a:lnTo>
                    <a:pt x="268" y="148"/>
                  </a:lnTo>
                  <a:lnTo>
                    <a:pt x="268" y="155"/>
                  </a:lnTo>
                  <a:lnTo>
                    <a:pt x="268" y="157"/>
                  </a:lnTo>
                  <a:lnTo>
                    <a:pt x="268" y="166"/>
                  </a:lnTo>
                  <a:lnTo>
                    <a:pt x="268" y="171"/>
                  </a:lnTo>
                  <a:lnTo>
                    <a:pt x="268" y="176"/>
                  </a:lnTo>
                  <a:lnTo>
                    <a:pt x="268" y="186"/>
                  </a:lnTo>
                  <a:lnTo>
                    <a:pt x="268" y="198"/>
                  </a:lnTo>
                  <a:lnTo>
                    <a:pt x="268" y="200"/>
                  </a:lnTo>
                  <a:lnTo>
                    <a:pt x="268" y="202"/>
                  </a:lnTo>
                  <a:lnTo>
                    <a:pt x="268" y="203"/>
                  </a:lnTo>
                  <a:lnTo>
                    <a:pt x="268" y="210"/>
                  </a:lnTo>
                  <a:lnTo>
                    <a:pt x="268" y="221"/>
                  </a:lnTo>
                  <a:lnTo>
                    <a:pt x="268" y="231"/>
                  </a:lnTo>
                  <a:lnTo>
                    <a:pt x="268" y="233"/>
                  </a:lnTo>
                  <a:lnTo>
                    <a:pt x="268" y="236"/>
                  </a:lnTo>
                  <a:lnTo>
                    <a:pt x="268" y="240"/>
                  </a:lnTo>
                  <a:lnTo>
                    <a:pt x="268" y="241"/>
                  </a:lnTo>
                  <a:lnTo>
                    <a:pt x="268" y="243"/>
                  </a:lnTo>
                  <a:lnTo>
                    <a:pt x="268" y="245"/>
                  </a:lnTo>
                  <a:lnTo>
                    <a:pt x="266" y="245"/>
                  </a:lnTo>
                  <a:lnTo>
                    <a:pt x="259" y="245"/>
                  </a:lnTo>
                  <a:lnTo>
                    <a:pt x="258" y="245"/>
                  </a:lnTo>
                  <a:lnTo>
                    <a:pt x="254" y="243"/>
                  </a:lnTo>
                  <a:lnTo>
                    <a:pt x="247" y="243"/>
                  </a:lnTo>
                  <a:lnTo>
                    <a:pt x="241" y="243"/>
                  </a:lnTo>
                  <a:lnTo>
                    <a:pt x="237" y="243"/>
                  </a:lnTo>
                  <a:lnTo>
                    <a:pt x="232" y="243"/>
                  </a:lnTo>
                  <a:lnTo>
                    <a:pt x="230" y="243"/>
                  </a:lnTo>
                  <a:lnTo>
                    <a:pt x="229" y="243"/>
                  </a:lnTo>
                  <a:lnTo>
                    <a:pt x="225" y="243"/>
                  </a:lnTo>
                  <a:lnTo>
                    <a:pt x="225" y="243"/>
                  </a:lnTo>
                  <a:lnTo>
                    <a:pt x="223" y="243"/>
                  </a:lnTo>
                  <a:lnTo>
                    <a:pt x="222" y="243"/>
                  </a:lnTo>
                  <a:lnTo>
                    <a:pt x="220" y="243"/>
                  </a:lnTo>
                  <a:lnTo>
                    <a:pt x="218" y="243"/>
                  </a:lnTo>
                  <a:lnTo>
                    <a:pt x="216" y="243"/>
                  </a:lnTo>
                  <a:lnTo>
                    <a:pt x="215" y="243"/>
                  </a:lnTo>
                  <a:lnTo>
                    <a:pt x="213" y="243"/>
                  </a:lnTo>
                  <a:lnTo>
                    <a:pt x="210" y="243"/>
                  </a:lnTo>
                  <a:lnTo>
                    <a:pt x="210" y="243"/>
                  </a:lnTo>
                  <a:lnTo>
                    <a:pt x="206" y="241"/>
                  </a:lnTo>
                  <a:lnTo>
                    <a:pt x="204" y="241"/>
                  </a:lnTo>
                  <a:lnTo>
                    <a:pt x="203" y="241"/>
                  </a:lnTo>
                  <a:lnTo>
                    <a:pt x="199" y="241"/>
                  </a:lnTo>
                  <a:lnTo>
                    <a:pt x="198" y="241"/>
                  </a:lnTo>
                  <a:lnTo>
                    <a:pt x="194" y="241"/>
                  </a:lnTo>
                  <a:lnTo>
                    <a:pt x="194" y="241"/>
                  </a:lnTo>
                  <a:lnTo>
                    <a:pt x="192" y="241"/>
                  </a:lnTo>
                  <a:lnTo>
                    <a:pt x="191" y="241"/>
                  </a:lnTo>
                  <a:lnTo>
                    <a:pt x="189" y="241"/>
                  </a:lnTo>
                  <a:lnTo>
                    <a:pt x="187" y="241"/>
                  </a:lnTo>
                  <a:lnTo>
                    <a:pt x="186" y="241"/>
                  </a:lnTo>
                  <a:lnTo>
                    <a:pt x="184" y="241"/>
                  </a:lnTo>
                  <a:lnTo>
                    <a:pt x="179" y="241"/>
                  </a:lnTo>
                  <a:lnTo>
                    <a:pt x="177" y="241"/>
                  </a:lnTo>
                  <a:lnTo>
                    <a:pt x="168" y="241"/>
                  </a:lnTo>
                  <a:lnTo>
                    <a:pt x="165" y="241"/>
                  </a:lnTo>
                  <a:lnTo>
                    <a:pt x="163" y="241"/>
                  </a:lnTo>
                  <a:lnTo>
                    <a:pt x="161" y="241"/>
                  </a:lnTo>
                  <a:lnTo>
                    <a:pt x="160" y="241"/>
                  </a:lnTo>
                  <a:lnTo>
                    <a:pt x="158" y="241"/>
                  </a:lnTo>
                  <a:lnTo>
                    <a:pt x="151" y="240"/>
                  </a:lnTo>
                  <a:lnTo>
                    <a:pt x="148" y="240"/>
                  </a:lnTo>
                  <a:lnTo>
                    <a:pt x="146" y="240"/>
                  </a:lnTo>
                  <a:lnTo>
                    <a:pt x="141" y="240"/>
                  </a:lnTo>
                  <a:lnTo>
                    <a:pt x="139" y="240"/>
                  </a:lnTo>
                  <a:lnTo>
                    <a:pt x="137" y="240"/>
                  </a:lnTo>
                  <a:lnTo>
                    <a:pt x="137" y="241"/>
                  </a:lnTo>
                  <a:lnTo>
                    <a:pt x="136" y="240"/>
                  </a:lnTo>
                  <a:lnTo>
                    <a:pt x="134" y="240"/>
                  </a:lnTo>
                  <a:lnTo>
                    <a:pt x="134" y="240"/>
                  </a:lnTo>
                  <a:lnTo>
                    <a:pt x="132" y="240"/>
                  </a:lnTo>
                  <a:lnTo>
                    <a:pt x="130" y="240"/>
                  </a:lnTo>
                  <a:lnTo>
                    <a:pt x="129" y="240"/>
                  </a:lnTo>
                  <a:lnTo>
                    <a:pt x="127" y="240"/>
                  </a:lnTo>
                  <a:lnTo>
                    <a:pt x="124" y="240"/>
                  </a:lnTo>
                  <a:lnTo>
                    <a:pt x="120" y="240"/>
                  </a:lnTo>
                  <a:lnTo>
                    <a:pt x="117" y="240"/>
                  </a:lnTo>
                  <a:lnTo>
                    <a:pt x="113" y="240"/>
                  </a:lnTo>
                  <a:lnTo>
                    <a:pt x="112" y="240"/>
                  </a:lnTo>
                  <a:lnTo>
                    <a:pt x="105" y="240"/>
                  </a:lnTo>
                  <a:lnTo>
                    <a:pt x="105" y="240"/>
                  </a:lnTo>
                  <a:lnTo>
                    <a:pt x="105" y="240"/>
                  </a:lnTo>
                  <a:lnTo>
                    <a:pt x="105" y="238"/>
                  </a:lnTo>
                  <a:lnTo>
                    <a:pt x="105" y="236"/>
                  </a:lnTo>
                  <a:lnTo>
                    <a:pt x="105" y="234"/>
                  </a:lnTo>
                  <a:lnTo>
                    <a:pt x="103" y="233"/>
                  </a:lnTo>
                  <a:lnTo>
                    <a:pt x="101" y="231"/>
                  </a:lnTo>
                  <a:lnTo>
                    <a:pt x="100" y="231"/>
                  </a:lnTo>
                  <a:lnTo>
                    <a:pt x="100" y="231"/>
                  </a:lnTo>
                  <a:lnTo>
                    <a:pt x="98" y="229"/>
                  </a:lnTo>
                  <a:lnTo>
                    <a:pt x="96" y="229"/>
                  </a:lnTo>
                  <a:lnTo>
                    <a:pt x="94" y="229"/>
                  </a:lnTo>
                  <a:lnTo>
                    <a:pt x="93" y="229"/>
                  </a:lnTo>
                  <a:lnTo>
                    <a:pt x="91" y="229"/>
                  </a:lnTo>
                  <a:lnTo>
                    <a:pt x="89" y="229"/>
                  </a:lnTo>
                  <a:lnTo>
                    <a:pt x="89" y="229"/>
                  </a:lnTo>
                  <a:lnTo>
                    <a:pt x="86" y="229"/>
                  </a:lnTo>
                  <a:lnTo>
                    <a:pt x="84" y="229"/>
                  </a:lnTo>
                  <a:lnTo>
                    <a:pt x="81" y="228"/>
                  </a:lnTo>
                  <a:lnTo>
                    <a:pt x="79" y="226"/>
                  </a:lnTo>
                  <a:lnTo>
                    <a:pt x="77" y="226"/>
                  </a:lnTo>
                  <a:lnTo>
                    <a:pt x="77" y="224"/>
                  </a:lnTo>
                  <a:lnTo>
                    <a:pt x="75" y="222"/>
                  </a:lnTo>
                  <a:lnTo>
                    <a:pt x="74" y="221"/>
                  </a:lnTo>
                  <a:lnTo>
                    <a:pt x="74" y="221"/>
                  </a:lnTo>
                  <a:lnTo>
                    <a:pt x="70" y="217"/>
                  </a:lnTo>
                  <a:lnTo>
                    <a:pt x="70" y="217"/>
                  </a:lnTo>
                  <a:lnTo>
                    <a:pt x="69" y="217"/>
                  </a:lnTo>
                  <a:lnTo>
                    <a:pt x="69" y="215"/>
                  </a:lnTo>
                  <a:lnTo>
                    <a:pt x="67" y="214"/>
                  </a:lnTo>
                  <a:lnTo>
                    <a:pt x="67" y="212"/>
                  </a:lnTo>
                  <a:lnTo>
                    <a:pt x="67" y="210"/>
                  </a:lnTo>
                  <a:lnTo>
                    <a:pt x="65" y="210"/>
                  </a:lnTo>
                  <a:lnTo>
                    <a:pt x="65" y="209"/>
                  </a:lnTo>
                  <a:lnTo>
                    <a:pt x="67" y="207"/>
                  </a:lnTo>
                  <a:lnTo>
                    <a:pt x="67" y="205"/>
                  </a:lnTo>
                  <a:lnTo>
                    <a:pt x="69" y="203"/>
                  </a:lnTo>
                  <a:lnTo>
                    <a:pt x="69" y="202"/>
                  </a:lnTo>
                  <a:lnTo>
                    <a:pt x="70" y="202"/>
                  </a:lnTo>
                  <a:lnTo>
                    <a:pt x="72" y="202"/>
                  </a:lnTo>
                  <a:lnTo>
                    <a:pt x="74" y="200"/>
                  </a:lnTo>
                  <a:lnTo>
                    <a:pt x="74" y="198"/>
                  </a:lnTo>
                  <a:lnTo>
                    <a:pt x="74" y="198"/>
                  </a:lnTo>
                  <a:lnTo>
                    <a:pt x="74" y="197"/>
                  </a:lnTo>
                  <a:lnTo>
                    <a:pt x="74" y="195"/>
                  </a:lnTo>
                  <a:lnTo>
                    <a:pt x="75" y="193"/>
                  </a:lnTo>
                  <a:lnTo>
                    <a:pt x="75" y="191"/>
                  </a:lnTo>
                  <a:lnTo>
                    <a:pt x="75" y="190"/>
                  </a:lnTo>
                  <a:lnTo>
                    <a:pt x="74" y="188"/>
                  </a:lnTo>
                  <a:lnTo>
                    <a:pt x="74" y="186"/>
                  </a:lnTo>
                  <a:lnTo>
                    <a:pt x="74" y="186"/>
                  </a:lnTo>
                  <a:lnTo>
                    <a:pt x="72" y="183"/>
                  </a:lnTo>
                  <a:lnTo>
                    <a:pt x="70" y="183"/>
                  </a:lnTo>
                  <a:lnTo>
                    <a:pt x="70" y="181"/>
                  </a:lnTo>
                  <a:lnTo>
                    <a:pt x="69" y="181"/>
                  </a:lnTo>
                  <a:lnTo>
                    <a:pt x="65" y="179"/>
                  </a:lnTo>
                  <a:lnTo>
                    <a:pt x="63" y="178"/>
                  </a:lnTo>
                  <a:lnTo>
                    <a:pt x="62" y="178"/>
                  </a:lnTo>
                  <a:lnTo>
                    <a:pt x="60" y="176"/>
                  </a:lnTo>
                  <a:lnTo>
                    <a:pt x="60" y="176"/>
                  </a:lnTo>
                  <a:lnTo>
                    <a:pt x="58" y="176"/>
                  </a:lnTo>
                  <a:lnTo>
                    <a:pt x="57" y="176"/>
                  </a:lnTo>
                  <a:lnTo>
                    <a:pt x="55" y="176"/>
                  </a:lnTo>
                  <a:lnTo>
                    <a:pt x="53" y="178"/>
                  </a:lnTo>
                  <a:lnTo>
                    <a:pt x="51" y="178"/>
                  </a:lnTo>
                  <a:lnTo>
                    <a:pt x="50" y="178"/>
                  </a:lnTo>
                  <a:lnTo>
                    <a:pt x="48" y="178"/>
                  </a:lnTo>
                  <a:lnTo>
                    <a:pt x="46" y="179"/>
                  </a:lnTo>
                  <a:lnTo>
                    <a:pt x="44" y="179"/>
                  </a:lnTo>
                  <a:lnTo>
                    <a:pt x="44" y="179"/>
                  </a:lnTo>
                  <a:lnTo>
                    <a:pt x="43" y="179"/>
                  </a:lnTo>
                  <a:lnTo>
                    <a:pt x="41" y="179"/>
                  </a:lnTo>
                  <a:lnTo>
                    <a:pt x="39" y="179"/>
                  </a:lnTo>
                  <a:lnTo>
                    <a:pt x="38" y="179"/>
                  </a:lnTo>
                  <a:lnTo>
                    <a:pt x="36" y="179"/>
                  </a:lnTo>
                  <a:lnTo>
                    <a:pt x="38" y="178"/>
                  </a:lnTo>
                  <a:lnTo>
                    <a:pt x="38" y="171"/>
                  </a:lnTo>
                  <a:lnTo>
                    <a:pt x="38" y="169"/>
                  </a:lnTo>
                  <a:lnTo>
                    <a:pt x="38" y="166"/>
                  </a:lnTo>
                  <a:lnTo>
                    <a:pt x="36" y="166"/>
                  </a:lnTo>
                  <a:lnTo>
                    <a:pt x="34" y="166"/>
                  </a:lnTo>
                  <a:lnTo>
                    <a:pt x="34" y="164"/>
                  </a:lnTo>
                  <a:lnTo>
                    <a:pt x="32" y="164"/>
                  </a:lnTo>
                  <a:lnTo>
                    <a:pt x="31" y="162"/>
                  </a:lnTo>
                  <a:lnTo>
                    <a:pt x="29" y="160"/>
                  </a:lnTo>
                  <a:lnTo>
                    <a:pt x="29" y="159"/>
                  </a:lnTo>
                  <a:lnTo>
                    <a:pt x="31" y="159"/>
                  </a:lnTo>
                  <a:lnTo>
                    <a:pt x="31" y="160"/>
                  </a:lnTo>
                  <a:lnTo>
                    <a:pt x="31" y="159"/>
                  </a:lnTo>
                  <a:lnTo>
                    <a:pt x="32" y="159"/>
                  </a:lnTo>
                  <a:lnTo>
                    <a:pt x="31" y="157"/>
                  </a:lnTo>
                  <a:lnTo>
                    <a:pt x="31" y="157"/>
                  </a:lnTo>
                  <a:lnTo>
                    <a:pt x="29" y="157"/>
                  </a:lnTo>
                  <a:lnTo>
                    <a:pt x="29" y="155"/>
                  </a:lnTo>
                  <a:lnTo>
                    <a:pt x="31" y="155"/>
                  </a:lnTo>
                  <a:lnTo>
                    <a:pt x="31" y="154"/>
                  </a:lnTo>
                  <a:lnTo>
                    <a:pt x="31" y="152"/>
                  </a:lnTo>
                  <a:lnTo>
                    <a:pt x="32" y="152"/>
                  </a:lnTo>
                  <a:lnTo>
                    <a:pt x="32" y="150"/>
                  </a:lnTo>
                  <a:lnTo>
                    <a:pt x="34" y="150"/>
                  </a:lnTo>
                  <a:lnTo>
                    <a:pt x="34" y="148"/>
                  </a:lnTo>
                  <a:lnTo>
                    <a:pt x="36" y="148"/>
                  </a:lnTo>
                  <a:lnTo>
                    <a:pt x="36" y="147"/>
                  </a:lnTo>
                  <a:lnTo>
                    <a:pt x="38" y="145"/>
                  </a:lnTo>
                  <a:lnTo>
                    <a:pt x="41" y="143"/>
                  </a:lnTo>
                  <a:lnTo>
                    <a:pt x="41" y="141"/>
                  </a:lnTo>
                  <a:lnTo>
                    <a:pt x="39" y="141"/>
                  </a:lnTo>
                  <a:lnTo>
                    <a:pt x="39" y="141"/>
                  </a:lnTo>
                  <a:lnTo>
                    <a:pt x="38" y="141"/>
                  </a:lnTo>
                  <a:lnTo>
                    <a:pt x="38" y="141"/>
                  </a:lnTo>
                  <a:lnTo>
                    <a:pt x="36" y="141"/>
                  </a:lnTo>
                  <a:lnTo>
                    <a:pt x="36" y="141"/>
                  </a:lnTo>
                  <a:lnTo>
                    <a:pt x="38" y="141"/>
                  </a:lnTo>
                  <a:lnTo>
                    <a:pt x="39" y="140"/>
                  </a:lnTo>
                  <a:lnTo>
                    <a:pt x="39" y="138"/>
                  </a:lnTo>
                  <a:lnTo>
                    <a:pt x="39" y="136"/>
                  </a:lnTo>
                  <a:lnTo>
                    <a:pt x="39" y="135"/>
                  </a:lnTo>
                  <a:lnTo>
                    <a:pt x="38" y="135"/>
                  </a:lnTo>
                  <a:lnTo>
                    <a:pt x="36" y="135"/>
                  </a:lnTo>
                  <a:lnTo>
                    <a:pt x="36" y="133"/>
                  </a:lnTo>
                  <a:lnTo>
                    <a:pt x="36" y="131"/>
                  </a:lnTo>
                  <a:lnTo>
                    <a:pt x="36" y="129"/>
                  </a:lnTo>
                  <a:lnTo>
                    <a:pt x="34" y="131"/>
                  </a:lnTo>
                  <a:lnTo>
                    <a:pt x="34" y="133"/>
                  </a:lnTo>
                  <a:lnTo>
                    <a:pt x="32" y="133"/>
                  </a:lnTo>
                  <a:lnTo>
                    <a:pt x="31" y="131"/>
                  </a:lnTo>
                  <a:lnTo>
                    <a:pt x="32" y="131"/>
                  </a:lnTo>
                  <a:lnTo>
                    <a:pt x="32" y="129"/>
                  </a:lnTo>
                  <a:lnTo>
                    <a:pt x="32" y="128"/>
                  </a:lnTo>
                  <a:lnTo>
                    <a:pt x="34" y="128"/>
                  </a:lnTo>
                  <a:lnTo>
                    <a:pt x="34" y="126"/>
                  </a:lnTo>
                  <a:lnTo>
                    <a:pt x="34" y="126"/>
                  </a:lnTo>
                  <a:lnTo>
                    <a:pt x="36" y="126"/>
                  </a:lnTo>
                  <a:lnTo>
                    <a:pt x="36" y="124"/>
                  </a:lnTo>
                  <a:lnTo>
                    <a:pt x="38" y="124"/>
                  </a:lnTo>
                  <a:lnTo>
                    <a:pt x="38" y="126"/>
                  </a:lnTo>
                  <a:lnTo>
                    <a:pt x="38" y="124"/>
                  </a:lnTo>
                  <a:lnTo>
                    <a:pt x="38" y="123"/>
                  </a:lnTo>
                  <a:lnTo>
                    <a:pt x="36" y="123"/>
                  </a:lnTo>
                  <a:lnTo>
                    <a:pt x="36" y="121"/>
                  </a:lnTo>
                  <a:lnTo>
                    <a:pt x="34" y="119"/>
                  </a:lnTo>
                  <a:lnTo>
                    <a:pt x="32" y="117"/>
                  </a:lnTo>
                  <a:lnTo>
                    <a:pt x="31" y="116"/>
                  </a:lnTo>
                  <a:lnTo>
                    <a:pt x="31" y="114"/>
                  </a:lnTo>
                  <a:lnTo>
                    <a:pt x="31" y="112"/>
                  </a:lnTo>
                  <a:lnTo>
                    <a:pt x="31" y="111"/>
                  </a:lnTo>
                  <a:lnTo>
                    <a:pt x="31" y="111"/>
                  </a:lnTo>
                  <a:lnTo>
                    <a:pt x="31" y="109"/>
                  </a:lnTo>
                  <a:lnTo>
                    <a:pt x="31" y="107"/>
                  </a:lnTo>
                  <a:lnTo>
                    <a:pt x="31" y="105"/>
                  </a:lnTo>
                  <a:lnTo>
                    <a:pt x="31" y="104"/>
                  </a:lnTo>
                  <a:lnTo>
                    <a:pt x="32" y="104"/>
                  </a:lnTo>
                  <a:lnTo>
                    <a:pt x="32" y="102"/>
                  </a:lnTo>
                  <a:lnTo>
                    <a:pt x="31" y="102"/>
                  </a:lnTo>
                  <a:lnTo>
                    <a:pt x="31" y="100"/>
                  </a:lnTo>
                  <a:lnTo>
                    <a:pt x="29" y="100"/>
                  </a:lnTo>
                  <a:lnTo>
                    <a:pt x="29" y="98"/>
                  </a:lnTo>
                  <a:lnTo>
                    <a:pt x="29" y="97"/>
                  </a:lnTo>
                  <a:lnTo>
                    <a:pt x="29" y="97"/>
                  </a:lnTo>
                  <a:lnTo>
                    <a:pt x="29" y="95"/>
                  </a:lnTo>
                  <a:lnTo>
                    <a:pt x="29" y="95"/>
                  </a:lnTo>
                  <a:lnTo>
                    <a:pt x="29" y="93"/>
                  </a:lnTo>
                  <a:lnTo>
                    <a:pt x="29" y="93"/>
                  </a:lnTo>
                  <a:lnTo>
                    <a:pt x="29" y="92"/>
                  </a:lnTo>
                  <a:lnTo>
                    <a:pt x="29" y="92"/>
                  </a:lnTo>
                  <a:lnTo>
                    <a:pt x="29" y="92"/>
                  </a:lnTo>
                  <a:lnTo>
                    <a:pt x="29" y="90"/>
                  </a:lnTo>
                  <a:lnTo>
                    <a:pt x="29" y="88"/>
                  </a:lnTo>
                  <a:lnTo>
                    <a:pt x="29" y="86"/>
                  </a:lnTo>
                  <a:lnTo>
                    <a:pt x="29" y="85"/>
                  </a:lnTo>
                  <a:lnTo>
                    <a:pt x="29" y="83"/>
                  </a:lnTo>
                  <a:lnTo>
                    <a:pt x="29" y="81"/>
                  </a:lnTo>
                  <a:lnTo>
                    <a:pt x="29" y="81"/>
                  </a:lnTo>
                  <a:lnTo>
                    <a:pt x="31" y="81"/>
                  </a:lnTo>
                  <a:lnTo>
                    <a:pt x="32" y="81"/>
                  </a:lnTo>
                  <a:lnTo>
                    <a:pt x="32" y="80"/>
                  </a:lnTo>
                  <a:lnTo>
                    <a:pt x="31" y="78"/>
                  </a:lnTo>
                  <a:lnTo>
                    <a:pt x="29" y="78"/>
                  </a:lnTo>
                  <a:lnTo>
                    <a:pt x="29" y="76"/>
                  </a:lnTo>
                  <a:lnTo>
                    <a:pt x="29" y="74"/>
                  </a:lnTo>
                  <a:lnTo>
                    <a:pt x="31" y="74"/>
                  </a:lnTo>
                  <a:lnTo>
                    <a:pt x="31" y="73"/>
                  </a:lnTo>
                  <a:lnTo>
                    <a:pt x="29" y="73"/>
                  </a:lnTo>
                  <a:lnTo>
                    <a:pt x="29" y="73"/>
                  </a:lnTo>
                  <a:lnTo>
                    <a:pt x="29" y="71"/>
                  </a:lnTo>
                  <a:lnTo>
                    <a:pt x="29" y="69"/>
                  </a:lnTo>
                  <a:lnTo>
                    <a:pt x="29" y="68"/>
                  </a:lnTo>
                  <a:lnTo>
                    <a:pt x="29" y="68"/>
                  </a:lnTo>
                  <a:lnTo>
                    <a:pt x="27" y="68"/>
                  </a:lnTo>
                  <a:lnTo>
                    <a:pt x="26" y="68"/>
                  </a:lnTo>
                  <a:lnTo>
                    <a:pt x="26" y="66"/>
                  </a:lnTo>
                  <a:lnTo>
                    <a:pt x="27" y="66"/>
                  </a:lnTo>
                  <a:lnTo>
                    <a:pt x="27" y="66"/>
                  </a:lnTo>
                  <a:lnTo>
                    <a:pt x="29" y="66"/>
                  </a:lnTo>
                  <a:lnTo>
                    <a:pt x="29" y="66"/>
                  </a:lnTo>
                  <a:lnTo>
                    <a:pt x="29" y="64"/>
                  </a:lnTo>
                  <a:lnTo>
                    <a:pt x="29" y="64"/>
                  </a:lnTo>
                  <a:lnTo>
                    <a:pt x="29" y="62"/>
                  </a:lnTo>
                  <a:lnTo>
                    <a:pt x="27" y="62"/>
                  </a:lnTo>
                  <a:lnTo>
                    <a:pt x="26" y="62"/>
                  </a:lnTo>
                  <a:lnTo>
                    <a:pt x="26" y="61"/>
                  </a:lnTo>
                  <a:lnTo>
                    <a:pt x="24" y="61"/>
                  </a:lnTo>
                  <a:lnTo>
                    <a:pt x="22" y="61"/>
                  </a:lnTo>
                  <a:lnTo>
                    <a:pt x="20" y="61"/>
                  </a:lnTo>
                  <a:lnTo>
                    <a:pt x="20" y="62"/>
                  </a:lnTo>
                  <a:lnTo>
                    <a:pt x="19" y="62"/>
                  </a:lnTo>
                  <a:lnTo>
                    <a:pt x="17" y="62"/>
                  </a:lnTo>
                  <a:lnTo>
                    <a:pt x="15" y="62"/>
                  </a:lnTo>
                  <a:lnTo>
                    <a:pt x="15" y="64"/>
                  </a:lnTo>
                  <a:lnTo>
                    <a:pt x="15" y="66"/>
                  </a:lnTo>
                  <a:lnTo>
                    <a:pt x="14" y="66"/>
                  </a:lnTo>
                  <a:lnTo>
                    <a:pt x="14" y="64"/>
                  </a:lnTo>
                  <a:lnTo>
                    <a:pt x="15" y="62"/>
                  </a:lnTo>
                  <a:lnTo>
                    <a:pt x="14" y="62"/>
                  </a:lnTo>
                  <a:lnTo>
                    <a:pt x="14" y="62"/>
                  </a:lnTo>
                  <a:lnTo>
                    <a:pt x="14" y="61"/>
                  </a:lnTo>
                  <a:lnTo>
                    <a:pt x="14" y="61"/>
                  </a:lnTo>
                  <a:lnTo>
                    <a:pt x="14" y="59"/>
                  </a:lnTo>
                  <a:lnTo>
                    <a:pt x="14" y="59"/>
                  </a:lnTo>
                  <a:lnTo>
                    <a:pt x="14" y="57"/>
                  </a:lnTo>
                  <a:lnTo>
                    <a:pt x="14" y="55"/>
                  </a:lnTo>
                  <a:lnTo>
                    <a:pt x="14" y="54"/>
                  </a:lnTo>
                  <a:lnTo>
                    <a:pt x="12" y="52"/>
                  </a:lnTo>
                  <a:lnTo>
                    <a:pt x="10" y="50"/>
                  </a:lnTo>
                  <a:lnTo>
                    <a:pt x="8" y="50"/>
                  </a:lnTo>
                  <a:lnTo>
                    <a:pt x="7" y="50"/>
                  </a:lnTo>
                  <a:lnTo>
                    <a:pt x="5" y="50"/>
                  </a:lnTo>
                  <a:lnTo>
                    <a:pt x="3" y="50"/>
                  </a:lnTo>
                  <a:lnTo>
                    <a:pt x="1" y="50"/>
                  </a:lnTo>
                  <a:lnTo>
                    <a:pt x="0" y="50"/>
                  </a:lnTo>
                  <a:lnTo>
                    <a:pt x="0" y="49"/>
                  </a:lnTo>
                  <a:lnTo>
                    <a:pt x="0" y="47"/>
                  </a:lnTo>
                  <a:lnTo>
                    <a:pt x="0" y="45"/>
                  </a:lnTo>
                  <a:lnTo>
                    <a:pt x="1" y="45"/>
                  </a:lnTo>
                  <a:lnTo>
                    <a:pt x="0" y="43"/>
                  </a:lnTo>
                  <a:lnTo>
                    <a:pt x="0" y="42"/>
                  </a:lnTo>
                  <a:lnTo>
                    <a:pt x="1" y="42"/>
                  </a:lnTo>
                  <a:lnTo>
                    <a:pt x="3" y="43"/>
                  </a:lnTo>
                  <a:lnTo>
                    <a:pt x="3" y="45"/>
                  </a:lnTo>
                  <a:lnTo>
                    <a:pt x="5" y="45"/>
                  </a:lnTo>
                  <a:lnTo>
                    <a:pt x="5" y="43"/>
                  </a:lnTo>
                  <a:lnTo>
                    <a:pt x="5" y="42"/>
                  </a:lnTo>
                  <a:lnTo>
                    <a:pt x="5" y="40"/>
                  </a:lnTo>
                  <a:lnTo>
                    <a:pt x="5" y="42"/>
                  </a:lnTo>
                  <a:lnTo>
                    <a:pt x="7" y="42"/>
                  </a:lnTo>
                  <a:lnTo>
                    <a:pt x="7" y="43"/>
                  </a:lnTo>
                  <a:lnTo>
                    <a:pt x="8" y="43"/>
                  </a:lnTo>
                  <a:lnTo>
                    <a:pt x="8" y="42"/>
                  </a:lnTo>
                  <a:lnTo>
                    <a:pt x="7" y="40"/>
                  </a:lnTo>
                  <a:lnTo>
                    <a:pt x="8" y="40"/>
                  </a:lnTo>
                  <a:lnTo>
                    <a:pt x="10" y="38"/>
                  </a:lnTo>
                  <a:lnTo>
                    <a:pt x="10" y="37"/>
                  </a:lnTo>
                  <a:lnTo>
                    <a:pt x="12" y="37"/>
                  </a:lnTo>
                  <a:lnTo>
                    <a:pt x="12" y="37"/>
                  </a:lnTo>
                  <a:lnTo>
                    <a:pt x="12" y="35"/>
                  </a:lnTo>
                  <a:lnTo>
                    <a:pt x="10" y="35"/>
                  </a:lnTo>
                  <a:lnTo>
                    <a:pt x="12" y="33"/>
                  </a:lnTo>
                  <a:lnTo>
                    <a:pt x="10" y="31"/>
                  </a:lnTo>
                  <a:lnTo>
                    <a:pt x="12" y="31"/>
                  </a:lnTo>
                  <a:lnTo>
                    <a:pt x="12" y="30"/>
                  </a:lnTo>
                  <a:lnTo>
                    <a:pt x="14" y="30"/>
                  </a:lnTo>
                  <a:lnTo>
                    <a:pt x="14" y="28"/>
                  </a:lnTo>
                  <a:lnTo>
                    <a:pt x="12" y="28"/>
                  </a:lnTo>
                  <a:lnTo>
                    <a:pt x="12" y="26"/>
                  </a:lnTo>
                  <a:lnTo>
                    <a:pt x="14" y="25"/>
                  </a:lnTo>
                  <a:lnTo>
                    <a:pt x="12" y="25"/>
                  </a:lnTo>
                  <a:lnTo>
                    <a:pt x="10" y="25"/>
                  </a:lnTo>
                  <a:lnTo>
                    <a:pt x="10" y="23"/>
                  </a:lnTo>
                  <a:lnTo>
                    <a:pt x="12" y="23"/>
                  </a:lnTo>
                  <a:lnTo>
                    <a:pt x="14" y="23"/>
                  </a:lnTo>
                  <a:lnTo>
                    <a:pt x="14" y="23"/>
                  </a:lnTo>
                  <a:lnTo>
                    <a:pt x="14" y="21"/>
                  </a:lnTo>
                  <a:lnTo>
                    <a:pt x="12" y="21"/>
                  </a:lnTo>
                  <a:lnTo>
                    <a:pt x="10" y="21"/>
                  </a:lnTo>
                  <a:lnTo>
                    <a:pt x="10" y="21"/>
                  </a:lnTo>
                  <a:lnTo>
                    <a:pt x="12" y="21"/>
                  </a:lnTo>
                  <a:lnTo>
                    <a:pt x="12" y="19"/>
                  </a:lnTo>
                  <a:lnTo>
                    <a:pt x="14" y="19"/>
                  </a:lnTo>
                  <a:lnTo>
                    <a:pt x="14" y="21"/>
                  </a:lnTo>
                  <a:lnTo>
                    <a:pt x="14" y="19"/>
                  </a:lnTo>
                  <a:lnTo>
                    <a:pt x="14" y="18"/>
                  </a:lnTo>
                  <a:lnTo>
                    <a:pt x="15" y="18"/>
                  </a:lnTo>
                  <a:lnTo>
                    <a:pt x="15" y="16"/>
                  </a:lnTo>
                  <a:lnTo>
                    <a:pt x="17" y="16"/>
                  </a:lnTo>
                  <a:lnTo>
                    <a:pt x="15" y="16"/>
                  </a:lnTo>
                  <a:lnTo>
                    <a:pt x="15" y="14"/>
                  </a:lnTo>
                  <a:lnTo>
                    <a:pt x="14" y="14"/>
                  </a:lnTo>
                  <a:lnTo>
                    <a:pt x="14" y="16"/>
                  </a:lnTo>
                  <a:lnTo>
                    <a:pt x="15" y="16"/>
                  </a:lnTo>
                  <a:lnTo>
                    <a:pt x="15" y="18"/>
                  </a:lnTo>
                  <a:lnTo>
                    <a:pt x="14" y="18"/>
                  </a:lnTo>
                  <a:lnTo>
                    <a:pt x="14" y="16"/>
                  </a:lnTo>
                  <a:lnTo>
                    <a:pt x="14" y="16"/>
                  </a:lnTo>
                  <a:lnTo>
                    <a:pt x="14" y="14"/>
                  </a:lnTo>
                  <a:lnTo>
                    <a:pt x="12" y="14"/>
                  </a:lnTo>
                  <a:lnTo>
                    <a:pt x="12" y="12"/>
                  </a:lnTo>
                  <a:lnTo>
                    <a:pt x="14" y="12"/>
                  </a:lnTo>
                  <a:lnTo>
                    <a:pt x="14" y="12"/>
                  </a:lnTo>
                  <a:lnTo>
                    <a:pt x="15" y="12"/>
                  </a:lnTo>
                  <a:lnTo>
                    <a:pt x="15" y="11"/>
                  </a:lnTo>
                  <a:lnTo>
                    <a:pt x="14" y="11"/>
                  </a:lnTo>
                  <a:lnTo>
                    <a:pt x="14" y="11"/>
                  </a:lnTo>
                  <a:lnTo>
                    <a:pt x="14" y="9"/>
                  </a:lnTo>
                  <a:lnTo>
                    <a:pt x="12" y="9"/>
                  </a:lnTo>
                  <a:lnTo>
                    <a:pt x="10" y="7"/>
                  </a:lnTo>
                  <a:lnTo>
                    <a:pt x="12" y="6"/>
                  </a:lnTo>
                  <a:lnTo>
                    <a:pt x="12" y="7"/>
                  </a:lnTo>
                  <a:lnTo>
                    <a:pt x="12" y="6"/>
                  </a:lnTo>
                  <a:lnTo>
                    <a:pt x="12" y="6"/>
                  </a:lnTo>
                  <a:lnTo>
                    <a:pt x="14" y="6"/>
                  </a:lnTo>
                  <a:lnTo>
                    <a:pt x="12" y="6"/>
                  </a:lnTo>
                  <a:lnTo>
                    <a:pt x="12" y="4"/>
                  </a:lnTo>
                  <a:lnTo>
                    <a:pt x="12" y="2"/>
                  </a:lnTo>
                  <a:lnTo>
                    <a:pt x="14" y="4"/>
                  </a:lnTo>
                  <a:lnTo>
                    <a:pt x="14" y="2"/>
                  </a:lnTo>
                  <a:lnTo>
                    <a:pt x="14" y="2"/>
                  </a:lnTo>
                  <a:lnTo>
                    <a:pt x="14" y="2"/>
                  </a:lnTo>
                  <a:lnTo>
                    <a:pt x="12" y="2"/>
                  </a:lnTo>
                  <a:lnTo>
                    <a:pt x="10" y="2"/>
                  </a:lnTo>
                  <a:lnTo>
                    <a:pt x="8" y="2"/>
                  </a:lnTo>
                  <a:lnTo>
                    <a:pt x="8" y="0"/>
                  </a:lnTo>
                  <a:lnTo>
                    <a:pt x="10" y="0"/>
                  </a:lnTo>
                  <a:lnTo>
                    <a:pt x="12" y="2"/>
                  </a:lnTo>
                  <a:lnTo>
                    <a:pt x="12"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2" name="Freeform 151"/>
            <p:cNvSpPr>
              <a:spLocks/>
            </p:cNvSpPr>
            <p:nvPr/>
          </p:nvSpPr>
          <p:spPr bwMode="auto">
            <a:xfrm>
              <a:off x="3988684" y="1458706"/>
              <a:ext cx="428625" cy="433388"/>
            </a:xfrm>
            <a:custGeom>
              <a:avLst/>
              <a:gdLst/>
              <a:ahLst/>
              <a:cxnLst>
                <a:cxn ang="0">
                  <a:pos x="270" y="21"/>
                </a:cxn>
                <a:cxn ang="0">
                  <a:pos x="268" y="38"/>
                </a:cxn>
                <a:cxn ang="0">
                  <a:pos x="268" y="65"/>
                </a:cxn>
                <a:cxn ang="0">
                  <a:pos x="268" y="84"/>
                </a:cxn>
                <a:cxn ang="0">
                  <a:pos x="270" y="100"/>
                </a:cxn>
                <a:cxn ang="0">
                  <a:pos x="270" y="120"/>
                </a:cxn>
                <a:cxn ang="0">
                  <a:pos x="270" y="153"/>
                </a:cxn>
                <a:cxn ang="0">
                  <a:pos x="270" y="163"/>
                </a:cxn>
                <a:cxn ang="0">
                  <a:pos x="270" y="181"/>
                </a:cxn>
                <a:cxn ang="0">
                  <a:pos x="270" y="203"/>
                </a:cxn>
                <a:cxn ang="0">
                  <a:pos x="270" y="224"/>
                </a:cxn>
                <a:cxn ang="0">
                  <a:pos x="270" y="248"/>
                </a:cxn>
                <a:cxn ang="0">
                  <a:pos x="270" y="265"/>
                </a:cxn>
                <a:cxn ang="0">
                  <a:pos x="263" y="273"/>
                </a:cxn>
                <a:cxn ang="0">
                  <a:pos x="244" y="273"/>
                </a:cxn>
                <a:cxn ang="0">
                  <a:pos x="220" y="272"/>
                </a:cxn>
                <a:cxn ang="0">
                  <a:pos x="199" y="272"/>
                </a:cxn>
                <a:cxn ang="0">
                  <a:pos x="177" y="272"/>
                </a:cxn>
                <a:cxn ang="0">
                  <a:pos x="149" y="272"/>
                </a:cxn>
                <a:cxn ang="0">
                  <a:pos x="127" y="272"/>
                </a:cxn>
                <a:cxn ang="0">
                  <a:pos x="103" y="272"/>
                </a:cxn>
                <a:cxn ang="0">
                  <a:pos x="72" y="270"/>
                </a:cxn>
                <a:cxn ang="0">
                  <a:pos x="53" y="270"/>
                </a:cxn>
                <a:cxn ang="0">
                  <a:pos x="29" y="268"/>
                </a:cxn>
                <a:cxn ang="0">
                  <a:pos x="15" y="268"/>
                </a:cxn>
                <a:cxn ang="0">
                  <a:pos x="5" y="258"/>
                </a:cxn>
                <a:cxn ang="0">
                  <a:pos x="5" y="246"/>
                </a:cxn>
                <a:cxn ang="0">
                  <a:pos x="5" y="211"/>
                </a:cxn>
                <a:cxn ang="0">
                  <a:pos x="7" y="187"/>
                </a:cxn>
                <a:cxn ang="0">
                  <a:pos x="7" y="177"/>
                </a:cxn>
                <a:cxn ang="0">
                  <a:pos x="7" y="167"/>
                </a:cxn>
                <a:cxn ang="0">
                  <a:pos x="7" y="153"/>
                </a:cxn>
                <a:cxn ang="0">
                  <a:pos x="7" y="134"/>
                </a:cxn>
                <a:cxn ang="0">
                  <a:pos x="8" y="119"/>
                </a:cxn>
                <a:cxn ang="0">
                  <a:pos x="8" y="103"/>
                </a:cxn>
                <a:cxn ang="0">
                  <a:pos x="0" y="77"/>
                </a:cxn>
                <a:cxn ang="0">
                  <a:pos x="0" y="67"/>
                </a:cxn>
                <a:cxn ang="0">
                  <a:pos x="2" y="26"/>
                </a:cxn>
                <a:cxn ang="0">
                  <a:pos x="2" y="12"/>
                </a:cxn>
                <a:cxn ang="0">
                  <a:pos x="2" y="0"/>
                </a:cxn>
                <a:cxn ang="0">
                  <a:pos x="29" y="2"/>
                </a:cxn>
                <a:cxn ang="0">
                  <a:pos x="50" y="2"/>
                </a:cxn>
                <a:cxn ang="0">
                  <a:pos x="69" y="2"/>
                </a:cxn>
                <a:cxn ang="0">
                  <a:pos x="88" y="2"/>
                </a:cxn>
                <a:cxn ang="0">
                  <a:pos x="94" y="2"/>
                </a:cxn>
                <a:cxn ang="0">
                  <a:pos x="106" y="2"/>
                </a:cxn>
                <a:cxn ang="0">
                  <a:pos x="119" y="2"/>
                </a:cxn>
                <a:cxn ang="0">
                  <a:pos x="136" y="3"/>
                </a:cxn>
                <a:cxn ang="0">
                  <a:pos x="160" y="3"/>
                </a:cxn>
                <a:cxn ang="0">
                  <a:pos x="180" y="3"/>
                </a:cxn>
                <a:cxn ang="0">
                  <a:pos x="203" y="3"/>
                </a:cxn>
                <a:cxn ang="0">
                  <a:pos x="215" y="3"/>
                </a:cxn>
                <a:cxn ang="0">
                  <a:pos x="235" y="5"/>
                </a:cxn>
                <a:cxn ang="0">
                  <a:pos x="254" y="5"/>
                </a:cxn>
              </a:cxnLst>
              <a:rect l="0" t="0" r="r" b="b"/>
              <a:pathLst>
                <a:path w="270" h="273">
                  <a:moveTo>
                    <a:pt x="270" y="5"/>
                  </a:moveTo>
                  <a:lnTo>
                    <a:pt x="270" y="8"/>
                  </a:lnTo>
                  <a:lnTo>
                    <a:pt x="270" y="12"/>
                  </a:lnTo>
                  <a:lnTo>
                    <a:pt x="270" y="17"/>
                  </a:lnTo>
                  <a:lnTo>
                    <a:pt x="270" y="21"/>
                  </a:lnTo>
                  <a:lnTo>
                    <a:pt x="270" y="22"/>
                  </a:lnTo>
                  <a:lnTo>
                    <a:pt x="268" y="29"/>
                  </a:lnTo>
                  <a:lnTo>
                    <a:pt x="268" y="33"/>
                  </a:lnTo>
                  <a:lnTo>
                    <a:pt x="268" y="34"/>
                  </a:lnTo>
                  <a:lnTo>
                    <a:pt x="268" y="38"/>
                  </a:lnTo>
                  <a:lnTo>
                    <a:pt x="268" y="48"/>
                  </a:lnTo>
                  <a:lnTo>
                    <a:pt x="268" y="50"/>
                  </a:lnTo>
                  <a:lnTo>
                    <a:pt x="268" y="57"/>
                  </a:lnTo>
                  <a:lnTo>
                    <a:pt x="268" y="62"/>
                  </a:lnTo>
                  <a:lnTo>
                    <a:pt x="268" y="65"/>
                  </a:lnTo>
                  <a:lnTo>
                    <a:pt x="268" y="72"/>
                  </a:lnTo>
                  <a:lnTo>
                    <a:pt x="268" y="74"/>
                  </a:lnTo>
                  <a:lnTo>
                    <a:pt x="268" y="77"/>
                  </a:lnTo>
                  <a:lnTo>
                    <a:pt x="268" y="82"/>
                  </a:lnTo>
                  <a:lnTo>
                    <a:pt x="268" y="84"/>
                  </a:lnTo>
                  <a:lnTo>
                    <a:pt x="270" y="84"/>
                  </a:lnTo>
                  <a:lnTo>
                    <a:pt x="270" y="86"/>
                  </a:lnTo>
                  <a:lnTo>
                    <a:pt x="270" y="89"/>
                  </a:lnTo>
                  <a:lnTo>
                    <a:pt x="270" y="93"/>
                  </a:lnTo>
                  <a:lnTo>
                    <a:pt x="270" y="100"/>
                  </a:lnTo>
                  <a:lnTo>
                    <a:pt x="270" y="107"/>
                  </a:lnTo>
                  <a:lnTo>
                    <a:pt x="270" y="107"/>
                  </a:lnTo>
                  <a:lnTo>
                    <a:pt x="270" y="110"/>
                  </a:lnTo>
                  <a:lnTo>
                    <a:pt x="270" y="117"/>
                  </a:lnTo>
                  <a:lnTo>
                    <a:pt x="270" y="120"/>
                  </a:lnTo>
                  <a:lnTo>
                    <a:pt x="270" y="127"/>
                  </a:lnTo>
                  <a:lnTo>
                    <a:pt x="270" y="132"/>
                  </a:lnTo>
                  <a:lnTo>
                    <a:pt x="270" y="137"/>
                  </a:lnTo>
                  <a:lnTo>
                    <a:pt x="270" y="150"/>
                  </a:lnTo>
                  <a:lnTo>
                    <a:pt x="270" y="153"/>
                  </a:lnTo>
                  <a:lnTo>
                    <a:pt x="270" y="155"/>
                  </a:lnTo>
                  <a:lnTo>
                    <a:pt x="270" y="156"/>
                  </a:lnTo>
                  <a:lnTo>
                    <a:pt x="270" y="160"/>
                  </a:lnTo>
                  <a:lnTo>
                    <a:pt x="270" y="162"/>
                  </a:lnTo>
                  <a:lnTo>
                    <a:pt x="270" y="163"/>
                  </a:lnTo>
                  <a:lnTo>
                    <a:pt x="270" y="165"/>
                  </a:lnTo>
                  <a:lnTo>
                    <a:pt x="270" y="167"/>
                  </a:lnTo>
                  <a:lnTo>
                    <a:pt x="270" y="167"/>
                  </a:lnTo>
                  <a:lnTo>
                    <a:pt x="270" y="170"/>
                  </a:lnTo>
                  <a:lnTo>
                    <a:pt x="270" y="181"/>
                  </a:lnTo>
                  <a:lnTo>
                    <a:pt x="270" y="189"/>
                  </a:lnTo>
                  <a:lnTo>
                    <a:pt x="270" y="194"/>
                  </a:lnTo>
                  <a:lnTo>
                    <a:pt x="270" y="196"/>
                  </a:lnTo>
                  <a:lnTo>
                    <a:pt x="270" y="199"/>
                  </a:lnTo>
                  <a:lnTo>
                    <a:pt x="270" y="203"/>
                  </a:lnTo>
                  <a:lnTo>
                    <a:pt x="270" y="206"/>
                  </a:lnTo>
                  <a:lnTo>
                    <a:pt x="270" y="210"/>
                  </a:lnTo>
                  <a:lnTo>
                    <a:pt x="270" y="213"/>
                  </a:lnTo>
                  <a:lnTo>
                    <a:pt x="270" y="218"/>
                  </a:lnTo>
                  <a:lnTo>
                    <a:pt x="270" y="224"/>
                  </a:lnTo>
                  <a:lnTo>
                    <a:pt x="270" y="225"/>
                  </a:lnTo>
                  <a:lnTo>
                    <a:pt x="270" y="230"/>
                  </a:lnTo>
                  <a:lnTo>
                    <a:pt x="270" y="237"/>
                  </a:lnTo>
                  <a:lnTo>
                    <a:pt x="270" y="242"/>
                  </a:lnTo>
                  <a:lnTo>
                    <a:pt x="270" y="248"/>
                  </a:lnTo>
                  <a:lnTo>
                    <a:pt x="270" y="251"/>
                  </a:lnTo>
                  <a:lnTo>
                    <a:pt x="270" y="254"/>
                  </a:lnTo>
                  <a:lnTo>
                    <a:pt x="270" y="256"/>
                  </a:lnTo>
                  <a:lnTo>
                    <a:pt x="270" y="263"/>
                  </a:lnTo>
                  <a:lnTo>
                    <a:pt x="270" y="265"/>
                  </a:lnTo>
                  <a:lnTo>
                    <a:pt x="270" y="267"/>
                  </a:lnTo>
                  <a:lnTo>
                    <a:pt x="270" y="268"/>
                  </a:lnTo>
                  <a:lnTo>
                    <a:pt x="270" y="270"/>
                  </a:lnTo>
                  <a:lnTo>
                    <a:pt x="270" y="273"/>
                  </a:lnTo>
                  <a:lnTo>
                    <a:pt x="263" y="273"/>
                  </a:lnTo>
                  <a:lnTo>
                    <a:pt x="258" y="273"/>
                  </a:lnTo>
                  <a:lnTo>
                    <a:pt x="256" y="273"/>
                  </a:lnTo>
                  <a:lnTo>
                    <a:pt x="251" y="273"/>
                  </a:lnTo>
                  <a:lnTo>
                    <a:pt x="246" y="273"/>
                  </a:lnTo>
                  <a:lnTo>
                    <a:pt x="244" y="273"/>
                  </a:lnTo>
                  <a:lnTo>
                    <a:pt x="237" y="273"/>
                  </a:lnTo>
                  <a:lnTo>
                    <a:pt x="234" y="273"/>
                  </a:lnTo>
                  <a:lnTo>
                    <a:pt x="225" y="272"/>
                  </a:lnTo>
                  <a:lnTo>
                    <a:pt x="223" y="272"/>
                  </a:lnTo>
                  <a:lnTo>
                    <a:pt x="220" y="272"/>
                  </a:lnTo>
                  <a:lnTo>
                    <a:pt x="213" y="272"/>
                  </a:lnTo>
                  <a:lnTo>
                    <a:pt x="206" y="272"/>
                  </a:lnTo>
                  <a:lnTo>
                    <a:pt x="203" y="272"/>
                  </a:lnTo>
                  <a:lnTo>
                    <a:pt x="201" y="272"/>
                  </a:lnTo>
                  <a:lnTo>
                    <a:pt x="199" y="272"/>
                  </a:lnTo>
                  <a:lnTo>
                    <a:pt x="194" y="272"/>
                  </a:lnTo>
                  <a:lnTo>
                    <a:pt x="192" y="272"/>
                  </a:lnTo>
                  <a:lnTo>
                    <a:pt x="187" y="272"/>
                  </a:lnTo>
                  <a:lnTo>
                    <a:pt x="180" y="272"/>
                  </a:lnTo>
                  <a:lnTo>
                    <a:pt x="177" y="272"/>
                  </a:lnTo>
                  <a:lnTo>
                    <a:pt x="175" y="272"/>
                  </a:lnTo>
                  <a:lnTo>
                    <a:pt x="170" y="272"/>
                  </a:lnTo>
                  <a:lnTo>
                    <a:pt x="167" y="272"/>
                  </a:lnTo>
                  <a:lnTo>
                    <a:pt x="160" y="272"/>
                  </a:lnTo>
                  <a:lnTo>
                    <a:pt x="149" y="272"/>
                  </a:lnTo>
                  <a:lnTo>
                    <a:pt x="148" y="272"/>
                  </a:lnTo>
                  <a:lnTo>
                    <a:pt x="143" y="272"/>
                  </a:lnTo>
                  <a:lnTo>
                    <a:pt x="136" y="272"/>
                  </a:lnTo>
                  <a:lnTo>
                    <a:pt x="132" y="272"/>
                  </a:lnTo>
                  <a:lnTo>
                    <a:pt x="127" y="272"/>
                  </a:lnTo>
                  <a:lnTo>
                    <a:pt x="124" y="272"/>
                  </a:lnTo>
                  <a:lnTo>
                    <a:pt x="120" y="272"/>
                  </a:lnTo>
                  <a:lnTo>
                    <a:pt x="119" y="272"/>
                  </a:lnTo>
                  <a:lnTo>
                    <a:pt x="113" y="272"/>
                  </a:lnTo>
                  <a:lnTo>
                    <a:pt x="103" y="272"/>
                  </a:lnTo>
                  <a:lnTo>
                    <a:pt x="101" y="272"/>
                  </a:lnTo>
                  <a:lnTo>
                    <a:pt x="94" y="272"/>
                  </a:lnTo>
                  <a:lnTo>
                    <a:pt x="86" y="270"/>
                  </a:lnTo>
                  <a:lnTo>
                    <a:pt x="81" y="270"/>
                  </a:lnTo>
                  <a:lnTo>
                    <a:pt x="72" y="270"/>
                  </a:lnTo>
                  <a:lnTo>
                    <a:pt x="69" y="270"/>
                  </a:lnTo>
                  <a:lnTo>
                    <a:pt x="67" y="270"/>
                  </a:lnTo>
                  <a:lnTo>
                    <a:pt x="65" y="270"/>
                  </a:lnTo>
                  <a:lnTo>
                    <a:pt x="63" y="270"/>
                  </a:lnTo>
                  <a:lnTo>
                    <a:pt x="53" y="270"/>
                  </a:lnTo>
                  <a:lnTo>
                    <a:pt x="50" y="270"/>
                  </a:lnTo>
                  <a:lnTo>
                    <a:pt x="43" y="270"/>
                  </a:lnTo>
                  <a:lnTo>
                    <a:pt x="39" y="268"/>
                  </a:lnTo>
                  <a:lnTo>
                    <a:pt x="38" y="268"/>
                  </a:lnTo>
                  <a:lnTo>
                    <a:pt x="29" y="268"/>
                  </a:lnTo>
                  <a:lnTo>
                    <a:pt x="29" y="268"/>
                  </a:lnTo>
                  <a:lnTo>
                    <a:pt x="27" y="268"/>
                  </a:lnTo>
                  <a:lnTo>
                    <a:pt x="17" y="268"/>
                  </a:lnTo>
                  <a:lnTo>
                    <a:pt x="15" y="268"/>
                  </a:lnTo>
                  <a:lnTo>
                    <a:pt x="15" y="268"/>
                  </a:lnTo>
                  <a:lnTo>
                    <a:pt x="5" y="267"/>
                  </a:lnTo>
                  <a:lnTo>
                    <a:pt x="5" y="265"/>
                  </a:lnTo>
                  <a:lnTo>
                    <a:pt x="5" y="263"/>
                  </a:lnTo>
                  <a:lnTo>
                    <a:pt x="5" y="261"/>
                  </a:lnTo>
                  <a:lnTo>
                    <a:pt x="5" y="258"/>
                  </a:lnTo>
                  <a:lnTo>
                    <a:pt x="5" y="256"/>
                  </a:lnTo>
                  <a:lnTo>
                    <a:pt x="5" y="251"/>
                  </a:lnTo>
                  <a:lnTo>
                    <a:pt x="5" y="249"/>
                  </a:lnTo>
                  <a:lnTo>
                    <a:pt x="5" y="248"/>
                  </a:lnTo>
                  <a:lnTo>
                    <a:pt x="5" y="246"/>
                  </a:lnTo>
                  <a:lnTo>
                    <a:pt x="5" y="242"/>
                  </a:lnTo>
                  <a:lnTo>
                    <a:pt x="5" y="234"/>
                  </a:lnTo>
                  <a:lnTo>
                    <a:pt x="5" y="222"/>
                  </a:lnTo>
                  <a:lnTo>
                    <a:pt x="5" y="220"/>
                  </a:lnTo>
                  <a:lnTo>
                    <a:pt x="5" y="211"/>
                  </a:lnTo>
                  <a:lnTo>
                    <a:pt x="5" y="199"/>
                  </a:lnTo>
                  <a:lnTo>
                    <a:pt x="7" y="196"/>
                  </a:lnTo>
                  <a:lnTo>
                    <a:pt x="7" y="191"/>
                  </a:lnTo>
                  <a:lnTo>
                    <a:pt x="7" y="189"/>
                  </a:lnTo>
                  <a:lnTo>
                    <a:pt x="7" y="187"/>
                  </a:lnTo>
                  <a:lnTo>
                    <a:pt x="7" y="182"/>
                  </a:lnTo>
                  <a:lnTo>
                    <a:pt x="7" y="182"/>
                  </a:lnTo>
                  <a:lnTo>
                    <a:pt x="7" y="181"/>
                  </a:lnTo>
                  <a:lnTo>
                    <a:pt x="7" y="179"/>
                  </a:lnTo>
                  <a:lnTo>
                    <a:pt x="7" y="177"/>
                  </a:lnTo>
                  <a:lnTo>
                    <a:pt x="7" y="174"/>
                  </a:lnTo>
                  <a:lnTo>
                    <a:pt x="7" y="172"/>
                  </a:lnTo>
                  <a:lnTo>
                    <a:pt x="7" y="170"/>
                  </a:lnTo>
                  <a:lnTo>
                    <a:pt x="7" y="167"/>
                  </a:lnTo>
                  <a:lnTo>
                    <a:pt x="7" y="167"/>
                  </a:lnTo>
                  <a:lnTo>
                    <a:pt x="7" y="162"/>
                  </a:lnTo>
                  <a:lnTo>
                    <a:pt x="7" y="160"/>
                  </a:lnTo>
                  <a:lnTo>
                    <a:pt x="7" y="156"/>
                  </a:lnTo>
                  <a:lnTo>
                    <a:pt x="7" y="155"/>
                  </a:lnTo>
                  <a:lnTo>
                    <a:pt x="7" y="153"/>
                  </a:lnTo>
                  <a:lnTo>
                    <a:pt x="7" y="153"/>
                  </a:lnTo>
                  <a:lnTo>
                    <a:pt x="7" y="151"/>
                  </a:lnTo>
                  <a:lnTo>
                    <a:pt x="7" y="144"/>
                  </a:lnTo>
                  <a:lnTo>
                    <a:pt x="7" y="136"/>
                  </a:lnTo>
                  <a:lnTo>
                    <a:pt x="7" y="134"/>
                  </a:lnTo>
                  <a:lnTo>
                    <a:pt x="7" y="132"/>
                  </a:lnTo>
                  <a:lnTo>
                    <a:pt x="8" y="124"/>
                  </a:lnTo>
                  <a:lnTo>
                    <a:pt x="8" y="122"/>
                  </a:lnTo>
                  <a:lnTo>
                    <a:pt x="8" y="120"/>
                  </a:lnTo>
                  <a:lnTo>
                    <a:pt x="8" y="119"/>
                  </a:lnTo>
                  <a:lnTo>
                    <a:pt x="8" y="112"/>
                  </a:lnTo>
                  <a:lnTo>
                    <a:pt x="8" y="110"/>
                  </a:lnTo>
                  <a:lnTo>
                    <a:pt x="8" y="108"/>
                  </a:lnTo>
                  <a:lnTo>
                    <a:pt x="8" y="105"/>
                  </a:lnTo>
                  <a:lnTo>
                    <a:pt x="8" y="103"/>
                  </a:lnTo>
                  <a:lnTo>
                    <a:pt x="8" y="96"/>
                  </a:lnTo>
                  <a:lnTo>
                    <a:pt x="8" y="86"/>
                  </a:lnTo>
                  <a:lnTo>
                    <a:pt x="8" y="77"/>
                  </a:lnTo>
                  <a:lnTo>
                    <a:pt x="2" y="77"/>
                  </a:lnTo>
                  <a:lnTo>
                    <a:pt x="0" y="77"/>
                  </a:lnTo>
                  <a:lnTo>
                    <a:pt x="0" y="77"/>
                  </a:lnTo>
                  <a:lnTo>
                    <a:pt x="0" y="77"/>
                  </a:lnTo>
                  <a:lnTo>
                    <a:pt x="0" y="74"/>
                  </a:lnTo>
                  <a:lnTo>
                    <a:pt x="0" y="72"/>
                  </a:lnTo>
                  <a:lnTo>
                    <a:pt x="0" y="67"/>
                  </a:lnTo>
                  <a:lnTo>
                    <a:pt x="0" y="62"/>
                  </a:lnTo>
                  <a:lnTo>
                    <a:pt x="0" y="55"/>
                  </a:lnTo>
                  <a:lnTo>
                    <a:pt x="0" y="45"/>
                  </a:lnTo>
                  <a:lnTo>
                    <a:pt x="2" y="27"/>
                  </a:lnTo>
                  <a:lnTo>
                    <a:pt x="2" y="26"/>
                  </a:lnTo>
                  <a:lnTo>
                    <a:pt x="2" y="22"/>
                  </a:lnTo>
                  <a:lnTo>
                    <a:pt x="2" y="21"/>
                  </a:lnTo>
                  <a:lnTo>
                    <a:pt x="2" y="19"/>
                  </a:lnTo>
                  <a:lnTo>
                    <a:pt x="2" y="17"/>
                  </a:lnTo>
                  <a:lnTo>
                    <a:pt x="2" y="12"/>
                  </a:lnTo>
                  <a:lnTo>
                    <a:pt x="2" y="10"/>
                  </a:lnTo>
                  <a:lnTo>
                    <a:pt x="2" y="8"/>
                  </a:lnTo>
                  <a:lnTo>
                    <a:pt x="2" y="3"/>
                  </a:lnTo>
                  <a:lnTo>
                    <a:pt x="2" y="2"/>
                  </a:lnTo>
                  <a:lnTo>
                    <a:pt x="2" y="0"/>
                  </a:lnTo>
                  <a:lnTo>
                    <a:pt x="8" y="0"/>
                  </a:lnTo>
                  <a:lnTo>
                    <a:pt x="10" y="0"/>
                  </a:lnTo>
                  <a:lnTo>
                    <a:pt x="15" y="0"/>
                  </a:lnTo>
                  <a:lnTo>
                    <a:pt x="20" y="2"/>
                  </a:lnTo>
                  <a:lnTo>
                    <a:pt x="29" y="2"/>
                  </a:lnTo>
                  <a:lnTo>
                    <a:pt x="34" y="2"/>
                  </a:lnTo>
                  <a:lnTo>
                    <a:pt x="39" y="2"/>
                  </a:lnTo>
                  <a:lnTo>
                    <a:pt x="45" y="2"/>
                  </a:lnTo>
                  <a:lnTo>
                    <a:pt x="46" y="2"/>
                  </a:lnTo>
                  <a:lnTo>
                    <a:pt x="50" y="2"/>
                  </a:lnTo>
                  <a:lnTo>
                    <a:pt x="51" y="2"/>
                  </a:lnTo>
                  <a:lnTo>
                    <a:pt x="57" y="2"/>
                  </a:lnTo>
                  <a:lnTo>
                    <a:pt x="58" y="2"/>
                  </a:lnTo>
                  <a:lnTo>
                    <a:pt x="67" y="2"/>
                  </a:lnTo>
                  <a:lnTo>
                    <a:pt x="69" y="2"/>
                  </a:lnTo>
                  <a:lnTo>
                    <a:pt x="76" y="2"/>
                  </a:lnTo>
                  <a:lnTo>
                    <a:pt x="79" y="2"/>
                  </a:lnTo>
                  <a:lnTo>
                    <a:pt x="82" y="2"/>
                  </a:lnTo>
                  <a:lnTo>
                    <a:pt x="86" y="2"/>
                  </a:lnTo>
                  <a:lnTo>
                    <a:pt x="88" y="2"/>
                  </a:lnTo>
                  <a:lnTo>
                    <a:pt x="89" y="2"/>
                  </a:lnTo>
                  <a:lnTo>
                    <a:pt x="89" y="2"/>
                  </a:lnTo>
                  <a:lnTo>
                    <a:pt x="91" y="2"/>
                  </a:lnTo>
                  <a:lnTo>
                    <a:pt x="93" y="2"/>
                  </a:lnTo>
                  <a:lnTo>
                    <a:pt x="94" y="2"/>
                  </a:lnTo>
                  <a:lnTo>
                    <a:pt x="98" y="2"/>
                  </a:lnTo>
                  <a:lnTo>
                    <a:pt x="101" y="2"/>
                  </a:lnTo>
                  <a:lnTo>
                    <a:pt x="103" y="2"/>
                  </a:lnTo>
                  <a:lnTo>
                    <a:pt x="105" y="2"/>
                  </a:lnTo>
                  <a:lnTo>
                    <a:pt x="106" y="2"/>
                  </a:lnTo>
                  <a:lnTo>
                    <a:pt x="108" y="2"/>
                  </a:lnTo>
                  <a:lnTo>
                    <a:pt x="110" y="2"/>
                  </a:lnTo>
                  <a:lnTo>
                    <a:pt x="113" y="2"/>
                  </a:lnTo>
                  <a:lnTo>
                    <a:pt x="117" y="2"/>
                  </a:lnTo>
                  <a:lnTo>
                    <a:pt x="119" y="2"/>
                  </a:lnTo>
                  <a:lnTo>
                    <a:pt x="120" y="2"/>
                  </a:lnTo>
                  <a:lnTo>
                    <a:pt x="124" y="2"/>
                  </a:lnTo>
                  <a:lnTo>
                    <a:pt x="131" y="2"/>
                  </a:lnTo>
                  <a:lnTo>
                    <a:pt x="132" y="3"/>
                  </a:lnTo>
                  <a:lnTo>
                    <a:pt x="136" y="3"/>
                  </a:lnTo>
                  <a:lnTo>
                    <a:pt x="144" y="3"/>
                  </a:lnTo>
                  <a:lnTo>
                    <a:pt x="146" y="3"/>
                  </a:lnTo>
                  <a:lnTo>
                    <a:pt x="153" y="3"/>
                  </a:lnTo>
                  <a:lnTo>
                    <a:pt x="156" y="3"/>
                  </a:lnTo>
                  <a:lnTo>
                    <a:pt x="160" y="3"/>
                  </a:lnTo>
                  <a:lnTo>
                    <a:pt x="165" y="3"/>
                  </a:lnTo>
                  <a:lnTo>
                    <a:pt x="168" y="3"/>
                  </a:lnTo>
                  <a:lnTo>
                    <a:pt x="172" y="3"/>
                  </a:lnTo>
                  <a:lnTo>
                    <a:pt x="180" y="3"/>
                  </a:lnTo>
                  <a:lnTo>
                    <a:pt x="180" y="3"/>
                  </a:lnTo>
                  <a:lnTo>
                    <a:pt x="184" y="3"/>
                  </a:lnTo>
                  <a:lnTo>
                    <a:pt x="191" y="3"/>
                  </a:lnTo>
                  <a:lnTo>
                    <a:pt x="196" y="3"/>
                  </a:lnTo>
                  <a:lnTo>
                    <a:pt x="201" y="3"/>
                  </a:lnTo>
                  <a:lnTo>
                    <a:pt x="203" y="3"/>
                  </a:lnTo>
                  <a:lnTo>
                    <a:pt x="205" y="3"/>
                  </a:lnTo>
                  <a:lnTo>
                    <a:pt x="206" y="3"/>
                  </a:lnTo>
                  <a:lnTo>
                    <a:pt x="208" y="3"/>
                  </a:lnTo>
                  <a:lnTo>
                    <a:pt x="213" y="3"/>
                  </a:lnTo>
                  <a:lnTo>
                    <a:pt x="215" y="3"/>
                  </a:lnTo>
                  <a:lnTo>
                    <a:pt x="222" y="5"/>
                  </a:lnTo>
                  <a:lnTo>
                    <a:pt x="227" y="5"/>
                  </a:lnTo>
                  <a:lnTo>
                    <a:pt x="229" y="5"/>
                  </a:lnTo>
                  <a:lnTo>
                    <a:pt x="232" y="5"/>
                  </a:lnTo>
                  <a:lnTo>
                    <a:pt x="235" y="5"/>
                  </a:lnTo>
                  <a:lnTo>
                    <a:pt x="237" y="5"/>
                  </a:lnTo>
                  <a:lnTo>
                    <a:pt x="242" y="5"/>
                  </a:lnTo>
                  <a:lnTo>
                    <a:pt x="246" y="5"/>
                  </a:lnTo>
                  <a:lnTo>
                    <a:pt x="251" y="5"/>
                  </a:lnTo>
                  <a:lnTo>
                    <a:pt x="254" y="5"/>
                  </a:lnTo>
                  <a:lnTo>
                    <a:pt x="256" y="5"/>
                  </a:lnTo>
                  <a:lnTo>
                    <a:pt x="268" y="5"/>
                  </a:lnTo>
                  <a:lnTo>
                    <a:pt x="270" y="5"/>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3" name="Freeform 152"/>
            <p:cNvSpPr>
              <a:spLocks/>
            </p:cNvSpPr>
            <p:nvPr/>
          </p:nvSpPr>
          <p:spPr bwMode="auto">
            <a:xfrm>
              <a:off x="3621971" y="1569831"/>
              <a:ext cx="379413" cy="366713"/>
            </a:xfrm>
            <a:custGeom>
              <a:avLst/>
              <a:gdLst/>
              <a:ahLst/>
              <a:cxnLst>
                <a:cxn ang="0">
                  <a:pos x="18" y="0"/>
                </a:cxn>
                <a:cxn ang="0">
                  <a:pos x="33" y="2"/>
                </a:cxn>
                <a:cxn ang="0">
                  <a:pos x="50" y="2"/>
                </a:cxn>
                <a:cxn ang="0">
                  <a:pos x="59" y="2"/>
                </a:cxn>
                <a:cxn ang="0">
                  <a:pos x="85" y="2"/>
                </a:cxn>
                <a:cxn ang="0">
                  <a:pos x="97" y="2"/>
                </a:cxn>
                <a:cxn ang="0">
                  <a:pos x="124" y="4"/>
                </a:cxn>
                <a:cxn ang="0">
                  <a:pos x="150" y="4"/>
                </a:cxn>
                <a:cxn ang="0">
                  <a:pos x="164" y="4"/>
                </a:cxn>
                <a:cxn ang="0">
                  <a:pos x="186" y="6"/>
                </a:cxn>
                <a:cxn ang="0">
                  <a:pos x="210" y="7"/>
                </a:cxn>
                <a:cxn ang="0">
                  <a:pos x="231" y="7"/>
                </a:cxn>
                <a:cxn ang="0">
                  <a:pos x="239" y="26"/>
                </a:cxn>
                <a:cxn ang="0">
                  <a:pos x="239" y="42"/>
                </a:cxn>
                <a:cxn ang="0">
                  <a:pos x="238" y="62"/>
                </a:cxn>
                <a:cxn ang="0">
                  <a:pos x="238" y="83"/>
                </a:cxn>
                <a:cxn ang="0">
                  <a:pos x="238" y="92"/>
                </a:cxn>
                <a:cxn ang="0">
                  <a:pos x="238" y="104"/>
                </a:cxn>
                <a:cxn ang="0">
                  <a:pos x="238" y="112"/>
                </a:cxn>
                <a:cxn ang="0">
                  <a:pos x="236" y="129"/>
                </a:cxn>
                <a:cxn ang="0">
                  <a:pos x="236" y="172"/>
                </a:cxn>
                <a:cxn ang="0">
                  <a:pos x="236" y="186"/>
                </a:cxn>
                <a:cxn ang="0">
                  <a:pos x="236" y="197"/>
                </a:cxn>
                <a:cxn ang="0">
                  <a:pos x="234" y="214"/>
                </a:cxn>
                <a:cxn ang="0">
                  <a:pos x="236" y="221"/>
                </a:cxn>
                <a:cxn ang="0">
                  <a:pos x="233" y="231"/>
                </a:cxn>
                <a:cxn ang="0">
                  <a:pos x="226" y="229"/>
                </a:cxn>
                <a:cxn ang="0">
                  <a:pos x="215" y="229"/>
                </a:cxn>
                <a:cxn ang="0">
                  <a:pos x="208" y="229"/>
                </a:cxn>
                <a:cxn ang="0">
                  <a:pos x="190" y="229"/>
                </a:cxn>
                <a:cxn ang="0">
                  <a:pos x="169" y="227"/>
                </a:cxn>
                <a:cxn ang="0">
                  <a:pos x="157" y="227"/>
                </a:cxn>
                <a:cxn ang="0">
                  <a:pos x="147" y="227"/>
                </a:cxn>
                <a:cxn ang="0">
                  <a:pos x="136" y="227"/>
                </a:cxn>
                <a:cxn ang="0">
                  <a:pos x="112" y="227"/>
                </a:cxn>
                <a:cxn ang="0">
                  <a:pos x="95" y="227"/>
                </a:cxn>
                <a:cxn ang="0">
                  <a:pos x="79" y="226"/>
                </a:cxn>
                <a:cxn ang="0">
                  <a:pos x="67" y="226"/>
                </a:cxn>
                <a:cxn ang="0">
                  <a:pos x="61" y="226"/>
                </a:cxn>
                <a:cxn ang="0">
                  <a:pos x="49" y="226"/>
                </a:cxn>
                <a:cxn ang="0">
                  <a:pos x="23" y="226"/>
                </a:cxn>
                <a:cxn ang="0">
                  <a:pos x="4" y="226"/>
                </a:cxn>
                <a:cxn ang="0">
                  <a:pos x="0" y="215"/>
                </a:cxn>
                <a:cxn ang="0">
                  <a:pos x="0" y="198"/>
                </a:cxn>
                <a:cxn ang="0">
                  <a:pos x="2" y="167"/>
                </a:cxn>
                <a:cxn ang="0">
                  <a:pos x="2" y="147"/>
                </a:cxn>
                <a:cxn ang="0">
                  <a:pos x="2" y="124"/>
                </a:cxn>
                <a:cxn ang="0">
                  <a:pos x="2" y="83"/>
                </a:cxn>
                <a:cxn ang="0">
                  <a:pos x="2" y="66"/>
                </a:cxn>
                <a:cxn ang="0">
                  <a:pos x="2" y="49"/>
                </a:cxn>
                <a:cxn ang="0">
                  <a:pos x="2" y="37"/>
                </a:cxn>
                <a:cxn ang="0">
                  <a:pos x="2" y="12"/>
                </a:cxn>
              </a:cxnLst>
              <a:rect l="0" t="0" r="r" b="b"/>
              <a:pathLst>
                <a:path w="239" h="231">
                  <a:moveTo>
                    <a:pt x="4" y="0"/>
                  </a:moveTo>
                  <a:lnTo>
                    <a:pt x="9" y="0"/>
                  </a:lnTo>
                  <a:lnTo>
                    <a:pt x="12" y="0"/>
                  </a:lnTo>
                  <a:lnTo>
                    <a:pt x="14" y="0"/>
                  </a:lnTo>
                  <a:lnTo>
                    <a:pt x="18" y="0"/>
                  </a:lnTo>
                  <a:lnTo>
                    <a:pt x="19" y="0"/>
                  </a:lnTo>
                  <a:lnTo>
                    <a:pt x="19" y="2"/>
                  </a:lnTo>
                  <a:lnTo>
                    <a:pt x="23" y="2"/>
                  </a:lnTo>
                  <a:lnTo>
                    <a:pt x="31" y="2"/>
                  </a:lnTo>
                  <a:lnTo>
                    <a:pt x="33" y="2"/>
                  </a:lnTo>
                  <a:lnTo>
                    <a:pt x="35" y="2"/>
                  </a:lnTo>
                  <a:lnTo>
                    <a:pt x="42" y="2"/>
                  </a:lnTo>
                  <a:lnTo>
                    <a:pt x="45" y="2"/>
                  </a:lnTo>
                  <a:lnTo>
                    <a:pt x="49" y="2"/>
                  </a:lnTo>
                  <a:lnTo>
                    <a:pt x="50" y="2"/>
                  </a:lnTo>
                  <a:lnTo>
                    <a:pt x="52" y="2"/>
                  </a:lnTo>
                  <a:lnTo>
                    <a:pt x="54" y="2"/>
                  </a:lnTo>
                  <a:lnTo>
                    <a:pt x="55" y="2"/>
                  </a:lnTo>
                  <a:lnTo>
                    <a:pt x="57" y="2"/>
                  </a:lnTo>
                  <a:lnTo>
                    <a:pt x="59" y="2"/>
                  </a:lnTo>
                  <a:lnTo>
                    <a:pt x="64" y="2"/>
                  </a:lnTo>
                  <a:lnTo>
                    <a:pt x="66" y="2"/>
                  </a:lnTo>
                  <a:lnTo>
                    <a:pt x="73" y="2"/>
                  </a:lnTo>
                  <a:lnTo>
                    <a:pt x="81" y="2"/>
                  </a:lnTo>
                  <a:lnTo>
                    <a:pt x="85" y="2"/>
                  </a:lnTo>
                  <a:lnTo>
                    <a:pt x="86" y="2"/>
                  </a:lnTo>
                  <a:lnTo>
                    <a:pt x="90" y="2"/>
                  </a:lnTo>
                  <a:lnTo>
                    <a:pt x="93" y="2"/>
                  </a:lnTo>
                  <a:lnTo>
                    <a:pt x="95" y="2"/>
                  </a:lnTo>
                  <a:lnTo>
                    <a:pt x="97" y="2"/>
                  </a:lnTo>
                  <a:lnTo>
                    <a:pt x="102" y="4"/>
                  </a:lnTo>
                  <a:lnTo>
                    <a:pt x="104" y="4"/>
                  </a:lnTo>
                  <a:lnTo>
                    <a:pt x="114" y="4"/>
                  </a:lnTo>
                  <a:lnTo>
                    <a:pt x="116" y="4"/>
                  </a:lnTo>
                  <a:lnTo>
                    <a:pt x="124" y="4"/>
                  </a:lnTo>
                  <a:lnTo>
                    <a:pt x="128" y="4"/>
                  </a:lnTo>
                  <a:lnTo>
                    <a:pt x="138" y="4"/>
                  </a:lnTo>
                  <a:lnTo>
                    <a:pt x="140" y="4"/>
                  </a:lnTo>
                  <a:lnTo>
                    <a:pt x="141" y="4"/>
                  </a:lnTo>
                  <a:lnTo>
                    <a:pt x="150" y="4"/>
                  </a:lnTo>
                  <a:lnTo>
                    <a:pt x="152" y="4"/>
                  </a:lnTo>
                  <a:lnTo>
                    <a:pt x="153" y="4"/>
                  </a:lnTo>
                  <a:lnTo>
                    <a:pt x="155" y="4"/>
                  </a:lnTo>
                  <a:lnTo>
                    <a:pt x="155" y="4"/>
                  </a:lnTo>
                  <a:lnTo>
                    <a:pt x="164" y="4"/>
                  </a:lnTo>
                  <a:lnTo>
                    <a:pt x="165" y="4"/>
                  </a:lnTo>
                  <a:lnTo>
                    <a:pt x="172" y="4"/>
                  </a:lnTo>
                  <a:lnTo>
                    <a:pt x="174" y="4"/>
                  </a:lnTo>
                  <a:lnTo>
                    <a:pt x="178" y="6"/>
                  </a:lnTo>
                  <a:lnTo>
                    <a:pt x="186" y="6"/>
                  </a:lnTo>
                  <a:lnTo>
                    <a:pt x="186" y="6"/>
                  </a:lnTo>
                  <a:lnTo>
                    <a:pt x="195" y="6"/>
                  </a:lnTo>
                  <a:lnTo>
                    <a:pt x="202" y="7"/>
                  </a:lnTo>
                  <a:lnTo>
                    <a:pt x="208" y="7"/>
                  </a:lnTo>
                  <a:lnTo>
                    <a:pt x="210" y="7"/>
                  </a:lnTo>
                  <a:lnTo>
                    <a:pt x="212" y="7"/>
                  </a:lnTo>
                  <a:lnTo>
                    <a:pt x="214" y="7"/>
                  </a:lnTo>
                  <a:lnTo>
                    <a:pt x="215" y="7"/>
                  </a:lnTo>
                  <a:lnTo>
                    <a:pt x="221" y="7"/>
                  </a:lnTo>
                  <a:lnTo>
                    <a:pt x="231" y="7"/>
                  </a:lnTo>
                  <a:lnTo>
                    <a:pt x="231" y="7"/>
                  </a:lnTo>
                  <a:lnTo>
                    <a:pt x="233" y="7"/>
                  </a:lnTo>
                  <a:lnTo>
                    <a:pt x="239" y="7"/>
                  </a:lnTo>
                  <a:lnTo>
                    <a:pt x="239" y="16"/>
                  </a:lnTo>
                  <a:lnTo>
                    <a:pt x="239" y="26"/>
                  </a:lnTo>
                  <a:lnTo>
                    <a:pt x="239" y="33"/>
                  </a:lnTo>
                  <a:lnTo>
                    <a:pt x="239" y="35"/>
                  </a:lnTo>
                  <a:lnTo>
                    <a:pt x="239" y="38"/>
                  </a:lnTo>
                  <a:lnTo>
                    <a:pt x="239" y="40"/>
                  </a:lnTo>
                  <a:lnTo>
                    <a:pt x="239" y="42"/>
                  </a:lnTo>
                  <a:lnTo>
                    <a:pt x="239" y="49"/>
                  </a:lnTo>
                  <a:lnTo>
                    <a:pt x="239" y="50"/>
                  </a:lnTo>
                  <a:lnTo>
                    <a:pt x="239" y="52"/>
                  </a:lnTo>
                  <a:lnTo>
                    <a:pt x="239" y="54"/>
                  </a:lnTo>
                  <a:lnTo>
                    <a:pt x="238" y="62"/>
                  </a:lnTo>
                  <a:lnTo>
                    <a:pt x="238" y="64"/>
                  </a:lnTo>
                  <a:lnTo>
                    <a:pt x="238" y="66"/>
                  </a:lnTo>
                  <a:lnTo>
                    <a:pt x="238" y="74"/>
                  </a:lnTo>
                  <a:lnTo>
                    <a:pt x="238" y="81"/>
                  </a:lnTo>
                  <a:lnTo>
                    <a:pt x="238" y="83"/>
                  </a:lnTo>
                  <a:lnTo>
                    <a:pt x="238" y="83"/>
                  </a:lnTo>
                  <a:lnTo>
                    <a:pt x="238" y="85"/>
                  </a:lnTo>
                  <a:lnTo>
                    <a:pt x="238" y="86"/>
                  </a:lnTo>
                  <a:lnTo>
                    <a:pt x="238" y="90"/>
                  </a:lnTo>
                  <a:lnTo>
                    <a:pt x="238" y="92"/>
                  </a:lnTo>
                  <a:lnTo>
                    <a:pt x="238" y="97"/>
                  </a:lnTo>
                  <a:lnTo>
                    <a:pt x="238" y="97"/>
                  </a:lnTo>
                  <a:lnTo>
                    <a:pt x="238" y="100"/>
                  </a:lnTo>
                  <a:lnTo>
                    <a:pt x="238" y="102"/>
                  </a:lnTo>
                  <a:lnTo>
                    <a:pt x="238" y="104"/>
                  </a:lnTo>
                  <a:lnTo>
                    <a:pt x="238" y="107"/>
                  </a:lnTo>
                  <a:lnTo>
                    <a:pt x="238" y="109"/>
                  </a:lnTo>
                  <a:lnTo>
                    <a:pt x="238" y="111"/>
                  </a:lnTo>
                  <a:lnTo>
                    <a:pt x="238" y="112"/>
                  </a:lnTo>
                  <a:lnTo>
                    <a:pt x="238" y="112"/>
                  </a:lnTo>
                  <a:lnTo>
                    <a:pt x="238" y="117"/>
                  </a:lnTo>
                  <a:lnTo>
                    <a:pt x="238" y="119"/>
                  </a:lnTo>
                  <a:lnTo>
                    <a:pt x="238" y="121"/>
                  </a:lnTo>
                  <a:lnTo>
                    <a:pt x="238" y="126"/>
                  </a:lnTo>
                  <a:lnTo>
                    <a:pt x="236" y="129"/>
                  </a:lnTo>
                  <a:lnTo>
                    <a:pt x="236" y="141"/>
                  </a:lnTo>
                  <a:lnTo>
                    <a:pt x="236" y="150"/>
                  </a:lnTo>
                  <a:lnTo>
                    <a:pt x="236" y="152"/>
                  </a:lnTo>
                  <a:lnTo>
                    <a:pt x="236" y="164"/>
                  </a:lnTo>
                  <a:lnTo>
                    <a:pt x="236" y="172"/>
                  </a:lnTo>
                  <a:lnTo>
                    <a:pt x="236" y="176"/>
                  </a:lnTo>
                  <a:lnTo>
                    <a:pt x="236" y="178"/>
                  </a:lnTo>
                  <a:lnTo>
                    <a:pt x="236" y="179"/>
                  </a:lnTo>
                  <a:lnTo>
                    <a:pt x="236" y="181"/>
                  </a:lnTo>
                  <a:lnTo>
                    <a:pt x="236" y="186"/>
                  </a:lnTo>
                  <a:lnTo>
                    <a:pt x="236" y="188"/>
                  </a:lnTo>
                  <a:lnTo>
                    <a:pt x="236" y="191"/>
                  </a:lnTo>
                  <a:lnTo>
                    <a:pt x="236" y="193"/>
                  </a:lnTo>
                  <a:lnTo>
                    <a:pt x="236" y="195"/>
                  </a:lnTo>
                  <a:lnTo>
                    <a:pt x="236" y="197"/>
                  </a:lnTo>
                  <a:lnTo>
                    <a:pt x="236" y="198"/>
                  </a:lnTo>
                  <a:lnTo>
                    <a:pt x="236" y="200"/>
                  </a:lnTo>
                  <a:lnTo>
                    <a:pt x="236" y="210"/>
                  </a:lnTo>
                  <a:lnTo>
                    <a:pt x="236" y="212"/>
                  </a:lnTo>
                  <a:lnTo>
                    <a:pt x="234" y="214"/>
                  </a:lnTo>
                  <a:lnTo>
                    <a:pt x="236" y="215"/>
                  </a:lnTo>
                  <a:lnTo>
                    <a:pt x="236" y="217"/>
                  </a:lnTo>
                  <a:lnTo>
                    <a:pt x="234" y="217"/>
                  </a:lnTo>
                  <a:lnTo>
                    <a:pt x="234" y="221"/>
                  </a:lnTo>
                  <a:lnTo>
                    <a:pt x="236" y="221"/>
                  </a:lnTo>
                  <a:lnTo>
                    <a:pt x="234" y="224"/>
                  </a:lnTo>
                  <a:lnTo>
                    <a:pt x="234" y="226"/>
                  </a:lnTo>
                  <a:lnTo>
                    <a:pt x="234" y="227"/>
                  </a:lnTo>
                  <a:lnTo>
                    <a:pt x="234" y="231"/>
                  </a:lnTo>
                  <a:lnTo>
                    <a:pt x="233" y="231"/>
                  </a:lnTo>
                  <a:lnTo>
                    <a:pt x="231" y="231"/>
                  </a:lnTo>
                  <a:lnTo>
                    <a:pt x="231" y="231"/>
                  </a:lnTo>
                  <a:lnTo>
                    <a:pt x="227" y="231"/>
                  </a:lnTo>
                  <a:lnTo>
                    <a:pt x="227" y="229"/>
                  </a:lnTo>
                  <a:lnTo>
                    <a:pt x="226" y="229"/>
                  </a:lnTo>
                  <a:lnTo>
                    <a:pt x="222" y="229"/>
                  </a:lnTo>
                  <a:lnTo>
                    <a:pt x="221" y="229"/>
                  </a:lnTo>
                  <a:lnTo>
                    <a:pt x="219" y="229"/>
                  </a:lnTo>
                  <a:lnTo>
                    <a:pt x="217" y="229"/>
                  </a:lnTo>
                  <a:lnTo>
                    <a:pt x="215" y="229"/>
                  </a:lnTo>
                  <a:lnTo>
                    <a:pt x="215" y="229"/>
                  </a:lnTo>
                  <a:lnTo>
                    <a:pt x="214" y="229"/>
                  </a:lnTo>
                  <a:lnTo>
                    <a:pt x="212" y="229"/>
                  </a:lnTo>
                  <a:lnTo>
                    <a:pt x="210" y="229"/>
                  </a:lnTo>
                  <a:lnTo>
                    <a:pt x="208" y="229"/>
                  </a:lnTo>
                  <a:lnTo>
                    <a:pt x="207" y="229"/>
                  </a:lnTo>
                  <a:lnTo>
                    <a:pt x="205" y="229"/>
                  </a:lnTo>
                  <a:lnTo>
                    <a:pt x="203" y="229"/>
                  </a:lnTo>
                  <a:lnTo>
                    <a:pt x="202" y="229"/>
                  </a:lnTo>
                  <a:lnTo>
                    <a:pt x="190" y="229"/>
                  </a:lnTo>
                  <a:lnTo>
                    <a:pt x="179" y="229"/>
                  </a:lnTo>
                  <a:lnTo>
                    <a:pt x="176" y="227"/>
                  </a:lnTo>
                  <a:lnTo>
                    <a:pt x="174" y="227"/>
                  </a:lnTo>
                  <a:lnTo>
                    <a:pt x="171" y="227"/>
                  </a:lnTo>
                  <a:lnTo>
                    <a:pt x="169" y="227"/>
                  </a:lnTo>
                  <a:lnTo>
                    <a:pt x="167" y="227"/>
                  </a:lnTo>
                  <a:lnTo>
                    <a:pt x="165" y="227"/>
                  </a:lnTo>
                  <a:lnTo>
                    <a:pt x="162" y="227"/>
                  </a:lnTo>
                  <a:lnTo>
                    <a:pt x="159" y="227"/>
                  </a:lnTo>
                  <a:lnTo>
                    <a:pt x="157" y="227"/>
                  </a:lnTo>
                  <a:lnTo>
                    <a:pt x="155" y="227"/>
                  </a:lnTo>
                  <a:lnTo>
                    <a:pt x="152" y="227"/>
                  </a:lnTo>
                  <a:lnTo>
                    <a:pt x="150" y="227"/>
                  </a:lnTo>
                  <a:lnTo>
                    <a:pt x="148" y="227"/>
                  </a:lnTo>
                  <a:lnTo>
                    <a:pt x="147" y="227"/>
                  </a:lnTo>
                  <a:lnTo>
                    <a:pt x="145" y="227"/>
                  </a:lnTo>
                  <a:lnTo>
                    <a:pt x="143" y="227"/>
                  </a:lnTo>
                  <a:lnTo>
                    <a:pt x="141" y="227"/>
                  </a:lnTo>
                  <a:lnTo>
                    <a:pt x="140" y="227"/>
                  </a:lnTo>
                  <a:lnTo>
                    <a:pt x="136" y="227"/>
                  </a:lnTo>
                  <a:lnTo>
                    <a:pt x="135" y="227"/>
                  </a:lnTo>
                  <a:lnTo>
                    <a:pt x="129" y="227"/>
                  </a:lnTo>
                  <a:lnTo>
                    <a:pt x="119" y="227"/>
                  </a:lnTo>
                  <a:lnTo>
                    <a:pt x="116" y="227"/>
                  </a:lnTo>
                  <a:lnTo>
                    <a:pt x="112" y="227"/>
                  </a:lnTo>
                  <a:lnTo>
                    <a:pt x="109" y="227"/>
                  </a:lnTo>
                  <a:lnTo>
                    <a:pt x="105" y="227"/>
                  </a:lnTo>
                  <a:lnTo>
                    <a:pt x="104" y="227"/>
                  </a:lnTo>
                  <a:lnTo>
                    <a:pt x="100" y="227"/>
                  </a:lnTo>
                  <a:lnTo>
                    <a:pt x="95" y="227"/>
                  </a:lnTo>
                  <a:lnTo>
                    <a:pt x="93" y="227"/>
                  </a:lnTo>
                  <a:lnTo>
                    <a:pt x="90" y="226"/>
                  </a:lnTo>
                  <a:lnTo>
                    <a:pt x="86" y="226"/>
                  </a:lnTo>
                  <a:lnTo>
                    <a:pt x="81" y="226"/>
                  </a:lnTo>
                  <a:lnTo>
                    <a:pt x="79" y="226"/>
                  </a:lnTo>
                  <a:lnTo>
                    <a:pt x="76" y="226"/>
                  </a:lnTo>
                  <a:lnTo>
                    <a:pt x="74" y="226"/>
                  </a:lnTo>
                  <a:lnTo>
                    <a:pt x="73" y="226"/>
                  </a:lnTo>
                  <a:lnTo>
                    <a:pt x="71" y="226"/>
                  </a:lnTo>
                  <a:lnTo>
                    <a:pt x="67" y="226"/>
                  </a:lnTo>
                  <a:lnTo>
                    <a:pt x="66" y="226"/>
                  </a:lnTo>
                  <a:lnTo>
                    <a:pt x="64" y="226"/>
                  </a:lnTo>
                  <a:lnTo>
                    <a:pt x="64" y="226"/>
                  </a:lnTo>
                  <a:lnTo>
                    <a:pt x="62" y="226"/>
                  </a:lnTo>
                  <a:lnTo>
                    <a:pt x="61" y="226"/>
                  </a:lnTo>
                  <a:lnTo>
                    <a:pt x="59" y="226"/>
                  </a:lnTo>
                  <a:lnTo>
                    <a:pt x="57" y="226"/>
                  </a:lnTo>
                  <a:lnTo>
                    <a:pt x="55" y="226"/>
                  </a:lnTo>
                  <a:lnTo>
                    <a:pt x="50" y="226"/>
                  </a:lnTo>
                  <a:lnTo>
                    <a:pt x="49" y="226"/>
                  </a:lnTo>
                  <a:lnTo>
                    <a:pt x="45" y="226"/>
                  </a:lnTo>
                  <a:lnTo>
                    <a:pt x="38" y="226"/>
                  </a:lnTo>
                  <a:lnTo>
                    <a:pt x="35" y="226"/>
                  </a:lnTo>
                  <a:lnTo>
                    <a:pt x="30" y="226"/>
                  </a:lnTo>
                  <a:lnTo>
                    <a:pt x="23" y="226"/>
                  </a:lnTo>
                  <a:lnTo>
                    <a:pt x="19" y="226"/>
                  </a:lnTo>
                  <a:lnTo>
                    <a:pt x="18" y="226"/>
                  </a:lnTo>
                  <a:lnTo>
                    <a:pt x="14" y="226"/>
                  </a:lnTo>
                  <a:lnTo>
                    <a:pt x="12" y="226"/>
                  </a:lnTo>
                  <a:lnTo>
                    <a:pt x="4" y="226"/>
                  </a:lnTo>
                  <a:lnTo>
                    <a:pt x="0" y="226"/>
                  </a:lnTo>
                  <a:lnTo>
                    <a:pt x="0" y="224"/>
                  </a:lnTo>
                  <a:lnTo>
                    <a:pt x="0" y="222"/>
                  </a:lnTo>
                  <a:lnTo>
                    <a:pt x="0" y="219"/>
                  </a:lnTo>
                  <a:lnTo>
                    <a:pt x="0" y="215"/>
                  </a:lnTo>
                  <a:lnTo>
                    <a:pt x="0" y="209"/>
                  </a:lnTo>
                  <a:lnTo>
                    <a:pt x="0" y="203"/>
                  </a:lnTo>
                  <a:lnTo>
                    <a:pt x="0" y="202"/>
                  </a:lnTo>
                  <a:lnTo>
                    <a:pt x="0" y="200"/>
                  </a:lnTo>
                  <a:lnTo>
                    <a:pt x="0" y="198"/>
                  </a:lnTo>
                  <a:lnTo>
                    <a:pt x="0" y="188"/>
                  </a:lnTo>
                  <a:lnTo>
                    <a:pt x="0" y="174"/>
                  </a:lnTo>
                  <a:lnTo>
                    <a:pt x="2" y="171"/>
                  </a:lnTo>
                  <a:lnTo>
                    <a:pt x="2" y="169"/>
                  </a:lnTo>
                  <a:lnTo>
                    <a:pt x="2" y="167"/>
                  </a:lnTo>
                  <a:lnTo>
                    <a:pt x="2" y="166"/>
                  </a:lnTo>
                  <a:lnTo>
                    <a:pt x="2" y="162"/>
                  </a:lnTo>
                  <a:lnTo>
                    <a:pt x="2" y="159"/>
                  </a:lnTo>
                  <a:lnTo>
                    <a:pt x="2" y="157"/>
                  </a:lnTo>
                  <a:lnTo>
                    <a:pt x="2" y="147"/>
                  </a:lnTo>
                  <a:lnTo>
                    <a:pt x="2" y="136"/>
                  </a:lnTo>
                  <a:lnTo>
                    <a:pt x="2" y="129"/>
                  </a:lnTo>
                  <a:lnTo>
                    <a:pt x="2" y="128"/>
                  </a:lnTo>
                  <a:lnTo>
                    <a:pt x="2" y="126"/>
                  </a:lnTo>
                  <a:lnTo>
                    <a:pt x="2" y="124"/>
                  </a:lnTo>
                  <a:lnTo>
                    <a:pt x="2" y="112"/>
                  </a:lnTo>
                  <a:lnTo>
                    <a:pt x="2" y="102"/>
                  </a:lnTo>
                  <a:lnTo>
                    <a:pt x="2" y="97"/>
                  </a:lnTo>
                  <a:lnTo>
                    <a:pt x="2" y="92"/>
                  </a:lnTo>
                  <a:lnTo>
                    <a:pt x="2" y="83"/>
                  </a:lnTo>
                  <a:lnTo>
                    <a:pt x="2" y="81"/>
                  </a:lnTo>
                  <a:lnTo>
                    <a:pt x="2" y="74"/>
                  </a:lnTo>
                  <a:lnTo>
                    <a:pt x="2" y="69"/>
                  </a:lnTo>
                  <a:lnTo>
                    <a:pt x="2" y="67"/>
                  </a:lnTo>
                  <a:lnTo>
                    <a:pt x="2" y="66"/>
                  </a:lnTo>
                  <a:lnTo>
                    <a:pt x="2" y="62"/>
                  </a:lnTo>
                  <a:lnTo>
                    <a:pt x="2" y="57"/>
                  </a:lnTo>
                  <a:lnTo>
                    <a:pt x="2" y="55"/>
                  </a:lnTo>
                  <a:lnTo>
                    <a:pt x="2" y="50"/>
                  </a:lnTo>
                  <a:lnTo>
                    <a:pt x="2" y="49"/>
                  </a:lnTo>
                  <a:lnTo>
                    <a:pt x="2" y="47"/>
                  </a:lnTo>
                  <a:lnTo>
                    <a:pt x="2" y="45"/>
                  </a:lnTo>
                  <a:lnTo>
                    <a:pt x="2" y="42"/>
                  </a:lnTo>
                  <a:lnTo>
                    <a:pt x="2" y="37"/>
                  </a:lnTo>
                  <a:lnTo>
                    <a:pt x="2" y="37"/>
                  </a:lnTo>
                  <a:lnTo>
                    <a:pt x="2" y="35"/>
                  </a:lnTo>
                  <a:lnTo>
                    <a:pt x="2" y="31"/>
                  </a:lnTo>
                  <a:lnTo>
                    <a:pt x="2" y="28"/>
                  </a:lnTo>
                  <a:lnTo>
                    <a:pt x="2" y="23"/>
                  </a:lnTo>
                  <a:lnTo>
                    <a:pt x="2" y="12"/>
                  </a:lnTo>
                  <a:lnTo>
                    <a:pt x="4"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4" name="Freeform 155"/>
            <p:cNvSpPr>
              <a:spLocks/>
            </p:cNvSpPr>
            <p:nvPr/>
          </p:nvSpPr>
          <p:spPr bwMode="auto">
            <a:xfrm>
              <a:off x="4417309" y="1671431"/>
              <a:ext cx="466725" cy="434975"/>
            </a:xfrm>
            <a:custGeom>
              <a:avLst/>
              <a:gdLst/>
              <a:ahLst/>
              <a:cxnLst>
                <a:cxn ang="0">
                  <a:pos x="22" y="3"/>
                </a:cxn>
                <a:cxn ang="0">
                  <a:pos x="46" y="3"/>
                </a:cxn>
                <a:cxn ang="0">
                  <a:pos x="65" y="3"/>
                </a:cxn>
                <a:cxn ang="0">
                  <a:pos x="84" y="3"/>
                </a:cxn>
                <a:cxn ang="0">
                  <a:pos x="112" y="3"/>
                </a:cxn>
                <a:cxn ang="0">
                  <a:pos x="132" y="2"/>
                </a:cxn>
                <a:cxn ang="0">
                  <a:pos x="153" y="2"/>
                </a:cxn>
                <a:cxn ang="0">
                  <a:pos x="177" y="2"/>
                </a:cxn>
                <a:cxn ang="0">
                  <a:pos x="210" y="2"/>
                </a:cxn>
                <a:cxn ang="0">
                  <a:pos x="236" y="9"/>
                </a:cxn>
                <a:cxn ang="0">
                  <a:pos x="236" y="36"/>
                </a:cxn>
                <a:cxn ang="0">
                  <a:pos x="234" y="71"/>
                </a:cxn>
                <a:cxn ang="0">
                  <a:pos x="234" y="95"/>
                </a:cxn>
                <a:cxn ang="0">
                  <a:pos x="234" y="119"/>
                </a:cxn>
                <a:cxn ang="0">
                  <a:pos x="234" y="146"/>
                </a:cxn>
                <a:cxn ang="0">
                  <a:pos x="234" y="176"/>
                </a:cxn>
                <a:cxn ang="0">
                  <a:pos x="232" y="203"/>
                </a:cxn>
                <a:cxn ang="0">
                  <a:pos x="256" y="203"/>
                </a:cxn>
                <a:cxn ang="0">
                  <a:pos x="272" y="203"/>
                </a:cxn>
                <a:cxn ang="0">
                  <a:pos x="291" y="206"/>
                </a:cxn>
                <a:cxn ang="0">
                  <a:pos x="289" y="208"/>
                </a:cxn>
                <a:cxn ang="0">
                  <a:pos x="287" y="212"/>
                </a:cxn>
                <a:cxn ang="0">
                  <a:pos x="284" y="215"/>
                </a:cxn>
                <a:cxn ang="0">
                  <a:pos x="280" y="219"/>
                </a:cxn>
                <a:cxn ang="0">
                  <a:pos x="284" y="220"/>
                </a:cxn>
                <a:cxn ang="0">
                  <a:pos x="284" y="224"/>
                </a:cxn>
                <a:cxn ang="0">
                  <a:pos x="282" y="229"/>
                </a:cxn>
                <a:cxn ang="0">
                  <a:pos x="282" y="234"/>
                </a:cxn>
                <a:cxn ang="0">
                  <a:pos x="287" y="241"/>
                </a:cxn>
                <a:cxn ang="0">
                  <a:pos x="284" y="243"/>
                </a:cxn>
                <a:cxn ang="0">
                  <a:pos x="280" y="243"/>
                </a:cxn>
                <a:cxn ang="0">
                  <a:pos x="285" y="248"/>
                </a:cxn>
                <a:cxn ang="0">
                  <a:pos x="287" y="255"/>
                </a:cxn>
                <a:cxn ang="0">
                  <a:pos x="292" y="260"/>
                </a:cxn>
                <a:cxn ang="0">
                  <a:pos x="292" y="267"/>
                </a:cxn>
                <a:cxn ang="0">
                  <a:pos x="287" y="267"/>
                </a:cxn>
                <a:cxn ang="0">
                  <a:pos x="285" y="270"/>
                </a:cxn>
                <a:cxn ang="0">
                  <a:pos x="273" y="270"/>
                </a:cxn>
                <a:cxn ang="0">
                  <a:pos x="251" y="270"/>
                </a:cxn>
                <a:cxn ang="0">
                  <a:pos x="227" y="272"/>
                </a:cxn>
                <a:cxn ang="0">
                  <a:pos x="210" y="272"/>
                </a:cxn>
                <a:cxn ang="0">
                  <a:pos x="182" y="272"/>
                </a:cxn>
                <a:cxn ang="0">
                  <a:pos x="155" y="272"/>
                </a:cxn>
                <a:cxn ang="0">
                  <a:pos x="132" y="272"/>
                </a:cxn>
                <a:cxn ang="0">
                  <a:pos x="110" y="272"/>
                </a:cxn>
                <a:cxn ang="0">
                  <a:pos x="89" y="272"/>
                </a:cxn>
                <a:cxn ang="0">
                  <a:pos x="67" y="274"/>
                </a:cxn>
                <a:cxn ang="0">
                  <a:pos x="46" y="274"/>
                </a:cxn>
                <a:cxn ang="0">
                  <a:pos x="21" y="274"/>
                </a:cxn>
                <a:cxn ang="0">
                  <a:pos x="0" y="272"/>
                </a:cxn>
                <a:cxn ang="0">
                  <a:pos x="0" y="243"/>
                </a:cxn>
                <a:cxn ang="0">
                  <a:pos x="0" y="219"/>
                </a:cxn>
                <a:cxn ang="0">
                  <a:pos x="0" y="201"/>
                </a:cxn>
                <a:cxn ang="0">
                  <a:pos x="0" y="177"/>
                </a:cxn>
                <a:cxn ang="0">
                  <a:pos x="0" y="162"/>
                </a:cxn>
                <a:cxn ang="0">
                  <a:pos x="0" y="145"/>
                </a:cxn>
                <a:cxn ang="0">
                  <a:pos x="0" y="133"/>
                </a:cxn>
                <a:cxn ang="0">
                  <a:pos x="0" y="114"/>
                </a:cxn>
                <a:cxn ang="0">
                  <a:pos x="0" y="84"/>
                </a:cxn>
                <a:cxn ang="0">
                  <a:pos x="0" y="62"/>
                </a:cxn>
                <a:cxn ang="0">
                  <a:pos x="0" y="33"/>
                </a:cxn>
                <a:cxn ang="0">
                  <a:pos x="0" y="21"/>
                </a:cxn>
              </a:cxnLst>
              <a:rect l="0" t="0" r="r" b="b"/>
              <a:pathLst>
                <a:path w="294" h="274">
                  <a:moveTo>
                    <a:pt x="0" y="3"/>
                  </a:moveTo>
                  <a:lnTo>
                    <a:pt x="5" y="3"/>
                  </a:lnTo>
                  <a:lnTo>
                    <a:pt x="10" y="3"/>
                  </a:lnTo>
                  <a:lnTo>
                    <a:pt x="12" y="3"/>
                  </a:lnTo>
                  <a:lnTo>
                    <a:pt x="14" y="3"/>
                  </a:lnTo>
                  <a:lnTo>
                    <a:pt x="22" y="3"/>
                  </a:lnTo>
                  <a:lnTo>
                    <a:pt x="24" y="3"/>
                  </a:lnTo>
                  <a:lnTo>
                    <a:pt x="26" y="3"/>
                  </a:lnTo>
                  <a:lnTo>
                    <a:pt x="31" y="3"/>
                  </a:lnTo>
                  <a:lnTo>
                    <a:pt x="34" y="3"/>
                  </a:lnTo>
                  <a:lnTo>
                    <a:pt x="39" y="3"/>
                  </a:lnTo>
                  <a:lnTo>
                    <a:pt x="46" y="3"/>
                  </a:lnTo>
                  <a:lnTo>
                    <a:pt x="46" y="3"/>
                  </a:lnTo>
                  <a:lnTo>
                    <a:pt x="51" y="3"/>
                  </a:lnTo>
                  <a:lnTo>
                    <a:pt x="53" y="3"/>
                  </a:lnTo>
                  <a:lnTo>
                    <a:pt x="60" y="3"/>
                  </a:lnTo>
                  <a:lnTo>
                    <a:pt x="62" y="3"/>
                  </a:lnTo>
                  <a:lnTo>
                    <a:pt x="65" y="3"/>
                  </a:lnTo>
                  <a:lnTo>
                    <a:pt x="70" y="3"/>
                  </a:lnTo>
                  <a:lnTo>
                    <a:pt x="74" y="3"/>
                  </a:lnTo>
                  <a:lnTo>
                    <a:pt x="76" y="3"/>
                  </a:lnTo>
                  <a:lnTo>
                    <a:pt x="79" y="3"/>
                  </a:lnTo>
                  <a:lnTo>
                    <a:pt x="81" y="3"/>
                  </a:lnTo>
                  <a:lnTo>
                    <a:pt x="84" y="3"/>
                  </a:lnTo>
                  <a:lnTo>
                    <a:pt x="86" y="3"/>
                  </a:lnTo>
                  <a:lnTo>
                    <a:pt x="88" y="3"/>
                  </a:lnTo>
                  <a:lnTo>
                    <a:pt x="89" y="3"/>
                  </a:lnTo>
                  <a:lnTo>
                    <a:pt x="107" y="3"/>
                  </a:lnTo>
                  <a:lnTo>
                    <a:pt x="110" y="3"/>
                  </a:lnTo>
                  <a:lnTo>
                    <a:pt x="112" y="3"/>
                  </a:lnTo>
                  <a:lnTo>
                    <a:pt x="113" y="3"/>
                  </a:lnTo>
                  <a:lnTo>
                    <a:pt x="119" y="3"/>
                  </a:lnTo>
                  <a:lnTo>
                    <a:pt x="120" y="3"/>
                  </a:lnTo>
                  <a:lnTo>
                    <a:pt x="124" y="2"/>
                  </a:lnTo>
                  <a:lnTo>
                    <a:pt x="129" y="2"/>
                  </a:lnTo>
                  <a:lnTo>
                    <a:pt x="132" y="2"/>
                  </a:lnTo>
                  <a:lnTo>
                    <a:pt x="136" y="2"/>
                  </a:lnTo>
                  <a:lnTo>
                    <a:pt x="136" y="2"/>
                  </a:lnTo>
                  <a:lnTo>
                    <a:pt x="141" y="2"/>
                  </a:lnTo>
                  <a:lnTo>
                    <a:pt x="146" y="2"/>
                  </a:lnTo>
                  <a:lnTo>
                    <a:pt x="151" y="2"/>
                  </a:lnTo>
                  <a:lnTo>
                    <a:pt x="153" y="2"/>
                  </a:lnTo>
                  <a:lnTo>
                    <a:pt x="156" y="2"/>
                  </a:lnTo>
                  <a:lnTo>
                    <a:pt x="163" y="2"/>
                  </a:lnTo>
                  <a:lnTo>
                    <a:pt x="165" y="2"/>
                  </a:lnTo>
                  <a:lnTo>
                    <a:pt x="168" y="2"/>
                  </a:lnTo>
                  <a:lnTo>
                    <a:pt x="174" y="2"/>
                  </a:lnTo>
                  <a:lnTo>
                    <a:pt x="177" y="2"/>
                  </a:lnTo>
                  <a:lnTo>
                    <a:pt x="180" y="2"/>
                  </a:lnTo>
                  <a:lnTo>
                    <a:pt x="182" y="2"/>
                  </a:lnTo>
                  <a:lnTo>
                    <a:pt x="186" y="2"/>
                  </a:lnTo>
                  <a:lnTo>
                    <a:pt x="193" y="2"/>
                  </a:lnTo>
                  <a:lnTo>
                    <a:pt x="201" y="2"/>
                  </a:lnTo>
                  <a:lnTo>
                    <a:pt x="210" y="2"/>
                  </a:lnTo>
                  <a:lnTo>
                    <a:pt x="213" y="0"/>
                  </a:lnTo>
                  <a:lnTo>
                    <a:pt x="225" y="0"/>
                  </a:lnTo>
                  <a:lnTo>
                    <a:pt x="227" y="0"/>
                  </a:lnTo>
                  <a:lnTo>
                    <a:pt x="230" y="0"/>
                  </a:lnTo>
                  <a:lnTo>
                    <a:pt x="236" y="0"/>
                  </a:lnTo>
                  <a:lnTo>
                    <a:pt x="236" y="9"/>
                  </a:lnTo>
                  <a:lnTo>
                    <a:pt x="236" y="12"/>
                  </a:lnTo>
                  <a:lnTo>
                    <a:pt x="236" y="19"/>
                  </a:lnTo>
                  <a:lnTo>
                    <a:pt x="236" y="22"/>
                  </a:lnTo>
                  <a:lnTo>
                    <a:pt x="236" y="31"/>
                  </a:lnTo>
                  <a:lnTo>
                    <a:pt x="236" y="33"/>
                  </a:lnTo>
                  <a:lnTo>
                    <a:pt x="236" y="36"/>
                  </a:lnTo>
                  <a:lnTo>
                    <a:pt x="236" y="40"/>
                  </a:lnTo>
                  <a:lnTo>
                    <a:pt x="236" y="45"/>
                  </a:lnTo>
                  <a:lnTo>
                    <a:pt x="236" y="50"/>
                  </a:lnTo>
                  <a:lnTo>
                    <a:pt x="236" y="67"/>
                  </a:lnTo>
                  <a:lnTo>
                    <a:pt x="234" y="67"/>
                  </a:lnTo>
                  <a:lnTo>
                    <a:pt x="234" y="71"/>
                  </a:lnTo>
                  <a:lnTo>
                    <a:pt x="234" y="76"/>
                  </a:lnTo>
                  <a:lnTo>
                    <a:pt x="234" y="79"/>
                  </a:lnTo>
                  <a:lnTo>
                    <a:pt x="234" y="81"/>
                  </a:lnTo>
                  <a:lnTo>
                    <a:pt x="234" y="86"/>
                  </a:lnTo>
                  <a:lnTo>
                    <a:pt x="234" y="90"/>
                  </a:lnTo>
                  <a:lnTo>
                    <a:pt x="234" y="95"/>
                  </a:lnTo>
                  <a:lnTo>
                    <a:pt x="234" y="100"/>
                  </a:lnTo>
                  <a:lnTo>
                    <a:pt x="234" y="108"/>
                  </a:lnTo>
                  <a:lnTo>
                    <a:pt x="234" y="108"/>
                  </a:lnTo>
                  <a:lnTo>
                    <a:pt x="234" y="112"/>
                  </a:lnTo>
                  <a:lnTo>
                    <a:pt x="234" y="117"/>
                  </a:lnTo>
                  <a:lnTo>
                    <a:pt x="234" y="119"/>
                  </a:lnTo>
                  <a:lnTo>
                    <a:pt x="234" y="122"/>
                  </a:lnTo>
                  <a:lnTo>
                    <a:pt x="234" y="124"/>
                  </a:lnTo>
                  <a:lnTo>
                    <a:pt x="234" y="134"/>
                  </a:lnTo>
                  <a:lnTo>
                    <a:pt x="234" y="139"/>
                  </a:lnTo>
                  <a:lnTo>
                    <a:pt x="234" y="143"/>
                  </a:lnTo>
                  <a:lnTo>
                    <a:pt x="234" y="146"/>
                  </a:lnTo>
                  <a:lnTo>
                    <a:pt x="234" y="150"/>
                  </a:lnTo>
                  <a:lnTo>
                    <a:pt x="234" y="158"/>
                  </a:lnTo>
                  <a:lnTo>
                    <a:pt x="234" y="169"/>
                  </a:lnTo>
                  <a:lnTo>
                    <a:pt x="234" y="169"/>
                  </a:lnTo>
                  <a:lnTo>
                    <a:pt x="234" y="170"/>
                  </a:lnTo>
                  <a:lnTo>
                    <a:pt x="234" y="176"/>
                  </a:lnTo>
                  <a:lnTo>
                    <a:pt x="234" y="181"/>
                  </a:lnTo>
                  <a:lnTo>
                    <a:pt x="234" y="182"/>
                  </a:lnTo>
                  <a:lnTo>
                    <a:pt x="234" y="184"/>
                  </a:lnTo>
                  <a:lnTo>
                    <a:pt x="234" y="189"/>
                  </a:lnTo>
                  <a:lnTo>
                    <a:pt x="234" y="193"/>
                  </a:lnTo>
                  <a:lnTo>
                    <a:pt x="232" y="203"/>
                  </a:lnTo>
                  <a:lnTo>
                    <a:pt x="234" y="203"/>
                  </a:lnTo>
                  <a:lnTo>
                    <a:pt x="236" y="203"/>
                  </a:lnTo>
                  <a:lnTo>
                    <a:pt x="242" y="203"/>
                  </a:lnTo>
                  <a:lnTo>
                    <a:pt x="244" y="203"/>
                  </a:lnTo>
                  <a:lnTo>
                    <a:pt x="254" y="203"/>
                  </a:lnTo>
                  <a:lnTo>
                    <a:pt x="256" y="203"/>
                  </a:lnTo>
                  <a:lnTo>
                    <a:pt x="258" y="203"/>
                  </a:lnTo>
                  <a:lnTo>
                    <a:pt x="258" y="203"/>
                  </a:lnTo>
                  <a:lnTo>
                    <a:pt x="265" y="203"/>
                  </a:lnTo>
                  <a:lnTo>
                    <a:pt x="266" y="203"/>
                  </a:lnTo>
                  <a:lnTo>
                    <a:pt x="268" y="203"/>
                  </a:lnTo>
                  <a:lnTo>
                    <a:pt x="272" y="203"/>
                  </a:lnTo>
                  <a:lnTo>
                    <a:pt x="279" y="203"/>
                  </a:lnTo>
                  <a:lnTo>
                    <a:pt x="284" y="203"/>
                  </a:lnTo>
                  <a:lnTo>
                    <a:pt x="285" y="203"/>
                  </a:lnTo>
                  <a:lnTo>
                    <a:pt x="291" y="203"/>
                  </a:lnTo>
                  <a:lnTo>
                    <a:pt x="291" y="205"/>
                  </a:lnTo>
                  <a:lnTo>
                    <a:pt x="291" y="206"/>
                  </a:lnTo>
                  <a:lnTo>
                    <a:pt x="292" y="206"/>
                  </a:lnTo>
                  <a:lnTo>
                    <a:pt x="292" y="205"/>
                  </a:lnTo>
                  <a:lnTo>
                    <a:pt x="292" y="206"/>
                  </a:lnTo>
                  <a:lnTo>
                    <a:pt x="292" y="208"/>
                  </a:lnTo>
                  <a:lnTo>
                    <a:pt x="291" y="208"/>
                  </a:lnTo>
                  <a:lnTo>
                    <a:pt x="289" y="208"/>
                  </a:lnTo>
                  <a:lnTo>
                    <a:pt x="289" y="210"/>
                  </a:lnTo>
                  <a:lnTo>
                    <a:pt x="289" y="208"/>
                  </a:lnTo>
                  <a:lnTo>
                    <a:pt x="287" y="208"/>
                  </a:lnTo>
                  <a:lnTo>
                    <a:pt x="287" y="210"/>
                  </a:lnTo>
                  <a:lnTo>
                    <a:pt x="287" y="212"/>
                  </a:lnTo>
                  <a:lnTo>
                    <a:pt x="287" y="212"/>
                  </a:lnTo>
                  <a:lnTo>
                    <a:pt x="287" y="213"/>
                  </a:lnTo>
                  <a:lnTo>
                    <a:pt x="287" y="212"/>
                  </a:lnTo>
                  <a:lnTo>
                    <a:pt x="287" y="213"/>
                  </a:lnTo>
                  <a:lnTo>
                    <a:pt x="285" y="213"/>
                  </a:lnTo>
                  <a:lnTo>
                    <a:pt x="284" y="215"/>
                  </a:lnTo>
                  <a:lnTo>
                    <a:pt x="284" y="215"/>
                  </a:lnTo>
                  <a:lnTo>
                    <a:pt x="282" y="215"/>
                  </a:lnTo>
                  <a:lnTo>
                    <a:pt x="282" y="217"/>
                  </a:lnTo>
                  <a:lnTo>
                    <a:pt x="280" y="217"/>
                  </a:lnTo>
                  <a:lnTo>
                    <a:pt x="280" y="219"/>
                  </a:lnTo>
                  <a:lnTo>
                    <a:pt x="282" y="219"/>
                  </a:lnTo>
                  <a:lnTo>
                    <a:pt x="280" y="219"/>
                  </a:lnTo>
                  <a:lnTo>
                    <a:pt x="279" y="217"/>
                  </a:lnTo>
                  <a:lnTo>
                    <a:pt x="279" y="219"/>
                  </a:lnTo>
                  <a:lnTo>
                    <a:pt x="280" y="219"/>
                  </a:lnTo>
                  <a:lnTo>
                    <a:pt x="282" y="219"/>
                  </a:lnTo>
                  <a:lnTo>
                    <a:pt x="282" y="220"/>
                  </a:lnTo>
                  <a:lnTo>
                    <a:pt x="284" y="220"/>
                  </a:lnTo>
                  <a:lnTo>
                    <a:pt x="284" y="222"/>
                  </a:lnTo>
                  <a:lnTo>
                    <a:pt x="282" y="222"/>
                  </a:lnTo>
                  <a:lnTo>
                    <a:pt x="282" y="220"/>
                  </a:lnTo>
                  <a:lnTo>
                    <a:pt x="282" y="222"/>
                  </a:lnTo>
                  <a:lnTo>
                    <a:pt x="284" y="222"/>
                  </a:lnTo>
                  <a:lnTo>
                    <a:pt x="284" y="224"/>
                  </a:lnTo>
                  <a:lnTo>
                    <a:pt x="282" y="224"/>
                  </a:lnTo>
                  <a:lnTo>
                    <a:pt x="282" y="225"/>
                  </a:lnTo>
                  <a:lnTo>
                    <a:pt x="280" y="225"/>
                  </a:lnTo>
                  <a:lnTo>
                    <a:pt x="280" y="227"/>
                  </a:lnTo>
                  <a:lnTo>
                    <a:pt x="282" y="227"/>
                  </a:lnTo>
                  <a:lnTo>
                    <a:pt x="282" y="229"/>
                  </a:lnTo>
                  <a:lnTo>
                    <a:pt x="282" y="229"/>
                  </a:lnTo>
                  <a:lnTo>
                    <a:pt x="280" y="229"/>
                  </a:lnTo>
                  <a:lnTo>
                    <a:pt x="280" y="231"/>
                  </a:lnTo>
                  <a:lnTo>
                    <a:pt x="280" y="232"/>
                  </a:lnTo>
                  <a:lnTo>
                    <a:pt x="280" y="234"/>
                  </a:lnTo>
                  <a:lnTo>
                    <a:pt x="282" y="234"/>
                  </a:lnTo>
                  <a:lnTo>
                    <a:pt x="282" y="236"/>
                  </a:lnTo>
                  <a:lnTo>
                    <a:pt x="284" y="236"/>
                  </a:lnTo>
                  <a:lnTo>
                    <a:pt x="284" y="237"/>
                  </a:lnTo>
                  <a:lnTo>
                    <a:pt x="285" y="237"/>
                  </a:lnTo>
                  <a:lnTo>
                    <a:pt x="287" y="239"/>
                  </a:lnTo>
                  <a:lnTo>
                    <a:pt x="287" y="241"/>
                  </a:lnTo>
                  <a:lnTo>
                    <a:pt x="287" y="241"/>
                  </a:lnTo>
                  <a:lnTo>
                    <a:pt x="287" y="243"/>
                  </a:lnTo>
                  <a:lnTo>
                    <a:pt x="287" y="243"/>
                  </a:lnTo>
                  <a:lnTo>
                    <a:pt x="285" y="244"/>
                  </a:lnTo>
                  <a:lnTo>
                    <a:pt x="285" y="243"/>
                  </a:lnTo>
                  <a:lnTo>
                    <a:pt x="284" y="243"/>
                  </a:lnTo>
                  <a:lnTo>
                    <a:pt x="284" y="241"/>
                  </a:lnTo>
                  <a:lnTo>
                    <a:pt x="282" y="241"/>
                  </a:lnTo>
                  <a:lnTo>
                    <a:pt x="282" y="239"/>
                  </a:lnTo>
                  <a:lnTo>
                    <a:pt x="280" y="239"/>
                  </a:lnTo>
                  <a:lnTo>
                    <a:pt x="280" y="241"/>
                  </a:lnTo>
                  <a:lnTo>
                    <a:pt x="280" y="243"/>
                  </a:lnTo>
                  <a:lnTo>
                    <a:pt x="282" y="243"/>
                  </a:lnTo>
                  <a:lnTo>
                    <a:pt x="282" y="244"/>
                  </a:lnTo>
                  <a:lnTo>
                    <a:pt x="282" y="244"/>
                  </a:lnTo>
                  <a:lnTo>
                    <a:pt x="284" y="244"/>
                  </a:lnTo>
                  <a:lnTo>
                    <a:pt x="284" y="246"/>
                  </a:lnTo>
                  <a:lnTo>
                    <a:pt x="285" y="248"/>
                  </a:lnTo>
                  <a:lnTo>
                    <a:pt x="285" y="250"/>
                  </a:lnTo>
                  <a:lnTo>
                    <a:pt x="287" y="250"/>
                  </a:lnTo>
                  <a:lnTo>
                    <a:pt x="287" y="251"/>
                  </a:lnTo>
                  <a:lnTo>
                    <a:pt x="287" y="251"/>
                  </a:lnTo>
                  <a:lnTo>
                    <a:pt x="287" y="253"/>
                  </a:lnTo>
                  <a:lnTo>
                    <a:pt x="287" y="255"/>
                  </a:lnTo>
                  <a:lnTo>
                    <a:pt x="289" y="255"/>
                  </a:lnTo>
                  <a:lnTo>
                    <a:pt x="289" y="256"/>
                  </a:lnTo>
                  <a:lnTo>
                    <a:pt x="289" y="258"/>
                  </a:lnTo>
                  <a:lnTo>
                    <a:pt x="291" y="258"/>
                  </a:lnTo>
                  <a:lnTo>
                    <a:pt x="291" y="260"/>
                  </a:lnTo>
                  <a:lnTo>
                    <a:pt x="292" y="260"/>
                  </a:lnTo>
                  <a:lnTo>
                    <a:pt x="294" y="260"/>
                  </a:lnTo>
                  <a:lnTo>
                    <a:pt x="294" y="260"/>
                  </a:lnTo>
                  <a:lnTo>
                    <a:pt x="294" y="262"/>
                  </a:lnTo>
                  <a:lnTo>
                    <a:pt x="294" y="263"/>
                  </a:lnTo>
                  <a:lnTo>
                    <a:pt x="294" y="265"/>
                  </a:lnTo>
                  <a:lnTo>
                    <a:pt x="292" y="267"/>
                  </a:lnTo>
                  <a:lnTo>
                    <a:pt x="291" y="267"/>
                  </a:lnTo>
                  <a:lnTo>
                    <a:pt x="291" y="268"/>
                  </a:lnTo>
                  <a:lnTo>
                    <a:pt x="289" y="268"/>
                  </a:lnTo>
                  <a:lnTo>
                    <a:pt x="289" y="267"/>
                  </a:lnTo>
                  <a:lnTo>
                    <a:pt x="287" y="267"/>
                  </a:lnTo>
                  <a:lnTo>
                    <a:pt x="287" y="267"/>
                  </a:lnTo>
                  <a:lnTo>
                    <a:pt x="285" y="265"/>
                  </a:lnTo>
                  <a:lnTo>
                    <a:pt x="284" y="265"/>
                  </a:lnTo>
                  <a:lnTo>
                    <a:pt x="284" y="267"/>
                  </a:lnTo>
                  <a:lnTo>
                    <a:pt x="284" y="268"/>
                  </a:lnTo>
                  <a:lnTo>
                    <a:pt x="284" y="270"/>
                  </a:lnTo>
                  <a:lnTo>
                    <a:pt x="285" y="270"/>
                  </a:lnTo>
                  <a:lnTo>
                    <a:pt x="285" y="272"/>
                  </a:lnTo>
                  <a:lnTo>
                    <a:pt x="284" y="272"/>
                  </a:lnTo>
                  <a:lnTo>
                    <a:pt x="282" y="272"/>
                  </a:lnTo>
                  <a:lnTo>
                    <a:pt x="277" y="270"/>
                  </a:lnTo>
                  <a:lnTo>
                    <a:pt x="275" y="270"/>
                  </a:lnTo>
                  <a:lnTo>
                    <a:pt x="273" y="270"/>
                  </a:lnTo>
                  <a:lnTo>
                    <a:pt x="265" y="270"/>
                  </a:lnTo>
                  <a:lnTo>
                    <a:pt x="260" y="270"/>
                  </a:lnTo>
                  <a:lnTo>
                    <a:pt x="258" y="270"/>
                  </a:lnTo>
                  <a:lnTo>
                    <a:pt x="258" y="270"/>
                  </a:lnTo>
                  <a:lnTo>
                    <a:pt x="254" y="270"/>
                  </a:lnTo>
                  <a:lnTo>
                    <a:pt x="251" y="270"/>
                  </a:lnTo>
                  <a:lnTo>
                    <a:pt x="244" y="272"/>
                  </a:lnTo>
                  <a:lnTo>
                    <a:pt x="242" y="272"/>
                  </a:lnTo>
                  <a:lnTo>
                    <a:pt x="242" y="272"/>
                  </a:lnTo>
                  <a:lnTo>
                    <a:pt x="232" y="272"/>
                  </a:lnTo>
                  <a:lnTo>
                    <a:pt x="227" y="272"/>
                  </a:lnTo>
                  <a:lnTo>
                    <a:pt x="227" y="272"/>
                  </a:lnTo>
                  <a:lnTo>
                    <a:pt x="225" y="272"/>
                  </a:lnTo>
                  <a:lnTo>
                    <a:pt x="222" y="272"/>
                  </a:lnTo>
                  <a:lnTo>
                    <a:pt x="220" y="272"/>
                  </a:lnTo>
                  <a:lnTo>
                    <a:pt x="217" y="272"/>
                  </a:lnTo>
                  <a:lnTo>
                    <a:pt x="213" y="272"/>
                  </a:lnTo>
                  <a:lnTo>
                    <a:pt x="210" y="272"/>
                  </a:lnTo>
                  <a:lnTo>
                    <a:pt x="206" y="272"/>
                  </a:lnTo>
                  <a:lnTo>
                    <a:pt x="199" y="272"/>
                  </a:lnTo>
                  <a:lnTo>
                    <a:pt x="198" y="272"/>
                  </a:lnTo>
                  <a:lnTo>
                    <a:pt x="198" y="272"/>
                  </a:lnTo>
                  <a:lnTo>
                    <a:pt x="187" y="272"/>
                  </a:lnTo>
                  <a:lnTo>
                    <a:pt x="182" y="272"/>
                  </a:lnTo>
                  <a:lnTo>
                    <a:pt x="177" y="272"/>
                  </a:lnTo>
                  <a:lnTo>
                    <a:pt x="170" y="272"/>
                  </a:lnTo>
                  <a:lnTo>
                    <a:pt x="167" y="272"/>
                  </a:lnTo>
                  <a:lnTo>
                    <a:pt x="167" y="272"/>
                  </a:lnTo>
                  <a:lnTo>
                    <a:pt x="163" y="272"/>
                  </a:lnTo>
                  <a:lnTo>
                    <a:pt x="155" y="272"/>
                  </a:lnTo>
                  <a:lnTo>
                    <a:pt x="153" y="272"/>
                  </a:lnTo>
                  <a:lnTo>
                    <a:pt x="151" y="272"/>
                  </a:lnTo>
                  <a:lnTo>
                    <a:pt x="151" y="272"/>
                  </a:lnTo>
                  <a:lnTo>
                    <a:pt x="150" y="272"/>
                  </a:lnTo>
                  <a:lnTo>
                    <a:pt x="143" y="272"/>
                  </a:lnTo>
                  <a:lnTo>
                    <a:pt x="132" y="272"/>
                  </a:lnTo>
                  <a:lnTo>
                    <a:pt x="129" y="272"/>
                  </a:lnTo>
                  <a:lnTo>
                    <a:pt x="125" y="272"/>
                  </a:lnTo>
                  <a:lnTo>
                    <a:pt x="122" y="272"/>
                  </a:lnTo>
                  <a:lnTo>
                    <a:pt x="119" y="272"/>
                  </a:lnTo>
                  <a:lnTo>
                    <a:pt x="115" y="272"/>
                  </a:lnTo>
                  <a:lnTo>
                    <a:pt x="110" y="272"/>
                  </a:lnTo>
                  <a:lnTo>
                    <a:pt x="107" y="272"/>
                  </a:lnTo>
                  <a:lnTo>
                    <a:pt x="103" y="272"/>
                  </a:lnTo>
                  <a:lnTo>
                    <a:pt x="100" y="272"/>
                  </a:lnTo>
                  <a:lnTo>
                    <a:pt x="98" y="272"/>
                  </a:lnTo>
                  <a:lnTo>
                    <a:pt x="93" y="272"/>
                  </a:lnTo>
                  <a:lnTo>
                    <a:pt x="89" y="272"/>
                  </a:lnTo>
                  <a:lnTo>
                    <a:pt x="88" y="272"/>
                  </a:lnTo>
                  <a:lnTo>
                    <a:pt x="84" y="272"/>
                  </a:lnTo>
                  <a:lnTo>
                    <a:pt x="82" y="272"/>
                  </a:lnTo>
                  <a:lnTo>
                    <a:pt x="77" y="272"/>
                  </a:lnTo>
                  <a:lnTo>
                    <a:pt x="70" y="274"/>
                  </a:lnTo>
                  <a:lnTo>
                    <a:pt x="67" y="274"/>
                  </a:lnTo>
                  <a:lnTo>
                    <a:pt x="65" y="274"/>
                  </a:lnTo>
                  <a:lnTo>
                    <a:pt x="64" y="274"/>
                  </a:lnTo>
                  <a:lnTo>
                    <a:pt x="60" y="274"/>
                  </a:lnTo>
                  <a:lnTo>
                    <a:pt x="50" y="274"/>
                  </a:lnTo>
                  <a:lnTo>
                    <a:pt x="48" y="274"/>
                  </a:lnTo>
                  <a:lnTo>
                    <a:pt x="46" y="274"/>
                  </a:lnTo>
                  <a:lnTo>
                    <a:pt x="43" y="274"/>
                  </a:lnTo>
                  <a:lnTo>
                    <a:pt x="41" y="274"/>
                  </a:lnTo>
                  <a:lnTo>
                    <a:pt x="31" y="274"/>
                  </a:lnTo>
                  <a:lnTo>
                    <a:pt x="26" y="274"/>
                  </a:lnTo>
                  <a:lnTo>
                    <a:pt x="24" y="274"/>
                  </a:lnTo>
                  <a:lnTo>
                    <a:pt x="21" y="274"/>
                  </a:lnTo>
                  <a:lnTo>
                    <a:pt x="19" y="274"/>
                  </a:lnTo>
                  <a:lnTo>
                    <a:pt x="15" y="274"/>
                  </a:lnTo>
                  <a:lnTo>
                    <a:pt x="10" y="274"/>
                  </a:lnTo>
                  <a:lnTo>
                    <a:pt x="3" y="274"/>
                  </a:lnTo>
                  <a:lnTo>
                    <a:pt x="0" y="274"/>
                  </a:lnTo>
                  <a:lnTo>
                    <a:pt x="0" y="272"/>
                  </a:lnTo>
                  <a:lnTo>
                    <a:pt x="0" y="267"/>
                  </a:lnTo>
                  <a:lnTo>
                    <a:pt x="0" y="262"/>
                  </a:lnTo>
                  <a:lnTo>
                    <a:pt x="0" y="260"/>
                  </a:lnTo>
                  <a:lnTo>
                    <a:pt x="0" y="256"/>
                  </a:lnTo>
                  <a:lnTo>
                    <a:pt x="0" y="250"/>
                  </a:lnTo>
                  <a:lnTo>
                    <a:pt x="0" y="243"/>
                  </a:lnTo>
                  <a:lnTo>
                    <a:pt x="0" y="239"/>
                  </a:lnTo>
                  <a:lnTo>
                    <a:pt x="0" y="236"/>
                  </a:lnTo>
                  <a:lnTo>
                    <a:pt x="0" y="231"/>
                  </a:lnTo>
                  <a:lnTo>
                    <a:pt x="0" y="229"/>
                  </a:lnTo>
                  <a:lnTo>
                    <a:pt x="0" y="222"/>
                  </a:lnTo>
                  <a:lnTo>
                    <a:pt x="0" y="219"/>
                  </a:lnTo>
                  <a:lnTo>
                    <a:pt x="0" y="215"/>
                  </a:lnTo>
                  <a:lnTo>
                    <a:pt x="0" y="215"/>
                  </a:lnTo>
                  <a:lnTo>
                    <a:pt x="0" y="212"/>
                  </a:lnTo>
                  <a:lnTo>
                    <a:pt x="0" y="206"/>
                  </a:lnTo>
                  <a:lnTo>
                    <a:pt x="0" y="205"/>
                  </a:lnTo>
                  <a:lnTo>
                    <a:pt x="0" y="201"/>
                  </a:lnTo>
                  <a:lnTo>
                    <a:pt x="0" y="200"/>
                  </a:lnTo>
                  <a:lnTo>
                    <a:pt x="0" y="194"/>
                  </a:lnTo>
                  <a:lnTo>
                    <a:pt x="0" y="189"/>
                  </a:lnTo>
                  <a:lnTo>
                    <a:pt x="0" y="188"/>
                  </a:lnTo>
                  <a:lnTo>
                    <a:pt x="0" y="184"/>
                  </a:lnTo>
                  <a:lnTo>
                    <a:pt x="0" y="177"/>
                  </a:lnTo>
                  <a:lnTo>
                    <a:pt x="0" y="176"/>
                  </a:lnTo>
                  <a:lnTo>
                    <a:pt x="0" y="172"/>
                  </a:lnTo>
                  <a:lnTo>
                    <a:pt x="0" y="170"/>
                  </a:lnTo>
                  <a:lnTo>
                    <a:pt x="0" y="167"/>
                  </a:lnTo>
                  <a:lnTo>
                    <a:pt x="0" y="163"/>
                  </a:lnTo>
                  <a:lnTo>
                    <a:pt x="0" y="162"/>
                  </a:lnTo>
                  <a:lnTo>
                    <a:pt x="0" y="160"/>
                  </a:lnTo>
                  <a:lnTo>
                    <a:pt x="0" y="158"/>
                  </a:lnTo>
                  <a:lnTo>
                    <a:pt x="0" y="153"/>
                  </a:lnTo>
                  <a:lnTo>
                    <a:pt x="0" y="150"/>
                  </a:lnTo>
                  <a:lnTo>
                    <a:pt x="0" y="146"/>
                  </a:lnTo>
                  <a:lnTo>
                    <a:pt x="0" y="145"/>
                  </a:lnTo>
                  <a:lnTo>
                    <a:pt x="0" y="141"/>
                  </a:lnTo>
                  <a:lnTo>
                    <a:pt x="0" y="139"/>
                  </a:lnTo>
                  <a:lnTo>
                    <a:pt x="0" y="139"/>
                  </a:lnTo>
                  <a:lnTo>
                    <a:pt x="0" y="136"/>
                  </a:lnTo>
                  <a:lnTo>
                    <a:pt x="0" y="134"/>
                  </a:lnTo>
                  <a:lnTo>
                    <a:pt x="0" y="133"/>
                  </a:lnTo>
                  <a:lnTo>
                    <a:pt x="0" y="131"/>
                  </a:lnTo>
                  <a:lnTo>
                    <a:pt x="0" y="129"/>
                  </a:lnTo>
                  <a:lnTo>
                    <a:pt x="0" y="122"/>
                  </a:lnTo>
                  <a:lnTo>
                    <a:pt x="0" y="120"/>
                  </a:lnTo>
                  <a:lnTo>
                    <a:pt x="0" y="117"/>
                  </a:lnTo>
                  <a:lnTo>
                    <a:pt x="0" y="114"/>
                  </a:lnTo>
                  <a:lnTo>
                    <a:pt x="0" y="108"/>
                  </a:lnTo>
                  <a:lnTo>
                    <a:pt x="0" y="103"/>
                  </a:lnTo>
                  <a:lnTo>
                    <a:pt x="0" y="96"/>
                  </a:lnTo>
                  <a:lnTo>
                    <a:pt x="0" y="91"/>
                  </a:lnTo>
                  <a:lnTo>
                    <a:pt x="0" y="90"/>
                  </a:lnTo>
                  <a:lnTo>
                    <a:pt x="0" y="84"/>
                  </a:lnTo>
                  <a:lnTo>
                    <a:pt x="0" y="79"/>
                  </a:lnTo>
                  <a:lnTo>
                    <a:pt x="0" y="76"/>
                  </a:lnTo>
                  <a:lnTo>
                    <a:pt x="0" y="72"/>
                  </a:lnTo>
                  <a:lnTo>
                    <a:pt x="0" y="69"/>
                  </a:lnTo>
                  <a:lnTo>
                    <a:pt x="0" y="65"/>
                  </a:lnTo>
                  <a:lnTo>
                    <a:pt x="0" y="62"/>
                  </a:lnTo>
                  <a:lnTo>
                    <a:pt x="0" y="60"/>
                  </a:lnTo>
                  <a:lnTo>
                    <a:pt x="0" y="55"/>
                  </a:lnTo>
                  <a:lnTo>
                    <a:pt x="0" y="47"/>
                  </a:lnTo>
                  <a:lnTo>
                    <a:pt x="0" y="36"/>
                  </a:lnTo>
                  <a:lnTo>
                    <a:pt x="0" y="33"/>
                  </a:lnTo>
                  <a:lnTo>
                    <a:pt x="0" y="33"/>
                  </a:lnTo>
                  <a:lnTo>
                    <a:pt x="0" y="31"/>
                  </a:lnTo>
                  <a:lnTo>
                    <a:pt x="0" y="29"/>
                  </a:lnTo>
                  <a:lnTo>
                    <a:pt x="0" y="28"/>
                  </a:lnTo>
                  <a:lnTo>
                    <a:pt x="0" y="26"/>
                  </a:lnTo>
                  <a:lnTo>
                    <a:pt x="0" y="22"/>
                  </a:lnTo>
                  <a:lnTo>
                    <a:pt x="0" y="21"/>
                  </a:lnTo>
                  <a:lnTo>
                    <a:pt x="0" y="19"/>
                  </a:lnTo>
                  <a:lnTo>
                    <a:pt x="0" y="16"/>
                  </a:lnTo>
                  <a:lnTo>
                    <a:pt x="0" y="3"/>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5" name="Freeform 144"/>
            <p:cNvSpPr>
              <a:spLocks/>
            </p:cNvSpPr>
            <p:nvPr/>
          </p:nvSpPr>
          <p:spPr bwMode="auto">
            <a:xfrm>
              <a:off x="4785609" y="1160256"/>
              <a:ext cx="481013" cy="431800"/>
            </a:xfrm>
            <a:custGeom>
              <a:avLst/>
              <a:gdLst/>
              <a:ahLst/>
              <a:cxnLst>
                <a:cxn ang="0">
                  <a:pos x="303" y="57"/>
                </a:cxn>
                <a:cxn ang="0">
                  <a:pos x="303" y="79"/>
                </a:cxn>
                <a:cxn ang="0">
                  <a:pos x="303" y="105"/>
                </a:cxn>
                <a:cxn ang="0">
                  <a:pos x="303" y="135"/>
                </a:cxn>
                <a:cxn ang="0">
                  <a:pos x="303" y="166"/>
                </a:cxn>
                <a:cxn ang="0">
                  <a:pos x="303" y="179"/>
                </a:cxn>
                <a:cxn ang="0">
                  <a:pos x="303" y="196"/>
                </a:cxn>
                <a:cxn ang="0">
                  <a:pos x="303" y="209"/>
                </a:cxn>
                <a:cxn ang="0">
                  <a:pos x="303" y="221"/>
                </a:cxn>
                <a:cxn ang="0">
                  <a:pos x="303" y="248"/>
                </a:cxn>
                <a:cxn ang="0">
                  <a:pos x="303" y="258"/>
                </a:cxn>
                <a:cxn ang="0">
                  <a:pos x="296" y="269"/>
                </a:cxn>
                <a:cxn ang="0">
                  <a:pos x="277" y="269"/>
                </a:cxn>
                <a:cxn ang="0">
                  <a:pos x="249" y="269"/>
                </a:cxn>
                <a:cxn ang="0">
                  <a:pos x="236" y="269"/>
                </a:cxn>
                <a:cxn ang="0">
                  <a:pos x="217" y="269"/>
                </a:cxn>
                <a:cxn ang="0">
                  <a:pos x="208" y="269"/>
                </a:cxn>
                <a:cxn ang="0">
                  <a:pos x="191" y="269"/>
                </a:cxn>
                <a:cxn ang="0">
                  <a:pos x="177" y="269"/>
                </a:cxn>
                <a:cxn ang="0">
                  <a:pos x="162" y="269"/>
                </a:cxn>
                <a:cxn ang="0">
                  <a:pos x="145" y="269"/>
                </a:cxn>
                <a:cxn ang="0">
                  <a:pos x="129" y="269"/>
                </a:cxn>
                <a:cxn ang="0">
                  <a:pos x="122" y="269"/>
                </a:cxn>
                <a:cxn ang="0">
                  <a:pos x="115" y="269"/>
                </a:cxn>
                <a:cxn ang="0">
                  <a:pos x="103" y="269"/>
                </a:cxn>
                <a:cxn ang="0">
                  <a:pos x="79" y="270"/>
                </a:cxn>
                <a:cxn ang="0">
                  <a:pos x="69" y="270"/>
                </a:cxn>
                <a:cxn ang="0">
                  <a:pos x="57" y="270"/>
                </a:cxn>
                <a:cxn ang="0">
                  <a:pos x="48" y="270"/>
                </a:cxn>
                <a:cxn ang="0">
                  <a:pos x="26" y="270"/>
                </a:cxn>
                <a:cxn ang="0">
                  <a:pos x="10" y="272"/>
                </a:cxn>
                <a:cxn ang="0">
                  <a:pos x="0" y="267"/>
                </a:cxn>
                <a:cxn ang="0">
                  <a:pos x="2" y="252"/>
                </a:cxn>
                <a:cxn ang="0">
                  <a:pos x="2" y="234"/>
                </a:cxn>
                <a:cxn ang="0">
                  <a:pos x="2" y="205"/>
                </a:cxn>
                <a:cxn ang="0">
                  <a:pos x="2" y="196"/>
                </a:cxn>
                <a:cxn ang="0">
                  <a:pos x="2" y="179"/>
                </a:cxn>
                <a:cxn ang="0">
                  <a:pos x="2" y="162"/>
                </a:cxn>
                <a:cxn ang="0">
                  <a:pos x="2" y="143"/>
                </a:cxn>
                <a:cxn ang="0">
                  <a:pos x="2" y="116"/>
                </a:cxn>
                <a:cxn ang="0">
                  <a:pos x="2" y="93"/>
                </a:cxn>
                <a:cxn ang="0">
                  <a:pos x="2" y="67"/>
                </a:cxn>
                <a:cxn ang="0">
                  <a:pos x="2" y="49"/>
                </a:cxn>
                <a:cxn ang="0">
                  <a:pos x="2" y="14"/>
                </a:cxn>
                <a:cxn ang="0">
                  <a:pos x="17" y="2"/>
                </a:cxn>
                <a:cxn ang="0">
                  <a:pos x="33" y="2"/>
                </a:cxn>
                <a:cxn ang="0">
                  <a:pos x="55" y="2"/>
                </a:cxn>
                <a:cxn ang="0">
                  <a:pos x="71" y="2"/>
                </a:cxn>
                <a:cxn ang="0">
                  <a:pos x="84" y="2"/>
                </a:cxn>
                <a:cxn ang="0">
                  <a:pos x="107" y="0"/>
                </a:cxn>
                <a:cxn ang="0">
                  <a:pos x="115" y="0"/>
                </a:cxn>
                <a:cxn ang="0">
                  <a:pos x="145" y="0"/>
                </a:cxn>
                <a:cxn ang="0">
                  <a:pos x="165" y="0"/>
                </a:cxn>
                <a:cxn ang="0">
                  <a:pos x="176" y="0"/>
                </a:cxn>
                <a:cxn ang="0">
                  <a:pos x="191" y="0"/>
                </a:cxn>
                <a:cxn ang="0">
                  <a:pos x="201" y="0"/>
                </a:cxn>
                <a:cxn ang="0">
                  <a:pos x="213" y="0"/>
                </a:cxn>
                <a:cxn ang="0">
                  <a:pos x="227" y="2"/>
                </a:cxn>
                <a:cxn ang="0">
                  <a:pos x="239" y="2"/>
                </a:cxn>
                <a:cxn ang="0">
                  <a:pos x="268" y="0"/>
                </a:cxn>
                <a:cxn ang="0">
                  <a:pos x="291" y="0"/>
                </a:cxn>
                <a:cxn ang="0">
                  <a:pos x="303" y="0"/>
                </a:cxn>
                <a:cxn ang="0">
                  <a:pos x="303" y="18"/>
                </a:cxn>
              </a:cxnLst>
              <a:rect l="0" t="0" r="r" b="b"/>
              <a:pathLst>
                <a:path w="303" h="272">
                  <a:moveTo>
                    <a:pt x="303" y="35"/>
                  </a:moveTo>
                  <a:lnTo>
                    <a:pt x="303" y="52"/>
                  </a:lnTo>
                  <a:lnTo>
                    <a:pt x="303" y="54"/>
                  </a:lnTo>
                  <a:lnTo>
                    <a:pt x="303" y="57"/>
                  </a:lnTo>
                  <a:lnTo>
                    <a:pt x="303" y="64"/>
                  </a:lnTo>
                  <a:lnTo>
                    <a:pt x="303" y="67"/>
                  </a:lnTo>
                  <a:lnTo>
                    <a:pt x="303" y="73"/>
                  </a:lnTo>
                  <a:lnTo>
                    <a:pt x="303" y="79"/>
                  </a:lnTo>
                  <a:lnTo>
                    <a:pt x="303" y="90"/>
                  </a:lnTo>
                  <a:lnTo>
                    <a:pt x="303" y="98"/>
                  </a:lnTo>
                  <a:lnTo>
                    <a:pt x="303" y="98"/>
                  </a:lnTo>
                  <a:lnTo>
                    <a:pt x="303" y="105"/>
                  </a:lnTo>
                  <a:lnTo>
                    <a:pt x="303" y="107"/>
                  </a:lnTo>
                  <a:lnTo>
                    <a:pt x="303" y="117"/>
                  </a:lnTo>
                  <a:lnTo>
                    <a:pt x="303" y="121"/>
                  </a:lnTo>
                  <a:lnTo>
                    <a:pt x="303" y="135"/>
                  </a:lnTo>
                  <a:lnTo>
                    <a:pt x="303" y="141"/>
                  </a:lnTo>
                  <a:lnTo>
                    <a:pt x="303" y="145"/>
                  </a:lnTo>
                  <a:lnTo>
                    <a:pt x="303" y="157"/>
                  </a:lnTo>
                  <a:lnTo>
                    <a:pt x="303" y="166"/>
                  </a:lnTo>
                  <a:lnTo>
                    <a:pt x="303" y="169"/>
                  </a:lnTo>
                  <a:lnTo>
                    <a:pt x="303" y="171"/>
                  </a:lnTo>
                  <a:lnTo>
                    <a:pt x="303" y="178"/>
                  </a:lnTo>
                  <a:lnTo>
                    <a:pt x="303" y="179"/>
                  </a:lnTo>
                  <a:lnTo>
                    <a:pt x="303" y="190"/>
                  </a:lnTo>
                  <a:lnTo>
                    <a:pt x="303" y="190"/>
                  </a:lnTo>
                  <a:lnTo>
                    <a:pt x="303" y="195"/>
                  </a:lnTo>
                  <a:lnTo>
                    <a:pt x="303" y="196"/>
                  </a:lnTo>
                  <a:lnTo>
                    <a:pt x="303" y="202"/>
                  </a:lnTo>
                  <a:lnTo>
                    <a:pt x="303" y="205"/>
                  </a:lnTo>
                  <a:lnTo>
                    <a:pt x="303" y="205"/>
                  </a:lnTo>
                  <a:lnTo>
                    <a:pt x="303" y="209"/>
                  </a:lnTo>
                  <a:lnTo>
                    <a:pt x="303" y="210"/>
                  </a:lnTo>
                  <a:lnTo>
                    <a:pt x="303" y="212"/>
                  </a:lnTo>
                  <a:lnTo>
                    <a:pt x="303" y="219"/>
                  </a:lnTo>
                  <a:lnTo>
                    <a:pt x="303" y="221"/>
                  </a:lnTo>
                  <a:lnTo>
                    <a:pt x="303" y="229"/>
                  </a:lnTo>
                  <a:lnTo>
                    <a:pt x="303" y="234"/>
                  </a:lnTo>
                  <a:lnTo>
                    <a:pt x="303" y="245"/>
                  </a:lnTo>
                  <a:lnTo>
                    <a:pt x="303" y="248"/>
                  </a:lnTo>
                  <a:lnTo>
                    <a:pt x="303" y="250"/>
                  </a:lnTo>
                  <a:lnTo>
                    <a:pt x="303" y="250"/>
                  </a:lnTo>
                  <a:lnTo>
                    <a:pt x="303" y="253"/>
                  </a:lnTo>
                  <a:lnTo>
                    <a:pt x="303" y="258"/>
                  </a:lnTo>
                  <a:lnTo>
                    <a:pt x="303" y="265"/>
                  </a:lnTo>
                  <a:lnTo>
                    <a:pt x="303" y="269"/>
                  </a:lnTo>
                  <a:lnTo>
                    <a:pt x="298" y="269"/>
                  </a:lnTo>
                  <a:lnTo>
                    <a:pt x="296" y="269"/>
                  </a:lnTo>
                  <a:lnTo>
                    <a:pt x="296" y="269"/>
                  </a:lnTo>
                  <a:lnTo>
                    <a:pt x="291" y="269"/>
                  </a:lnTo>
                  <a:lnTo>
                    <a:pt x="282" y="269"/>
                  </a:lnTo>
                  <a:lnTo>
                    <a:pt x="277" y="269"/>
                  </a:lnTo>
                  <a:lnTo>
                    <a:pt x="268" y="269"/>
                  </a:lnTo>
                  <a:lnTo>
                    <a:pt x="263" y="269"/>
                  </a:lnTo>
                  <a:lnTo>
                    <a:pt x="253" y="269"/>
                  </a:lnTo>
                  <a:lnTo>
                    <a:pt x="249" y="269"/>
                  </a:lnTo>
                  <a:lnTo>
                    <a:pt x="243" y="269"/>
                  </a:lnTo>
                  <a:lnTo>
                    <a:pt x="241" y="269"/>
                  </a:lnTo>
                  <a:lnTo>
                    <a:pt x="239" y="269"/>
                  </a:lnTo>
                  <a:lnTo>
                    <a:pt x="236" y="269"/>
                  </a:lnTo>
                  <a:lnTo>
                    <a:pt x="232" y="269"/>
                  </a:lnTo>
                  <a:lnTo>
                    <a:pt x="229" y="269"/>
                  </a:lnTo>
                  <a:lnTo>
                    <a:pt x="219" y="269"/>
                  </a:lnTo>
                  <a:lnTo>
                    <a:pt x="217" y="269"/>
                  </a:lnTo>
                  <a:lnTo>
                    <a:pt x="213" y="269"/>
                  </a:lnTo>
                  <a:lnTo>
                    <a:pt x="212" y="269"/>
                  </a:lnTo>
                  <a:lnTo>
                    <a:pt x="210" y="269"/>
                  </a:lnTo>
                  <a:lnTo>
                    <a:pt x="208" y="269"/>
                  </a:lnTo>
                  <a:lnTo>
                    <a:pt x="206" y="269"/>
                  </a:lnTo>
                  <a:lnTo>
                    <a:pt x="205" y="269"/>
                  </a:lnTo>
                  <a:lnTo>
                    <a:pt x="194" y="269"/>
                  </a:lnTo>
                  <a:lnTo>
                    <a:pt x="191" y="269"/>
                  </a:lnTo>
                  <a:lnTo>
                    <a:pt x="191" y="269"/>
                  </a:lnTo>
                  <a:lnTo>
                    <a:pt x="189" y="269"/>
                  </a:lnTo>
                  <a:lnTo>
                    <a:pt x="179" y="269"/>
                  </a:lnTo>
                  <a:lnTo>
                    <a:pt x="177" y="269"/>
                  </a:lnTo>
                  <a:lnTo>
                    <a:pt x="174" y="269"/>
                  </a:lnTo>
                  <a:lnTo>
                    <a:pt x="169" y="269"/>
                  </a:lnTo>
                  <a:lnTo>
                    <a:pt x="165" y="269"/>
                  </a:lnTo>
                  <a:lnTo>
                    <a:pt x="162" y="269"/>
                  </a:lnTo>
                  <a:lnTo>
                    <a:pt x="153" y="269"/>
                  </a:lnTo>
                  <a:lnTo>
                    <a:pt x="151" y="269"/>
                  </a:lnTo>
                  <a:lnTo>
                    <a:pt x="146" y="269"/>
                  </a:lnTo>
                  <a:lnTo>
                    <a:pt x="145" y="269"/>
                  </a:lnTo>
                  <a:lnTo>
                    <a:pt x="138" y="269"/>
                  </a:lnTo>
                  <a:lnTo>
                    <a:pt x="133" y="269"/>
                  </a:lnTo>
                  <a:lnTo>
                    <a:pt x="131" y="269"/>
                  </a:lnTo>
                  <a:lnTo>
                    <a:pt x="129" y="269"/>
                  </a:lnTo>
                  <a:lnTo>
                    <a:pt x="127" y="269"/>
                  </a:lnTo>
                  <a:lnTo>
                    <a:pt x="126" y="269"/>
                  </a:lnTo>
                  <a:lnTo>
                    <a:pt x="124" y="269"/>
                  </a:lnTo>
                  <a:lnTo>
                    <a:pt x="122" y="269"/>
                  </a:lnTo>
                  <a:lnTo>
                    <a:pt x="120" y="269"/>
                  </a:lnTo>
                  <a:lnTo>
                    <a:pt x="119" y="269"/>
                  </a:lnTo>
                  <a:lnTo>
                    <a:pt x="117" y="269"/>
                  </a:lnTo>
                  <a:lnTo>
                    <a:pt x="115" y="269"/>
                  </a:lnTo>
                  <a:lnTo>
                    <a:pt x="114" y="269"/>
                  </a:lnTo>
                  <a:lnTo>
                    <a:pt x="112" y="269"/>
                  </a:lnTo>
                  <a:lnTo>
                    <a:pt x="110" y="269"/>
                  </a:lnTo>
                  <a:lnTo>
                    <a:pt x="103" y="269"/>
                  </a:lnTo>
                  <a:lnTo>
                    <a:pt x="96" y="270"/>
                  </a:lnTo>
                  <a:lnTo>
                    <a:pt x="86" y="270"/>
                  </a:lnTo>
                  <a:lnTo>
                    <a:pt x="84" y="270"/>
                  </a:lnTo>
                  <a:lnTo>
                    <a:pt x="79" y="270"/>
                  </a:lnTo>
                  <a:lnTo>
                    <a:pt x="76" y="270"/>
                  </a:lnTo>
                  <a:lnTo>
                    <a:pt x="71" y="270"/>
                  </a:lnTo>
                  <a:lnTo>
                    <a:pt x="71" y="270"/>
                  </a:lnTo>
                  <a:lnTo>
                    <a:pt x="69" y="270"/>
                  </a:lnTo>
                  <a:lnTo>
                    <a:pt x="67" y="270"/>
                  </a:lnTo>
                  <a:lnTo>
                    <a:pt x="62" y="270"/>
                  </a:lnTo>
                  <a:lnTo>
                    <a:pt x="59" y="270"/>
                  </a:lnTo>
                  <a:lnTo>
                    <a:pt x="57" y="270"/>
                  </a:lnTo>
                  <a:lnTo>
                    <a:pt x="55" y="270"/>
                  </a:lnTo>
                  <a:lnTo>
                    <a:pt x="53" y="270"/>
                  </a:lnTo>
                  <a:lnTo>
                    <a:pt x="50" y="270"/>
                  </a:lnTo>
                  <a:lnTo>
                    <a:pt x="48" y="270"/>
                  </a:lnTo>
                  <a:lnTo>
                    <a:pt x="41" y="270"/>
                  </a:lnTo>
                  <a:lnTo>
                    <a:pt x="34" y="270"/>
                  </a:lnTo>
                  <a:lnTo>
                    <a:pt x="31" y="270"/>
                  </a:lnTo>
                  <a:lnTo>
                    <a:pt x="26" y="270"/>
                  </a:lnTo>
                  <a:lnTo>
                    <a:pt x="21" y="270"/>
                  </a:lnTo>
                  <a:lnTo>
                    <a:pt x="17" y="270"/>
                  </a:lnTo>
                  <a:lnTo>
                    <a:pt x="16" y="270"/>
                  </a:lnTo>
                  <a:lnTo>
                    <a:pt x="10" y="272"/>
                  </a:lnTo>
                  <a:lnTo>
                    <a:pt x="9" y="272"/>
                  </a:lnTo>
                  <a:lnTo>
                    <a:pt x="4" y="272"/>
                  </a:lnTo>
                  <a:lnTo>
                    <a:pt x="0" y="272"/>
                  </a:lnTo>
                  <a:lnTo>
                    <a:pt x="0" y="267"/>
                  </a:lnTo>
                  <a:lnTo>
                    <a:pt x="0" y="265"/>
                  </a:lnTo>
                  <a:lnTo>
                    <a:pt x="2" y="265"/>
                  </a:lnTo>
                  <a:lnTo>
                    <a:pt x="0" y="258"/>
                  </a:lnTo>
                  <a:lnTo>
                    <a:pt x="2" y="252"/>
                  </a:lnTo>
                  <a:lnTo>
                    <a:pt x="2" y="250"/>
                  </a:lnTo>
                  <a:lnTo>
                    <a:pt x="2" y="246"/>
                  </a:lnTo>
                  <a:lnTo>
                    <a:pt x="2" y="234"/>
                  </a:lnTo>
                  <a:lnTo>
                    <a:pt x="2" y="234"/>
                  </a:lnTo>
                  <a:lnTo>
                    <a:pt x="2" y="219"/>
                  </a:lnTo>
                  <a:lnTo>
                    <a:pt x="2" y="217"/>
                  </a:lnTo>
                  <a:lnTo>
                    <a:pt x="2" y="205"/>
                  </a:lnTo>
                  <a:lnTo>
                    <a:pt x="2" y="205"/>
                  </a:lnTo>
                  <a:lnTo>
                    <a:pt x="2" y="202"/>
                  </a:lnTo>
                  <a:lnTo>
                    <a:pt x="2" y="200"/>
                  </a:lnTo>
                  <a:lnTo>
                    <a:pt x="2" y="198"/>
                  </a:lnTo>
                  <a:lnTo>
                    <a:pt x="2" y="196"/>
                  </a:lnTo>
                  <a:lnTo>
                    <a:pt x="2" y="188"/>
                  </a:lnTo>
                  <a:lnTo>
                    <a:pt x="2" y="186"/>
                  </a:lnTo>
                  <a:lnTo>
                    <a:pt x="2" y="184"/>
                  </a:lnTo>
                  <a:lnTo>
                    <a:pt x="2" y="179"/>
                  </a:lnTo>
                  <a:lnTo>
                    <a:pt x="2" y="176"/>
                  </a:lnTo>
                  <a:lnTo>
                    <a:pt x="2" y="167"/>
                  </a:lnTo>
                  <a:lnTo>
                    <a:pt x="2" y="166"/>
                  </a:lnTo>
                  <a:lnTo>
                    <a:pt x="2" y="162"/>
                  </a:lnTo>
                  <a:lnTo>
                    <a:pt x="2" y="155"/>
                  </a:lnTo>
                  <a:lnTo>
                    <a:pt x="2" y="148"/>
                  </a:lnTo>
                  <a:lnTo>
                    <a:pt x="2" y="145"/>
                  </a:lnTo>
                  <a:lnTo>
                    <a:pt x="2" y="143"/>
                  </a:lnTo>
                  <a:lnTo>
                    <a:pt x="2" y="138"/>
                  </a:lnTo>
                  <a:lnTo>
                    <a:pt x="2" y="136"/>
                  </a:lnTo>
                  <a:lnTo>
                    <a:pt x="2" y="124"/>
                  </a:lnTo>
                  <a:lnTo>
                    <a:pt x="2" y="116"/>
                  </a:lnTo>
                  <a:lnTo>
                    <a:pt x="2" y="114"/>
                  </a:lnTo>
                  <a:lnTo>
                    <a:pt x="2" y="107"/>
                  </a:lnTo>
                  <a:lnTo>
                    <a:pt x="2" y="105"/>
                  </a:lnTo>
                  <a:lnTo>
                    <a:pt x="2" y="93"/>
                  </a:lnTo>
                  <a:lnTo>
                    <a:pt x="2" y="86"/>
                  </a:lnTo>
                  <a:lnTo>
                    <a:pt x="2" y="74"/>
                  </a:lnTo>
                  <a:lnTo>
                    <a:pt x="2" y="69"/>
                  </a:lnTo>
                  <a:lnTo>
                    <a:pt x="2" y="67"/>
                  </a:lnTo>
                  <a:lnTo>
                    <a:pt x="2" y="64"/>
                  </a:lnTo>
                  <a:lnTo>
                    <a:pt x="2" y="54"/>
                  </a:lnTo>
                  <a:lnTo>
                    <a:pt x="2" y="54"/>
                  </a:lnTo>
                  <a:lnTo>
                    <a:pt x="2" y="49"/>
                  </a:lnTo>
                  <a:lnTo>
                    <a:pt x="2" y="47"/>
                  </a:lnTo>
                  <a:lnTo>
                    <a:pt x="2" y="36"/>
                  </a:lnTo>
                  <a:lnTo>
                    <a:pt x="2" y="23"/>
                  </a:lnTo>
                  <a:lnTo>
                    <a:pt x="2" y="14"/>
                  </a:lnTo>
                  <a:lnTo>
                    <a:pt x="2" y="9"/>
                  </a:lnTo>
                  <a:lnTo>
                    <a:pt x="2" y="2"/>
                  </a:lnTo>
                  <a:lnTo>
                    <a:pt x="16" y="2"/>
                  </a:lnTo>
                  <a:lnTo>
                    <a:pt x="17" y="2"/>
                  </a:lnTo>
                  <a:lnTo>
                    <a:pt x="21" y="2"/>
                  </a:lnTo>
                  <a:lnTo>
                    <a:pt x="26" y="2"/>
                  </a:lnTo>
                  <a:lnTo>
                    <a:pt x="26" y="2"/>
                  </a:lnTo>
                  <a:lnTo>
                    <a:pt x="33" y="2"/>
                  </a:lnTo>
                  <a:lnTo>
                    <a:pt x="36" y="2"/>
                  </a:lnTo>
                  <a:lnTo>
                    <a:pt x="47" y="2"/>
                  </a:lnTo>
                  <a:lnTo>
                    <a:pt x="52" y="2"/>
                  </a:lnTo>
                  <a:lnTo>
                    <a:pt x="55" y="2"/>
                  </a:lnTo>
                  <a:lnTo>
                    <a:pt x="64" y="2"/>
                  </a:lnTo>
                  <a:lnTo>
                    <a:pt x="65" y="2"/>
                  </a:lnTo>
                  <a:lnTo>
                    <a:pt x="69" y="2"/>
                  </a:lnTo>
                  <a:lnTo>
                    <a:pt x="71" y="2"/>
                  </a:lnTo>
                  <a:lnTo>
                    <a:pt x="71" y="2"/>
                  </a:lnTo>
                  <a:lnTo>
                    <a:pt x="77" y="2"/>
                  </a:lnTo>
                  <a:lnTo>
                    <a:pt x="81" y="2"/>
                  </a:lnTo>
                  <a:lnTo>
                    <a:pt x="84" y="2"/>
                  </a:lnTo>
                  <a:lnTo>
                    <a:pt x="88" y="2"/>
                  </a:lnTo>
                  <a:lnTo>
                    <a:pt x="91" y="0"/>
                  </a:lnTo>
                  <a:lnTo>
                    <a:pt x="102" y="0"/>
                  </a:lnTo>
                  <a:lnTo>
                    <a:pt x="107" y="0"/>
                  </a:lnTo>
                  <a:lnTo>
                    <a:pt x="110" y="0"/>
                  </a:lnTo>
                  <a:lnTo>
                    <a:pt x="114" y="0"/>
                  </a:lnTo>
                  <a:lnTo>
                    <a:pt x="115" y="0"/>
                  </a:lnTo>
                  <a:lnTo>
                    <a:pt x="115" y="0"/>
                  </a:lnTo>
                  <a:lnTo>
                    <a:pt x="117" y="0"/>
                  </a:lnTo>
                  <a:lnTo>
                    <a:pt x="124" y="0"/>
                  </a:lnTo>
                  <a:lnTo>
                    <a:pt x="136" y="0"/>
                  </a:lnTo>
                  <a:lnTo>
                    <a:pt x="145" y="0"/>
                  </a:lnTo>
                  <a:lnTo>
                    <a:pt x="146" y="0"/>
                  </a:lnTo>
                  <a:lnTo>
                    <a:pt x="150" y="0"/>
                  </a:lnTo>
                  <a:lnTo>
                    <a:pt x="151" y="0"/>
                  </a:lnTo>
                  <a:lnTo>
                    <a:pt x="165" y="0"/>
                  </a:lnTo>
                  <a:lnTo>
                    <a:pt x="167" y="0"/>
                  </a:lnTo>
                  <a:lnTo>
                    <a:pt x="169" y="0"/>
                  </a:lnTo>
                  <a:lnTo>
                    <a:pt x="172" y="0"/>
                  </a:lnTo>
                  <a:lnTo>
                    <a:pt x="176" y="0"/>
                  </a:lnTo>
                  <a:lnTo>
                    <a:pt x="182" y="0"/>
                  </a:lnTo>
                  <a:lnTo>
                    <a:pt x="186" y="0"/>
                  </a:lnTo>
                  <a:lnTo>
                    <a:pt x="189" y="0"/>
                  </a:lnTo>
                  <a:lnTo>
                    <a:pt x="191" y="0"/>
                  </a:lnTo>
                  <a:lnTo>
                    <a:pt x="196" y="0"/>
                  </a:lnTo>
                  <a:lnTo>
                    <a:pt x="198" y="0"/>
                  </a:lnTo>
                  <a:lnTo>
                    <a:pt x="200" y="0"/>
                  </a:lnTo>
                  <a:lnTo>
                    <a:pt x="201" y="0"/>
                  </a:lnTo>
                  <a:lnTo>
                    <a:pt x="203" y="0"/>
                  </a:lnTo>
                  <a:lnTo>
                    <a:pt x="205" y="0"/>
                  </a:lnTo>
                  <a:lnTo>
                    <a:pt x="208" y="0"/>
                  </a:lnTo>
                  <a:lnTo>
                    <a:pt x="213" y="0"/>
                  </a:lnTo>
                  <a:lnTo>
                    <a:pt x="217" y="2"/>
                  </a:lnTo>
                  <a:lnTo>
                    <a:pt x="219" y="2"/>
                  </a:lnTo>
                  <a:lnTo>
                    <a:pt x="222" y="2"/>
                  </a:lnTo>
                  <a:lnTo>
                    <a:pt x="227" y="2"/>
                  </a:lnTo>
                  <a:lnTo>
                    <a:pt x="231" y="2"/>
                  </a:lnTo>
                  <a:lnTo>
                    <a:pt x="236" y="2"/>
                  </a:lnTo>
                  <a:lnTo>
                    <a:pt x="236" y="2"/>
                  </a:lnTo>
                  <a:lnTo>
                    <a:pt x="239" y="2"/>
                  </a:lnTo>
                  <a:lnTo>
                    <a:pt x="244" y="2"/>
                  </a:lnTo>
                  <a:lnTo>
                    <a:pt x="255" y="2"/>
                  </a:lnTo>
                  <a:lnTo>
                    <a:pt x="262" y="2"/>
                  </a:lnTo>
                  <a:lnTo>
                    <a:pt x="268" y="0"/>
                  </a:lnTo>
                  <a:lnTo>
                    <a:pt x="274" y="0"/>
                  </a:lnTo>
                  <a:lnTo>
                    <a:pt x="277" y="0"/>
                  </a:lnTo>
                  <a:lnTo>
                    <a:pt x="280" y="0"/>
                  </a:lnTo>
                  <a:lnTo>
                    <a:pt x="291" y="0"/>
                  </a:lnTo>
                  <a:lnTo>
                    <a:pt x="292" y="0"/>
                  </a:lnTo>
                  <a:lnTo>
                    <a:pt x="296" y="0"/>
                  </a:lnTo>
                  <a:lnTo>
                    <a:pt x="301" y="0"/>
                  </a:lnTo>
                  <a:lnTo>
                    <a:pt x="303" y="0"/>
                  </a:lnTo>
                  <a:lnTo>
                    <a:pt x="303" y="6"/>
                  </a:lnTo>
                  <a:lnTo>
                    <a:pt x="303" y="9"/>
                  </a:lnTo>
                  <a:lnTo>
                    <a:pt x="303" y="12"/>
                  </a:lnTo>
                  <a:lnTo>
                    <a:pt x="303" y="18"/>
                  </a:lnTo>
                  <a:lnTo>
                    <a:pt x="303" y="23"/>
                  </a:lnTo>
                  <a:lnTo>
                    <a:pt x="303" y="24"/>
                  </a:lnTo>
                  <a:lnTo>
                    <a:pt x="303" y="35"/>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6" name="Freeform 146"/>
            <p:cNvSpPr>
              <a:spLocks/>
            </p:cNvSpPr>
            <p:nvPr/>
          </p:nvSpPr>
          <p:spPr bwMode="auto">
            <a:xfrm>
              <a:off x="5738109" y="1258681"/>
              <a:ext cx="377825" cy="428625"/>
            </a:xfrm>
            <a:custGeom>
              <a:avLst/>
              <a:gdLst/>
              <a:ahLst/>
              <a:cxnLst>
                <a:cxn ang="0">
                  <a:pos x="236" y="14"/>
                </a:cxn>
                <a:cxn ang="0">
                  <a:pos x="236" y="35"/>
                </a:cxn>
                <a:cxn ang="0">
                  <a:pos x="236" y="67"/>
                </a:cxn>
                <a:cxn ang="0">
                  <a:pos x="238" y="81"/>
                </a:cxn>
                <a:cxn ang="0">
                  <a:pos x="238" y="93"/>
                </a:cxn>
                <a:cxn ang="0">
                  <a:pos x="238" y="114"/>
                </a:cxn>
                <a:cxn ang="0">
                  <a:pos x="238" y="128"/>
                </a:cxn>
                <a:cxn ang="0">
                  <a:pos x="238" y="133"/>
                </a:cxn>
                <a:cxn ang="0">
                  <a:pos x="238" y="141"/>
                </a:cxn>
                <a:cxn ang="0">
                  <a:pos x="238" y="157"/>
                </a:cxn>
                <a:cxn ang="0">
                  <a:pos x="238" y="174"/>
                </a:cxn>
                <a:cxn ang="0">
                  <a:pos x="238" y="188"/>
                </a:cxn>
                <a:cxn ang="0">
                  <a:pos x="238" y="195"/>
                </a:cxn>
                <a:cxn ang="0">
                  <a:pos x="238" y="215"/>
                </a:cxn>
                <a:cxn ang="0">
                  <a:pos x="238" y="238"/>
                </a:cxn>
                <a:cxn ang="0">
                  <a:pos x="238" y="250"/>
                </a:cxn>
                <a:cxn ang="0">
                  <a:pos x="238" y="270"/>
                </a:cxn>
                <a:cxn ang="0">
                  <a:pos x="226" y="270"/>
                </a:cxn>
                <a:cxn ang="0">
                  <a:pos x="210" y="270"/>
                </a:cxn>
                <a:cxn ang="0">
                  <a:pos x="195" y="270"/>
                </a:cxn>
                <a:cxn ang="0">
                  <a:pos x="184" y="270"/>
                </a:cxn>
                <a:cxn ang="0">
                  <a:pos x="159" y="269"/>
                </a:cxn>
                <a:cxn ang="0">
                  <a:pos x="135" y="269"/>
                </a:cxn>
                <a:cxn ang="0">
                  <a:pos x="112" y="269"/>
                </a:cxn>
                <a:cxn ang="0">
                  <a:pos x="88" y="269"/>
                </a:cxn>
                <a:cxn ang="0">
                  <a:pos x="69" y="269"/>
                </a:cxn>
                <a:cxn ang="0">
                  <a:pos x="50" y="270"/>
                </a:cxn>
                <a:cxn ang="0">
                  <a:pos x="35" y="270"/>
                </a:cxn>
                <a:cxn ang="0">
                  <a:pos x="16" y="270"/>
                </a:cxn>
                <a:cxn ang="0">
                  <a:pos x="6" y="253"/>
                </a:cxn>
                <a:cxn ang="0">
                  <a:pos x="6" y="238"/>
                </a:cxn>
                <a:cxn ang="0">
                  <a:pos x="6" y="214"/>
                </a:cxn>
                <a:cxn ang="0">
                  <a:pos x="6" y="205"/>
                </a:cxn>
                <a:cxn ang="0">
                  <a:pos x="4" y="200"/>
                </a:cxn>
                <a:cxn ang="0">
                  <a:pos x="4" y="188"/>
                </a:cxn>
                <a:cxn ang="0">
                  <a:pos x="4" y="172"/>
                </a:cxn>
                <a:cxn ang="0">
                  <a:pos x="4" y="160"/>
                </a:cxn>
                <a:cxn ang="0">
                  <a:pos x="4" y="138"/>
                </a:cxn>
                <a:cxn ang="0">
                  <a:pos x="4" y="119"/>
                </a:cxn>
                <a:cxn ang="0">
                  <a:pos x="2" y="105"/>
                </a:cxn>
                <a:cxn ang="0">
                  <a:pos x="2" y="71"/>
                </a:cxn>
                <a:cxn ang="0">
                  <a:pos x="0" y="55"/>
                </a:cxn>
                <a:cxn ang="0">
                  <a:pos x="0" y="42"/>
                </a:cxn>
                <a:cxn ang="0">
                  <a:pos x="0" y="21"/>
                </a:cxn>
                <a:cxn ang="0">
                  <a:pos x="0" y="2"/>
                </a:cxn>
                <a:cxn ang="0">
                  <a:pos x="14" y="2"/>
                </a:cxn>
                <a:cxn ang="0">
                  <a:pos x="30" y="0"/>
                </a:cxn>
                <a:cxn ang="0">
                  <a:pos x="59" y="0"/>
                </a:cxn>
                <a:cxn ang="0">
                  <a:pos x="67" y="0"/>
                </a:cxn>
                <a:cxn ang="0">
                  <a:pos x="102" y="0"/>
                </a:cxn>
                <a:cxn ang="0">
                  <a:pos x="112" y="0"/>
                </a:cxn>
                <a:cxn ang="0">
                  <a:pos x="126" y="0"/>
                </a:cxn>
                <a:cxn ang="0">
                  <a:pos x="140" y="0"/>
                </a:cxn>
                <a:cxn ang="0">
                  <a:pos x="152" y="0"/>
                </a:cxn>
                <a:cxn ang="0">
                  <a:pos x="164" y="0"/>
                </a:cxn>
                <a:cxn ang="0">
                  <a:pos x="188" y="0"/>
                </a:cxn>
                <a:cxn ang="0">
                  <a:pos x="200" y="0"/>
                </a:cxn>
                <a:cxn ang="0">
                  <a:pos x="236" y="0"/>
                </a:cxn>
              </a:cxnLst>
              <a:rect l="0" t="0" r="r" b="b"/>
              <a:pathLst>
                <a:path w="238" h="270">
                  <a:moveTo>
                    <a:pt x="236" y="0"/>
                  </a:moveTo>
                  <a:lnTo>
                    <a:pt x="236" y="5"/>
                  </a:lnTo>
                  <a:lnTo>
                    <a:pt x="236" y="11"/>
                  </a:lnTo>
                  <a:lnTo>
                    <a:pt x="236" y="14"/>
                  </a:lnTo>
                  <a:lnTo>
                    <a:pt x="236" y="19"/>
                  </a:lnTo>
                  <a:lnTo>
                    <a:pt x="236" y="23"/>
                  </a:lnTo>
                  <a:lnTo>
                    <a:pt x="236" y="31"/>
                  </a:lnTo>
                  <a:lnTo>
                    <a:pt x="236" y="35"/>
                  </a:lnTo>
                  <a:lnTo>
                    <a:pt x="236" y="40"/>
                  </a:lnTo>
                  <a:lnTo>
                    <a:pt x="236" y="52"/>
                  </a:lnTo>
                  <a:lnTo>
                    <a:pt x="236" y="52"/>
                  </a:lnTo>
                  <a:lnTo>
                    <a:pt x="236" y="67"/>
                  </a:lnTo>
                  <a:lnTo>
                    <a:pt x="238" y="67"/>
                  </a:lnTo>
                  <a:lnTo>
                    <a:pt x="238" y="74"/>
                  </a:lnTo>
                  <a:lnTo>
                    <a:pt x="238" y="79"/>
                  </a:lnTo>
                  <a:lnTo>
                    <a:pt x="238" y="81"/>
                  </a:lnTo>
                  <a:lnTo>
                    <a:pt x="238" y="83"/>
                  </a:lnTo>
                  <a:lnTo>
                    <a:pt x="238" y="83"/>
                  </a:lnTo>
                  <a:lnTo>
                    <a:pt x="238" y="88"/>
                  </a:lnTo>
                  <a:lnTo>
                    <a:pt x="238" y="93"/>
                  </a:lnTo>
                  <a:lnTo>
                    <a:pt x="238" y="98"/>
                  </a:lnTo>
                  <a:lnTo>
                    <a:pt x="238" y="98"/>
                  </a:lnTo>
                  <a:lnTo>
                    <a:pt x="238" y="110"/>
                  </a:lnTo>
                  <a:lnTo>
                    <a:pt x="238" y="114"/>
                  </a:lnTo>
                  <a:lnTo>
                    <a:pt x="238" y="116"/>
                  </a:lnTo>
                  <a:lnTo>
                    <a:pt x="238" y="117"/>
                  </a:lnTo>
                  <a:lnTo>
                    <a:pt x="238" y="122"/>
                  </a:lnTo>
                  <a:lnTo>
                    <a:pt x="238" y="128"/>
                  </a:lnTo>
                  <a:lnTo>
                    <a:pt x="238" y="128"/>
                  </a:lnTo>
                  <a:lnTo>
                    <a:pt x="238" y="129"/>
                  </a:lnTo>
                  <a:lnTo>
                    <a:pt x="238" y="131"/>
                  </a:lnTo>
                  <a:lnTo>
                    <a:pt x="238" y="133"/>
                  </a:lnTo>
                  <a:lnTo>
                    <a:pt x="238" y="134"/>
                  </a:lnTo>
                  <a:lnTo>
                    <a:pt x="238" y="136"/>
                  </a:lnTo>
                  <a:lnTo>
                    <a:pt x="238" y="138"/>
                  </a:lnTo>
                  <a:lnTo>
                    <a:pt x="238" y="141"/>
                  </a:lnTo>
                  <a:lnTo>
                    <a:pt x="238" y="143"/>
                  </a:lnTo>
                  <a:lnTo>
                    <a:pt x="238" y="147"/>
                  </a:lnTo>
                  <a:lnTo>
                    <a:pt x="238" y="148"/>
                  </a:lnTo>
                  <a:lnTo>
                    <a:pt x="238" y="157"/>
                  </a:lnTo>
                  <a:lnTo>
                    <a:pt x="238" y="159"/>
                  </a:lnTo>
                  <a:lnTo>
                    <a:pt x="238" y="160"/>
                  </a:lnTo>
                  <a:lnTo>
                    <a:pt x="238" y="162"/>
                  </a:lnTo>
                  <a:lnTo>
                    <a:pt x="238" y="174"/>
                  </a:lnTo>
                  <a:lnTo>
                    <a:pt x="238" y="176"/>
                  </a:lnTo>
                  <a:lnTo>
                    <a:pt x="238" y="181"/>
                  </a:lnTo>
                  <a:lnTo>
                    <a:pt x="238" y="183"/>
                  </a:lnTo>
                  <a:lnTo>
                    <a:pt x="238" y="188"/>
                  </a:lnTo>
                  <a:lnTo>
                    <a:pt x="238" y="188"/>
                  </a:lnTo>
                  <a:lnTo>
                    <a:pt x="238" y="190"/>
                  </a:lnTo>
                  <a:lnTo>
                    <a:pt x="238" y="193"/>
                  </a:lnTo>
                  <a:lnTo>
                    <a:pt x="238" y="195"/>
                  </a:lnTo>
                  <a:lnTo>
                    <a:pt x="238" y="196"/>
                  </a:lnTo>
                  <a:lnTo>
                    <a:pt x="238" y="203"/>
                  </a:lnTo>
                  <a:lnTo>
                    <a:pt x="238" y="210"/>
                  </a:lnTo>
                  <a:lnTo>
                    <a:pt x="238" y="215"/>
                  </a:lnTo>
                  <a:lnTo>
                    <a:pt x="238" y="219"/>
                  </a:lnTo>
                  <a:lnTo>
                    <a:pt x="238" y="220"/>
                  </a:lnTo>
                  <a:lnTo>
                    <a:pt x="238" y="233"/>
                  </a:lnTo>
                  <a:lnTo>
                    <a:pt x="238" y="238"/>
                  </a:lnTo>
                  <a:lnTo>
                    <a:pt x="238" y="243"/>
                  </a:lnTo>
                  <a:lnTo>
                    <a:pt x="238" y="246"/>
                  </a:lnTo>
                  <a:lnTo>
                    <a:pt x="238" y="248"/>
                  </a:lnTo>
                  <a:lnTo>
                    <a:pt x="238" y="250"/>
                  </a:lnTo>
                  <a:lnTo>
                    <a:pt x="238" y="258"/>
                  </a:lnTo>
                  <a:lnTo>
                    <a:pt x="238" y="260"/>
                  </a:lnTo>
                  <a:lnTo>
                    <a:pt x="238" y="262"/>
                  </a:lnTo>
                  <a:lnTo>
                    <a:pt x="238" y="270"/>
                  </a:lnTo>
                  <a:lnTo>
                    <a:pt x="236" y="270"/>
                  </a:lnTo>
                  <a:lnTo>
                    <a:pt x="234" y="270"/>
                  </a:lnTo>
                  <a:lnTo>
                    <a:pt x="227" y="270"/>
                  </a:lnTo>
                  <a:lnTo>
                    <a:pt x="226" y="270"/>
                  </a:lnTo>
                  <a:lnTo>
                    <a:pt x="219" y="270"/>
                  </a:lnTo>
                  <a:lnTo>
                    <a:pt x="217" y="270"/>
                  </a:lnTo>
                  <a:lnTo>
                    <a:pt x="212" y="270"/>
                  </a:lnTo>
                  <a:lnTo>
                    <a:pt x="210" y="270"/>
                  </a:lnTo>
                  <a:lnTo>
                    <a:pt x="209" y="270"/>
                  </a:lnTo>
                  <a:lnTo>
                    <a:pt x="203" y="270"/>
                  </a:lnTo>
                  <a:lnTo>
                    <a:pt x="196" y="270"/>
                  </a:lnTo>
                  <a:lnTo>
                    <a:pt x="195" y="270"/>
                  </a:lnTo>
                  <a:lnTo>
                    <a:pt x="193" y="270"/>
                  </a:lnTo>
                  <a:lnTo>
                    <a:pt x="190" y="270"/>
                  </a:lnTo>
                  <a:lnTo>
                    <a:pt x="186" y="270"/>
                  </a:lnTo>
                  <a:lnTo>
                    <a:pt x="184" y="270"/>
                  </a:lnTo>
                  <a:lnTo>
                    <a:pt x="179" y="270"/>
                  </a:lnTo>
                  <a:lnTo>
                    <a:pt x="171" y="270"/>
                  </a:lnTo>
                  <a:lnTo>
                    <a:pt x="166" y="270"/>
                  </a:lnTo>
                  <a:lnTo>
                    <a:pt x="159" y="269"/>
                  </a:lnTo>
                  <a:lnTo>
                    <a:pt x="152" y="269"/>
                  </a:lnTo>
                  <a:lnTo>
                    <a:pt x="138" y="269"/>
                  </a:lnTo>
                  <a:lnTo>
                    <a:pt x="135" y="269"/>
                  </a:lnTo>
                  <a:lnTo>
                    <a:pt x="135" y="269"/>
                  </a:lnTo>
                  <a:lnTo>
                    <a:pt x="133" y="269"/>
                  </a:lnTo>
                  <a:lnTo>
                    <a:pt x="131" y="269"/>
                  </a:lnTo>
                  <a:lnTo>
                    <a:pt x="114" y="269"/>
                  </a:lnTo>
                  <a:lnTo>
                    <a:pt x="112" y="269"/>
                  </a:lnTo>
                  <a:lnTo>
                    <a:pt x="104" y="269"/>
                  </a:lnTo>
                  <a:lnTo>
                    <a:pt x="104" y="269"/>
                  </a:lnTo>
                  <a:lnTo>
                    <a:pt x="93" y="269"/>
                  </a:lnTo>
                  <a:lnTo>
                    <a:pt x="88" y="269"/>
                  </a:lnTo>
                  <a:lnTo>
                    <a:pt x="81" y="269"/>
                  </a:lnTo>
                  <a:lnTo>
                    <a:pt x="80" y="269"/>
                  </a:lnTo>
                  <a:lnTo>
                    <a:pt x="71" y="269"/>
                  </a:lnTo>
                  <a:lnTo>
                    <a:pt x="69" y="269"/>
                  </a:lnTo>
                  <a:lnTo>
                    <a:pt x="62" y="269"/>
                  </a:lnTo>
                  <a:lnTo>
                    <a:pt x="61" y="269"/>
                  </a:lnTo>
                  <a:lnTo>
                    <a:pt x="55" y="270"/>
                  </a:lnTo>
                  <a:lnTo>
                    <a:pt x="50" y="270"/>
                  </a:lnTo>
                  <a:lnTo>
                    <a:pt x="49" y="270"/>
                  </a:lnTo>
                  <a:lnTo>
                    <a:pt x="40" y="270"/>
                  </a:lnTo>
                  <a:lnTo>
                    <a:pt x="38" y="270"/>
                  </a:lnTo>
                  <a:lnTo>
                    <a:pt x="35" y="270"/>
                  </a:lnTo>
                  <a:lnTo>
                    <a:pt x="30" y="270"/>
                  </a:lnTo>
                  <a:lnTo>
                    <a:pt x="28" y="270"/>
                  </a:lnTo>
                  <a:lnTo>
                    <a:pt x="24" y="270"/>
                  </a:lnTo>
                  <a:lnTo>
                    <a:pt x="16" y="270"/>
                  </a:lnTo>
                  <a:lnTo>
                    <a:pt x="6" y="270"/>
                  </a:lnTo>
                  <a:lnTo>
                    <a:pt x="6" y="260"/>
                  </a:lnTo>
                  <a:lnTo>
                    <a:pt x="6" y="258"/>
                  </a:lnTo>
                  <a:lnTo>
                    <a:pt x="6" y="253"/>
                  </a:lnTo>
                  <a:lnTo>
                    <a:pt x="6" y="248"/>
                  </a:lnTo>
                  <a:lnTo>
                    <a:pt x="6" y="248"/>
                  </a:lnTo>
                  <a:lnTo>
                    <a:pt x="6" y="239"/>
                  </a:lnTo>
                  <a:lnTo>
                    <a:pt x="6" y="238"/>
                  </a:lnTo>
                  <a:lnTo>
                    <a:pt x="6" y="233"/>
                  </a:lnTo>
                  <a:lnTo>
                    <a:pt x="6" y="233"/>
                  </a:lnTo>
                  <a:lnTo>
                    <a:pt x="6" y="226"/>
                  </a:lnTo>
                  <a:lnTo>
                    <a:pt x="6" y="214"/>
                  </a:lnTo>
                  <a:lnTo>
                    <a:pt x="6" y="212"/>
                  </a:lnTo>
                  <a:lnTo>
                    <a:pt x="6" y="210"/>
                  </a:lnTo>
                  <a:lnTo>
                    <a:pt x="6" y="208"/>
                  </a:lnTo>
                  <a:lnTo>
                    <a:pt x="6" y="205"/>
                  </a:lnTo>
                  <a:lnTo>
                    <a:pt x="4" y="205"/>
                  </a:lnTo>
                  <a:lnTo>
                    <a:pt x="4" y="203"/>
                  </a:lnTo>
                  <a:lnTo>
                    <a:pt x="4" y="203"/>
                  </a:lnTo>
                  <a:lnTo>
                    <a:pt x="4" y="200"/>
                  </a:lnTo>
                  <a:lnTo>
                    <a:pt x="4" y="198"/>
                  </a:lnTo>
                  <a:lnTo>
                    <a:pt x="4" y="195"/>
                  </a:lnTo>
                  <a:lnTo>
                    <a:pt x="4" y="191"/>
                  </a:lnTo>
                  <a:lnTo>
                    <a:pt x="4" y="188"/>
                  </a:lnTo>
                  <a:lnTo>
                    <a:pt x="4" y="184"/>
                  </a:lnTo>
                  <a:lnTo>
                    <a:pt x="4" y="177"/>
                  </a:lnTo>
                  <a:lnTo>
                    <a:pt x="4" y="174"/>
                  </a:lnTo>
                  <a:lnTo>
                    <a:pt x="4" y="172"/>
                  </a:lnTo>
                  <a:lnTo>
                    <a:pt x="4" y="171"/>
                  </a:lnTo>
                  <a:lnTo>
                    <a:pt x="4" y="167"/>
                  </a:lnTo>
                  <a:lnTo>
                    <a:pt x="4" y="164"/>
                  </a:lnTo>
                  <a:lnTo>
                    <a:pt x="4" y="160"/>
                  </a:lnTo>
                  <a:lnTo>
                    <a:pt x="4" y="150"/>
                  </a:lnTo>
                  <a:lnTo>
                    <a:pt x="4" y="143"/>
                  </a:lnTo>
                  <a:lnTo>
                    <a:pt x="4" y="140"/>
                  </a:lnTo>
                  <a:lnTo>
                    <a:pt x="4" y="138"/>
                  </a:lnTo>
                  <a:lnTo>
                    <a:pt x="4" y="128"/>
                  </a:lnTo>
                  <a:lnTo>
                    <a:pt x="4" y="126"/>
                  </a:lnTo>
                  <a:lnTo>
                    <a:pt x="4" y="121"/>
                  </a:lnTo>
                  <a:lnTo>
                    <a:pt x="4" y="119"/>
                  </a:lnTo>
                  <a:lnTo>
                    <a:pt x="4" y="116"/>
                  </a:lnTo>
                  <a:lnTo>
                    <a:pt x="4" y="110"/>
                  </a:lnTo>
                  <a:lnTo>
                    <a:pt x="2" y="110"/>
                  </a:lnTo>
                  <a:lnTo>
                    <a:pt x="2" y="105"/>
                  </a:lnTo>
                  <a:lnTo>
                    <a:pt x="2" y="88"/>
                  </a:lnTo>
                  <a:lnTo>
                    <a:pt x="2" y="81"/>
                  </a:lnTo>
                  <a:lnTo>
                    <a:pt x="2" y="74"/>
                  </a:lnTo>
                  <a:lnTo>
                    <a:pt x="2" y="71"/>
                  </a:lnTo>
                  <a:lnTo>
                    <a:pt x="2" y="67"/>
                  </a:lnTo>
                  <a:lnTo>
                    <a:pt x="0" y="67"/>
                  </a:lnTo>
                  <a:lnTo>
                    <a:pt x="0" y="67"/>
                  </a:lnTo>
                  <a:lnTo>
                    <a:pt x="0" y="55"/>
                  </a:lnTo>
                  <a:lnTo>
                    <a:pt x="0" y="52"/>
                  </a:lnTo>
                  <a:lnTo>
                    <a:pt x="0" y="52"/>
                  </a:lnTo>
                  <a:lnTo>
                    <a:pt x="0" y="43"/>
                  </a:lnTo>
                  <a:lnTo>
                    <a:pt x="0" y="42"/>
                  </a:lnTo>
                  <a:lnTo>
                    <a:pt x="0" y="40"/>
                  </a:lnTo>
                  <a:lnTo>
                    <a:pt x="0" y="30"/>
                  </a:lnTo>
                  <a:lnTo>
                    <a:pt x="0" y="23"/>
                  </a:lnTo>
                  <a:lnTo>
                    <a:pt x="0" y="21"/>
                  </a:lnTo>
                  <a:lnTo>
                    <a:pt x="0" y="14"/>
                  </a:lnTo>
                  <a:lnTo>
                    <a:pt x="0" y="12"/>
                  </a:lnTo>
                  <a:lnTo>
                    <a:pt x="0" y="7"/>
                  </a:lnTo>
                  <a:lnTo>
                    <a:pt x="0" y="2"/>
                  </a:lnTo>
                  <a:lnTo>
                    <a:pt x="2" y="2"/>
                  </a:lnTo>
                  <a:lnTo>
                    <a:pt x="7" y="2"/>
                  </a:lnTo>
                  <a:lnTo>
                    <a:pt x="12" y="2"/>
                  </a:lnTo>
                  <a:lnTo>
                    <a:pt x="14" y="2"/>
                  </a:lnTo>
                  <a:lnTo>
                    <a:pt x="19" y="2"/>
                  </a:lnTo>
                  <a:lnTo>
                    <a:pt x="26" y="2"/>
                  </a:lnTo>
                  <a:lnTo>
                    <a:pt x="28" y="0"/>
                  </a:lnTo>
                  <a:lnTo>
                    <a:pt x="30" y="0"/>
                  </a:lnTo>
                  <a:lnTo>
                    <a:pt x="40" y="0"/>
                  </a:lnTo>
                  <a:lnTo>
                    <a:pt x="42" y="0"/>
                  </a:lnTo>
                  <a:lnTo>
                    <a:pt x="49" y="0"/>
                  </a:lnTo>
                  <a:lnTo>
                    <a:pt x="59" y="0"/>
                  </a:lnTo>
                  <a:lnTo>
                    <a:pt x="62" y="0"/>
                  </a:lnTo>
                  <a:lnTo>
                    <a:pt x="64" y="0"/>
                  </a:lnTo>
                  <a:lnTo>
                    <a:pt x="66" y="0"/>
                  </a:lnTo>
                  <a:lnTo>
                    <a:pt x="67" y="0"/>
                  </a:lnTo>
                  <a:lnTo>
                    <a:pt x="78" y="0"/>
                  </a:lnTo>
                  <a:lnTo>
                    <a:pt x="85" y="0"/>
                  </a:lnTo>
                  <a:lnTo>
                    <a:pt x="90" y="0"/>
                  </a:lnTo>
                  <a:lnTo>
                    <a:pt x="102" y="0"/>
                  </a:lnTo>
                  <a:lnTo>
                    <a:pt x="104" y="0"/>
                  </a:lnTo>
                  <a:lnTo>
                    <a:pt x="105" y="0"/>
                  </a:lnTo>
                  <a:lnTo>
                    <a:pt x="110" y="0"/>
                  </a:lnTo>
                  <a:lnTo>
                    <a:pt x="112" y="0"/>
                  </a:lnTo>
                  <a:lnTo>
                    <a:pt x="114" y="0"/>
                  </a:lnTo>
                  <a:lnTo>
                    <a:pt x="123" y="0"/>
                  </a:lnTo>
                  <a:lnTo>
                    <a:pt x="124" y="0"/>
                  </a:lnTo>
                  <a:lnTo>
                    <a:pt x="126" y="0"/>
                  </a:lnTo>
                  <a:lnTo>
                    <a:pt x="129" y="0"/>
                  </a:lnTo>
                  <a:lnTo>
                    <a:pt x="133" y="0"/>
                  </a:lnTo>
                  <a:lnTo>
                    <a:pt x="136" y="0"/>
                  </a:lnTo>
                  <a:lnTo>
                    <a:pt x="140" y="0"/>
                  </a:lnTo>
                  <a:lnTo>
                    <a:pt x="143" y="0"/>
                  </a:lnTo>
                  <a:lnTo>
                    <a:pt x="145" y="0"/>
                  </a:lnTo>
                  <a:lnTo>
                    <a:pt x="147" y="0"/>
                  </a:lnTo>
                  <a:lnTo>
                    <a:pt x="152" y="0"/>
                  </a:lnTo>
                  <a:lnTo>
                    <a:pt x="159" y="0"/>
                  </a:lnTo>
                  <a:lnTo>
                    <a:pt x="162" y="0"/>
                  </a:lnTo>
                  <a:lnTo>
                    <a:pt x="164" y="0"/>
                  </a:lnTo>
                  <a:lnTo>
                    <a:pt x="164" y="0"/>
                  </a:lnTo>
                  <a:lnTo>
                    <a:pt x="169" y="0"/>
                  </a:lnTo>
                  <a:lnTo>
                    <a:pt x="172" y="0"/>
                  </a:lnTo>
                  <a:lnTo>
                    <a:pt x="179" y="0"/>
                  </a:lnTo>
                  <a:lnTo>
                    <a:pt x="188" y="0"/>
                  </a:lnTo>
                  <a:lnTo>
                    <a:pt x="190" y="0"/>
                  </a:lnTo>
                  <a:lnTo>
                    <a:pt x="191" y="0"/>
                  </a:lnTo>
                  <a:lnTo>
                    <a:pt x="196" y="0"/>
                  </a:lnTo>
                  <a:lnTo>
                    <a:pt x="200" y="0"/>
                  </a:lnTo>
                  <a:lnTo>
                    <a:pt x="207" y="0"/>
                  </a:lnTo>
                  <a:lnTo>
                    <a:pt x="215" y="0"/>
                  </a:lnTo>
                  <a:lnTo>
                    <a:pt x="219" y="0"/>
                  </a:lnTo>
                  <a:lnTo>
                    <a:pt x="236" y="0"/>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7" name="Freeform 149"/>
            <p:cNvSpPr>
              <a:spLocks/>
            </p:cNvSpPr>
            <p:nvPr/>
          </p:nvSpPr>
          <p:spPr bwMode="auto">
            <a:xfrm>
              <a:off x="6112759" y="1314244"/>
              <a:ext cx="485775" cy="373063"/>
            </a:xfrm>
            <a:custGeom>
              <a:avLst/>
              <a:gdLst/>
              <a:ahLst/>
              <a:cxnLst>
                <a:cxn ang="0">
                  <a:pos x="261" y="8"/>
                </a:cxn>
                <a:cxn ang="0">
                  <a:pos x="261" y="17"/>
                </a:cxn>
                <a:cxn ang="0">
                  <a:pos x="260" y="27"/>
                </a:cxn>
                <a:cxn ang="0">
                  <a:pos x="261" y="38"/>
                </a:cxn>
                <a:cxn ang="0">
                  <a:pos x="260" y="46"/>
                </a:cxn>
                <a:cxn ang="0">
                  <a:pos x="260" y="58"/>
                </a:cxn>
                <a:cxn ang="0">
                  <a:pos x="260" y="72"/>
                </a:cxn>
                <a:cxn ang="0">
                  <a:pos x="260" y="81"/>
                </a:cxn>
                <a:cxn ang="0">
                  <a:pos x="260" y="89"/>
                </a:cxn>
                <a:cxn ang="0">
                  <a:pos x="260" y="96"/>
                </a:cxn>
                <a:cxn ang="0">
                  <a:pos x="261" y="105"/>
                </a:cxn>
                <a:cxn ang="0">
                  <a:pos x="263" y="112"/>
                </a:cxn>
                <a:cxn ang="0">
                  <a:pos x="267" y="120"/>
                </a:cxn>
                <a:cxn ang="0">
                  <a:pos x="270" y="137"/>
                </a:cxn>
                <a:cxn ang="0">
                  <a:pos x="272" y="161"/>
                </a:cxn>
                <a:cxn ang="0">
                  <a:pos x="275" y="177"/>
                </a:cxn>
                <a:cxn ang="0">
                  <a:pos x="284" y="192"/>
                </a:cxn>
                <a:cxn ang="0">
                  <a:pos x="289" y="199"/>
                </a:cxn>
                <a:cxn ang="0">
                  <a:pos x="291" y="208"/>
                </a:cxn>
                <a:cxn ang="0">
                  <a:pos x="294" y="213"/>
                </a:cxn>
                <a:cxn ang="0">
                  <a:pos x="299" y="223"/>
                </a:cxn>
                <a:cxn ang="0">
                  <a:pos x="304" y="232"/>
                </a:cxn>
                <a:cxn ang="0">
                  <a:pos x="294" y="234"/>
                </a:cxn>
                <a:cxn ang="0">
                  <a:pos x="258" y="234"/>
                </a:cxn>
                <a:cxn ang="0">
                  <a:pos x="231" y="235"/>
                </a:cxn>
                <a:cxn ang="0">
                  <a:pos x="220" y="235"/>
                </a:cxn>
                <a:cxn ang="0">
                  <a:pos x="200" y="235"/>
                </a:cxn>
                <a:cxn ang="0">
                  <a:pos x="177" y="235"/>
                </a:cxn>
                <a:cxn ang="0">
                  <a:pos x="155" y="235"/>
                </a:cxn>
                <a:cxn ang="0">
                  <a:pos x="134" y="235"/>
                </a:cxn>
                <a:cxn ang="0">
                  <a:pos x="110" y="235"/>
                </a:cxn>
                <a:cxn ang="0">
                  <a:pos x="96" y="235"/>
                </a:cxn>
                <a:cxn ang="0">
                  <a:pos x="67" y="235"/>
                </a:cxn>
                <a:cxn ang="0">
                  <a:pos x="48" y="235"/>
                </a:cxn>
                <a:cxn ang="0">
                  <a:pos x="31" y="235"/>
                </a:cxn>
                <a:cxn ang="0">
                  <a:pos x="16" y="235"/>
                </a:cxn>
                <a:cxn ang="0">
                  <a:pos x="2" y="225"/>
                </a:cxn>
                <a:cxn ang="0">
                  <a:pos x="2" y="208"/>
                </a:cxn>
                <a:cxn ang="0">
                  <a:pos x="2" y="180"/>
                </a:cxn>
                <a:cxn ang="0">
                  <a:pos x="2" y="158"/>
                </a:cxn>
                <a:cxn ang="0">
                  <a:pos x="2" y="146"/>
                </a:cxn>
                <a:cxn ang="0">
                  <a:pos x="2" y="124"/>
                </a:cxn>
                <a:cxn ang="0">
                  <a:pos x="2" y="106"/>
                </a:cxn>
                <a:cxn ang="0">
                  <a:pos x="2" y="96"/>
                </a:cxn>
                <a:cxn ang="0">
                  <a:pos x="2" y="82"/>
                </a:cxn>
                <a:cxn ang="0">
                  <a:pos x="2" y="63"/>
                </a:cxn>
                <a:cxn ang="0">
                  <a:pos x="2" y="46"/>
                </a:cxn>
                <a:cxn ang="0">
                  <a:pos x="0" y="17"/>
                </a:cxn>
                <a:cxn ang="0">
                  <a:pos x="5" y="0"/>
                </a:cxn>
                <a:cxn ang="0">
                  <a:pos x="29" y="0"/>
                </a:cxn>
                <a:cxn ang="0">
                  <a:pos x="48" y="0"/>
                </a:cxn>
                <a:cxn ang="0">
                  <a:pos x="69" y="0"/>
                </a:cxn>
                <a:cxn ang="0">
                  <a:pos x="79" y="0"/>
                </a:cxn>
                <a:cxn ang="0">
                  <a:pos x="95" y="0"/>
                </a:cxn>
                <a:cxn ang="0">
                  <a:pos x="110" y="0"/>
                </a:cxn>
                <a:cxn ang="0">
                  <a:pos x="129" y="1"/>
                </a:cxn>
                <a:cxn ang="0">
                  <a:pos x="158" y="1"/>
                </a:cxn>
                <a:cxn ang="0">
                  <a:pos x="177" y="1"/>
                </a:cxn>
                <a:cxn ang="0">
                  <a:pos x="191" y="1"/>
                </a:cxn>
                <a:cxn ang="0">
                  <a:pos x="205" y="1"/>
                </a:cxn>
                <a:cxn ang="0">
                  <a:pos x="222" y="1"/>
                </a:cxn>
                <a:cxn ang="0">
                  <a:pos x="244" y="1"/>
                </a:cxn>
                <a:cxn ang="0">
                  <a:pos x="267" y="1"/>
                </a:cxn>
              </a:cxnLst>
              <a:rect l="0" t="0" r="r" b="b"/>
              <a:pathLst>
                <a:path w="306" h="235">
                  <a:moveTo>
                    <a:pt x="267" y="1"/>
                  </a:moveTo>
                  <a:lnTo>
                    <a:pt x="265" y="3"/>
                  </a:lnTo>
                  <a:lnTo>
                    <a:pt x="263" y="5"/>
                  </a:lnTo>
                  <a:lnTo>
                    <a:pt x="261" y="7"/>
                  </a:lnTo>
                  <a:lnTo>
                    <a:pt x="261" y="8"/>
                  </a:lnTo>
                  <a:lnTo>
                    <a:pt x="261" y="10"/>
                  </a:lnTo>
                  <a:lnTo>
                    <a:pt x="260" y="12"/>
                  </a:lnTo>
                  <a:lnTo>
                    <a:pt x="261" y="13"/>
                  </a:lnTo>
                  <a:lnTo>
                    <a:pt x="261" y="15"/>
                  </a:lnTo>
                  <a:lnTo>
                    <a:pt x="261" y="17"/>
                  </a:lnTo>
                  <a:lnTo>
                    <a:pt x="261" y="19"/>
                  </a:lnTo>
                  <a:lnTo>
                    <a:pt x="261" y="20"/>
                  </a:lnTo>
                  <a:lnTo>
                    <a:pt x="261" y="24"/>
                  </a:lnTo>
                  <a:lnTo>
                    <a:pt x="261" y="25"/>
                  </a:lnTo>
                  <a:lnTo>
                    <a:pt x="260" y="27"/>
                  </a:lnTo>
                  <a:lnTo>
                    <a:pt x="260" y="31"/>
                  </a:lnTo>
                  <a:lnTo>
                    <a:pt x="260" y="32"/>
                  </a:lnTo>
                  <a:lnTo>
                    <a:pt x="261" y="34"/>
                  </a:lnTo>
                  <a:lnTo>
                    <a:pt x="261" y="36"/>
                  </a:lnTo>
                  <a:lnTo>
                    <a:pt x="261" y="38"/>
                  </a:lnTo>
                  <a:lnTo>
                    <a:pt x="261" y="39"/>
                  </a:lnTo>
                  <a:lnTo>
                    <a:pt x="263" y="41"/>
                  </a:lnTo>
                  <a:lnTo>
                    <a:pt x="261" y="43"/>
                  </a:lnTo>
                  <a:lnTo>
                    <a:pt x="260" y="44"/>
                  </a:lnTo>
                  <a:lnTo>
                    <a:pt x="260" y="46"/>
                  </a:lnTo>
                  <a:lnTo>
                    <a:pt x="260" y="48"/>
                  </a:lnTo>
                  <a:lnTo>
                    <a:pt x="260" y="51"/>
                  </a:lnTo>
                  <a:lnTo>
                    <a:pt x="258" y="53"/>
                  </a:lnTo>
                  <a:lnTo>
                    <a:pt x="258" y="56"/>
                  </a:lnTo>
                  <a:lnTo>
                    <a:pt x="260" y="58"/>
                  </a:lnTo>
                  <a:lnTo>
                    <a:pt x="260" y="62"/>
                  </a:lnTo>
                  <a:lnTo>
                    <a:pt x="260" y="63"/>
                  </a:lnTo>
                  <a:lnTo>
                    <a:pt x="260" y="69"/>
                  </a:lnTo>
                  <a:lnTo>
                    <a:pt x="260" y="70"/>
                  </a:lnTo>
                  <a:lnTo>
                    <a:pt x="260" y="72"/>
                  </a:lnTo>
                  <a:lnTo>
                    <a:pt x="260" y="74"/>
                  </a:lnTo>
                  <a:lnTo>
                    <a:pt x="260" y="75"/>
                  </a:lnTo>
                  <a:lnTo>
                    <a:pt x="260" y="77"/>
                  </a:lnTo>
                  <a:lnTo>
                    <a:pt x="260" y="79"/>
                  </a:lnTo>
                  <a:lnTo>
                    <a:pt x="260" y="81"/>
                  </a:lnTo>
                  <a:lnTo>
                    <a:pt x="260" y="82"/>
                  </a:lnTo>
                  <a:lnTo>
                    <a:pt x="260" y="84"/>
                  </a:lnTo>
                  <a:lnTo>
                    <a:pt x="260" y="86"/>
                  </a:lnTo>
                  <a:lnTo>
                    <a:pt x="260" y="87"/>
                  </a:lnTo>
                  <a:lnTo>
                    <a:pt x="260" y="89"/>
                  </a:lnTo>
                  <a:lnTo>
                    <a:pt x="260" y="91"/>
                  </a:lnTo>
                  <a:lnTo>
                    <a:pt x="260" y="93"/>
                  </a:lnTo>
                  <a:lnTo>
                    <a:pt x="260" y="93"/>
                  </a:lnTo>
                  <a:lnTo>
                    <a:pt x="260" y="94"/>
                  </a:lnTo>
                  <a:lnTo>
                    <a:pt x="260" y="96"/>
                  </a:lnTo>
                  <a:lnTo>
                    <a:pt x="260" y="98"/>
                  </a:lnTo>
                  <a:lnTo>
                    <a:pt x="260" y="99"/>
                  </a:lnTo>
                  <a:lnTo>
                    <a:pt x="261" y="101"/>
                  </a:lnTo>
                  <a:lnTo>
                    <a:pt x="261" y="103"/>
                  </a:lnTo>
                  <a:lnTo>
                    <a:pt x="261" y="105"/>
                  </a:lnTo>
                  <a:lnTo>
                    <a:pt x="261" y="106"/>
                  </a:lnTo>
                  <a:lnTo>
                    <a:pt x="261" y="108"/>
                  </a:lnTo>
                  <a:lnTo>
                    <a:pt x="263" y="108"/>
                  </a:lnTo>
                  <a:lnTo>
                    <a:pt x="263" y="110"/>
                  </a:lnTo>
                  <a:lnTo>
                    <a:pt x="263" y="112"/>
                  </a:lnTo>
                  <a:lnTo>
                    <a:pt x="263" y="113"/>
                  </a:lnTo>
                  <a:lnTo>
                    <a:pt x="263" y="115"/>
                  </a:lnTo>
                  <a:lnTo>
                    <a:pt x="265" y="117"/>
                  </a:lnTo>
                  <a:lnTo>
                    <a:pt x="265" y="118"/>
                  </a:lnTo>
                  <a:lnTo>
                    <a:pt x="267" y="120"/>
                  </a:lnTo>
                  <a:lnTo>
                    <a:pt x="267" y="122"/>
                  </a:lnTo>
                  <a:lnTo>
                    <a:pt x="267" y="124"/>
                  </a:lnTo>
                  <a:lnTo>
                    <a:pt x="267" y="125"/>
                  </a:lnTo>
                  <a:lnTo>
                    <a:pt x="268" y="134"/>
                  </a:lnTo>
                  <a:lnTo>
                    <a:pt x="270" y="137"/>
                  </a:lnTo>
                  <a:lnTo>
                    <a:pt x="274" y="146"/>
                  </a:lnTo>
                  <a:lnTo>
                    <a:pt x="274" y="148"/>
                  </a:lnTo>
                  <a:lnTo>
                    <a:pt x="274" y="149"/>
                  </a:lnTo>
                  <a:lnTo>
                    <a:pt x="272" y="158"/>
                  </a:lnTo>
                  <a:lnTo>
                    <a:pt x="272" y="161"/>
                  </a:lnTo>
                  <a:lnTo>
                    <a:pt x="272" y="165"/>
                  </a:lnTo>
                  <a:lnTo>
                    <a:pt x="272" y="168"/>
                  </a:lnTo>
                  <a:lnTo>
                    <a:pt x="275" y="173"/>
                  </a:lnTo>
                  <a:lnTo>
                    <a:pt x="275" y="175"/>
                  </a:lnTo>
                  <a:lnTo>
                    <a:pt x="275" y="177"/>
                  </a:lnTo>
                  <a:lnTo>
                    <a:pt x="277" y="179"/>
                  </a:lnTo>
                  <a:lnTo>
                    <a:pt x="282" y="185"/>
                  </a:lnTo>
                  <a:lnTo>
                    <a:pt x="282" y="187"/>
                  </a:lnTo>
                  <a:lnTo>
                    <a:pt x="284" y="191"/>
                  </a:lnTo>
                  <a:lnTo>
                    <a:pt x="284" y="192"/>
                  </a:lnTo>
                  <a:lnTo>
                    <a:pt x="286" y="194"/>
                  </a:lnTo>
                  <a:lnTo>
                    <a:pt x="286" y="196"/>
                  </a:lnTo>
                  <a:lnTo>
                    <a:pt x="287" y="198"/>
                  </a:lnTo>
                  <a:lnTo>
                    <a:pt x="287" y="198"/>
                  </a:lnTo>
                  <a:lnTo>
                    <a:pt x="289" y="199"/>
                  </a:lnTo>
                  <a:lnTo>
                    <a:pt x="289" y="201"/>
                  </a:lnTo>
                  <a:lnTo>
                    <a:pt x="289" y="203"/>
                  </a:lnTo>
                  <a:lnTo>
                    <a:pt x="289" y="204"/>
                  </a:lnTo>
                  <a:lnTo>
                    <a:pt x="291" y="206"/>
                  </a:lnTo>
                  <a:lnTo>
                    <a:pt x="291" y="208"/>
                  </a:lnTo>
                  <a:lnTo>
                    <a:pt x="291" y="208"/>
                  </a:lnTo>
                  <a:lnTo>
                    <a:pt x="292" y="208"/>
                  </a:lnTo>
                  <a:lnTo>
                    <a:pt x="292" y="210"/>
                  </a:lnTo>
                  <a:lnTo>
                    <a:pt x="294" y="211"/>
                  </a:lnTo>
                  <a:lnTo>
                    <a:pt x="294" y="213"/>
                  </a:lnTo>
                  <a:lnTo>
                    <a:pt x="296" y="215"/>
                  </a:lnTo>
                  <a:lnTo>
                    <a:pt x="296" y="216"/>
                  </a:lnTo>
                  <a:lnTo>
                    <a:pt x="298" y="218"/>
                  </a:lnTo>
                  <a:lnTo>
                    <a:pt x="299" y="220"/>
                  </a:lnTo>
                  <a:lnTo>
                    <a:pt x="299" y="223"/>
                  </a:lnTo>
                  <a:lnTo>
                    <a:pt x="301" y="227"/>
                  </a:lnTo>
                  <a:lnTo>
                    <a:pt x="303" y="228"/>
                  </a:lnTo>
                  <a:lnTo>
                    <a:pt x="304" y="228"/>
                  </a:lnTo>
                  <a:lnTo>
                    <a:pt x="304" y="230"/>
                  </a:lnTo>
                  <a:lnTo>
                    <a:pt x="304" y="232"/>
                  </a:lnTo>
                  <a:lnTo>
                    <a:pt x="304" y="234"/>
                  </a:lnTo>
                  <a:lnTo>
                    <a:pt x="306" y="234"/>
                  </a:lnTo>
                  <a:lnTo>
                    <a:pt x="303" y="234"/>
                  </a:lnTo>
                  <a:lnTo>
                    <a:pt x="301" y="234"/>
                  </a:lnTo>
                  <a:lnTo>
                    <a:pt x="294" y="234"/>
                  </a:lnTo>
                  <a:lnTo>
                    <a:pt x="289" y="234"/>
                  </a:lnTo>
                  <a:lnTo>
                    <a:pt x="274" y="234"/>
                  </a:lnTo>
                  <a:lnTo>
                    <a:pt x="268" y="234"/>
                  </a:lnTo>
                  <a:lnTo>
                    <a:pt x="267" y="234"/>
                  </a:lnTo>
                  <a:lnTo>
                    <a:pt x="258" y="234"/>
                  </a:lnTo>
                  <a:lnTo>
                    <a:pt x="253" y="234"/>
                  </a:lnTo>
                  <a:lnTo>
                    <a:pt x="249" y="234"/>
                  </a:lnTo>
                  <a:lnTo>
                    <a:pt x="244" y="234"/>
                  </a:lnTo>
                  <a:lnTo>
                    <a:pt x="232" y="234"/>
                  </a:lnTo>
                  <a:lnTo>
                    <a:pt x="231" y="235"/>
                  </a:lnTo>
                  <a:lnTo>
                    <a:pt x="229" y="235"/>
                  </a:lnTo>
                  <a:lnTo>
                    <a:pt x="227" y="235"/>
                  </a:lnTo>
                  <a:lnTo>
                    <a:pt x="224" y="235"/>
                  </a:lnTo>
                  <a:lnTo>
                    <a:pt x="222" y="235"/>
                  </a:lnTo>
                  <a:lnTo>
                    <a:pt x="220" y="235"/>
                  </a:lnTo>
                  <a:lnTo>
                    <a:pt x="220" y="234"/>
                  </a:lnTo>
                  <a:lnTo>
                    <a:pt x="218" y="234"/>
                  </a:lnTo>
                  <a:lnTo>
                    <a:pt x="215" y="235"/>
                  </a:lnTo>
                  <a:lnTo>
                    <a:pt x="208" y="235"/>
                  </a:lnTo>
                  <a:lnTo>
                    <a:pt x="200" y="235"/>
                  </a:lnTo>
                  <a:lnTo>
                    <a:pt x="198" y="235"/>
                  </a:lnTo>
                  <a:lnTo>
                    <a:pt x="194" y="235"/>
                  </a:lnTo>
                  <a:lnTo>
                    <a:pt x="189" y="235"/>
                  </a:lnTo>
                  <a:lnTo>
                    <a:pt x="179" y="235"/>
                  </a:lnTo>
                  <a:lnTo>
                    <a:pt x="177" y="235"/>
                  </a:lnTo>
                  <a:lnTo>
                    <a:pt x="174" y="235"/>
                  </a:lnTo>
                  <a:lnTo>
                    <a:pt x="167" y="235"/>
                  </a:lnTo>
                  <a:lnTo>
                    <a:pt x="162" y="235"/>
                  </a:lnTo>
                  <a:lnTo>
                    <a:pt x="160" y="235"/>
                  </a:lnTo>
                  <a:lnTo>
                    <a:pt x="155" y="235"/>
                  </a:lnTo>
                  <a:lnTo>
                    <a:pt x="155" y="235"/>
                  </a:lnTo>
                  <a:lnTo>
                    <a:pt x="146" y="235"/>
                  </a:lnTo>
                  <a:lnTo>
                    <a:pt x="141" y="235"/>
                  </a:lnTo>
                  <a:lnTo>
                    <a:pt x="138" y="235"/>
                  </a:lnTo>
                  <a:lnTo>
                    <a:pt x="134" y="235"/>
                  </a:lnTo>
                  <a:lnTo>
                    <a:pt x="126" y="235"/>
                  </a:lnTo>
                  <a:lnTo>
                    <a:pt x="122" y="235"/>
                  </a:lnTo>
                  <a:lnTo>
                    <a:pt x="119" y="235"/>
                  </a:lnTo>
                  <a:lnTo>
                    <a:pt x="115" y="235"/>
                  </a:lnTo>
                  <a:lnTo>
                    <a:pt x="110" y="235"/>
                  </a:lnTo>
                  <a:lnTo>
                    <a:pt x="108" y="235"/>
                  </a:lnTo>
                  <a:lnTo>
                    <a:pt x="105" y="235"/>
                  </a:lnTo>
                  <a:lnTo>
                    <a:pt x="100" y="235"/>
                  </a:lnTo>
                  <a:lnTo>
                    <a:pt x="98" y="235"/>
                  </a:lnTo>
                  <a:lnTo>
                    <a:pt x="96" y="235"/>
                  </a:lnTo>
                  <a:lnTo>
                    <a:pt x="91" y="235"/>
                  </a:lnTo>
                  <a:lnTo>
                    <a:pt x="86" y="235"/>
                  </a:lnTo>
                  <a:lnTo>
                    <a:pt x="83" y="235"/>
                  </a:lnTo>
                  <a:lnTo>
                    <a:pt x="71" y="235"/>
                  </a:lnTo>
                  <a:lnTo>
                    <a:pt x="67" y="235"/>
                  </a:lnTo>
                  <a:lnTo>
                    <a:pt x="62" y="235"/>
                  </a:lnTo>
                  <a:lnTo>
                    <a:pt x="57" y="235"/>
                  </a:lnTo>
                  <a:lnTo>
                    <a:pt x="53" y="235"/>
                  </a:lnTo>
                  <a:lnTo>
                    <a:pt x="50" y="235"/>
                  </a:lnTo>
                  <a:lnTo>
                    <a:pt x="48" y="235"/>
                  </a:lnTo>
                  <a:lnTo>
                    <a:pt x="41" y="235"/>
                  </a:lnTo>
                  <a:lnTo>
                    <a:pt x="40" y="235"/>
                  </a:lnTo>
                  <a:lnTo>
                    <a:pt x="34" y="235"/>
                  </a:lnTo>
                  <a:lnTo>
                    <a:pt x="33" y="235"/>
                  </a:lnTo>
                  <a:lnTo>
                    <a:pt x="31" y="235"/>
                  </a:lnTo>
                  <a:lnTo>
                    <a:pt x="29" y="235"/>
                  </a:lnTo>
                  <a:lnTo>
                    <a:pt x="24" y="235"/>
                  </a:lnTo>
                  <a:lnTo>
                    <a:pt x="19" y="235"/>
                  </a:lnTo>
                  <a:lnTo>
                    <a:pt x="17" y="235"/>
                  </a:lnTo>
                  <a:lnTo>
                    <a:pt x="16" y="235"/>
                  </a:lnTo>
                  <a:lnTo>
                    <a:pt x="5" y="235"/>
                  </a:lnTo>
                  <a:lnTo>
                    <a:pt x="3" y="235"/>
                  </a:lnTo>
                  <a:lnTo>
                    <a:pt x="2" y="235"/>
                  </a:lnTo>
                  <a:lnTo>
                    <a:pt x="2" y="227"/>
                  </a:lnTo>
                  <a:lnTo>
                    <a:pt x="2" y="225"/>
                  </a:lnTo>
                  <a:lnTo>
                    <a:pt x="2" y="223"/>
                  </a:lnTo>
                  <a:lnTo>
                    <a:pt x="2" y="215"/>
                  </a:lnTo>
                  <a:lnTo>
                    <a:pt x="2" y="213"/>
                  </a:lnTo>
                  <a:lnTo>
                    <a:pt x="2" y="211"/>
                  </a:lnTo>
                  <a:lnTo>
                    <a:pt x="2" y="208"/>
                  </a:lnTo>
                  <a:lnTo>
                    <a:pt x="2" y="203"/>
                  </a:lnTo>
                  <a:lnTo>
                    <a:pt x="2" y="198"/>
                  </a:lnTo>
                  <a:lnTo>
                    <a:pt x="2" y="185"/>
                  </a:lnTo>
                  <a:lnTo>
                    <a:pt x="2" y="184"/>
                  </a:lnTo>
                  <a:lnTo>
                    <a:pt x="2" y="180"/>
                  </a:lnTo>
                  <a:lnTo>
                    <a:pt x="2" y="175"/>
                  </a:lnTo>
                  <a:lnTo>
                    <a:pt x="2" y="168"/>
                  </a:lnTo>
                  <a:lnTo>
                    <a:pt x="2" y="161"/>
                  </a:lnTo>
                  <a:lnTo>
                    <a:pt x="2" y="160"/>
                  </a:lnTo>
                  <a:lnTo>
                    <a:pt x="2" y="158"/>
                  </a:lnTo>
                  <a:lnTo>
                    <a:pt x="2" y="155"/>
                  </a:lnTo>
                  <a:lnTo>
                    <a:pt x="2" y="153"/>
                  </a:lnTo>
                  <a:lnTo>
                    <a:pt x="2" y="153"/>
                  </a:lnTo>
                  <a:lnTo>
                    <a:pt x="2" y="148"/>
                  </a:lnTo>
                  <a:lnTo>
                    <a:pt x="2" y="146"/>
                  </a:lnTo>
                  <a:lnTo>
                    <a:pt x="2" y="141"/>
                  </a:lnTo>
                  <a:lnTo>
                    <a:pt x="2" y="139"/>
                  </a:lnTo>
                  <a:lnTo>
                    <a:pt x="2" y="127"/>
                  </a:lnTo>
                  <a:lnTo>
                    <a:pt x="2" y="125"/>
                  </a:lnTo>
                  <a:lnTo>
                    <a:pt x="2" y="124"/>
                  </a:lnTo>
                  <a:lnTo>
                    <a:pt x="2" y="122"/>
                  </a:lnTo>
                  <a:lnTo>
                    <a:pt x="2" y="113"/>
                  </a:lnTo>
                  <a:lnTo>
                    <a:pt x="2" y="112"/>
                  </a:lnTo>
                  <a:lnTo>
                    <a:pt x="2" y="108"/>
                  </a:lnTo>
                  <a:lnTo>
                    <a:pt x="2" y="106"/>
                  </a:lnTo>
                  <a:lnTo>
                    <a:pt x="2" y="103"/>
                  </a:lnTo>
                  <a:lnTo>
                    <a:pt x="2" y="101"/>
                  </a:lnTo>
                  <a:lnTo>
                    <a:pt x="2" y="99"/>
                  </a:lnTo>
                  <a:lnTo>
                    <a:pt x="2" y="98"/>
                  </a:lnTo>
                  <a:lnTo>
                    <a:pt x="2" y="96"/>
                  </a:lnTo>
                  <a:lnTo>
                    <a:pt x="2" y="94"/>
                  </a:lnTo>
                  <a:lnTo>
                    <a:pt x="2" y="93"/>
                  </a:lnTo>
                  <a:lnTo>
                    <a:pt x="2" y="93"/>
                  </a:lnTo>
                  <a:lnTo>
                    <a:pt x="2" y="87"/>
                  </a:lnTo>
                  <a:lnTo>
                    <a:pt x="2" y="82"/>
                  </a:lnTo>
                  <a:lnTo>
                    <a:pt x="2" y="81"/>
                  </a:lnTo>
                  <a:lnTo>
                    <a:pt x="2" y="79"/>
                  </a:lnTo>
                  <a:lnTo>
                    <a:pt x="2" y="75"/>
                  </a:lnTo>
                  <a:lnTo>
                    <a:pt x="2" y="63"/>
                  </a:lnTo>
                  <a:lnTo>
                    <a:pt x="2" y="63"/>
                  </a:lnTo>
                  <a:lnTo>
                    <a:pt x="2" y="58"/>
                  </a:lnTo>
                  <a:lnTo>
                    <a:pt x="2" y="53"/>
                  </a:lnTo>
                  <a:lnTo>
                    <a:pt x="2" y="48"/>
                  </a:lnTo>
                  <a:lnTo>
                    <a:pt x="2" y="48"/>
                  </a:lnTo>
                  <a:lnTo>
                    <a:pt x="2" y="46"/>
                  </a:lnTo>
                  <a:lnTo>
                    <a:pt x="2" y="44"/>
                  </a:lnTo>
                  <a:lnTo>
                    <a:pt x="2" y="39"/>
                  </a:lnTo>
                  <a:lnTo>
                    <a:pt x="2" y="32"/>
                  </a:lnTo>
                  <a:lnTo>
                    <a:pt x="0" y="32"/>
                  </a:lnTo>
                  <a:lnTo>
                    <a:pt x="0" y="17"/>
                  </a:lnTo>
                  <a:lnTo>
                    <a:pt x="0" y="17"/>
                  </a:lnTo>
                  <a:lnTo>
                    <a:pt x="0" y="5"/>
                  </a:lnTo>
                  <a:lnTo>
                    <a:pt x="0" y="0"/>
                  </a:lnTo>
                  <a:lnTo>
                    <a:pt x="3" y="0"/>
                  </a:lnTo>
                  <a:lnTo>
                    <a:pt x="5" y="0"/>
                  </a:lnTo>
                  <a:lnTo>
                    <a:pt x="10" y="0"/>
                  </a:lnTo>
                  <a:lnTo>
                    <a:pt x="17" y="0"/>
                  </a:lnTo>
                  <a:lnTo>
                    <a:pt x="19" y="0"/>
                  </a:lnTo>
                  <a:lnTo>
                    <a:pt x="21" y="0"/>
                  </a:lnTo>
                  <a:lnTo>
                    <a:pt x="29" y="0"/>
                  </a:lnTo>
                  <a:lnTo>
                    <a:pt x="34" y="0"/>
                  </a:lnTo>
                  <a:lnTo>
                    <a:pt x="38" y="0"/>
                  </a:lnTo>
                  <a:lnTo>
                    <a:pt x="41" y="0"/>
                  </a:lnTo>
                  <a:lnTo>
                    <a:pt x="45" y="0"/>
                  </a:lnTo>
                  <a:lnTo>
                    <a:pt x="48" y="0"/>
                  </a:lnTo>
                  <a:lnTo>
                    <a:pt x="59" y="0"/>
                  </a:lnTo>
                  <a:lnTo>
                    <a:pt x="62" y="0"/>
                  </a:lnTo>
                  <a:lnTo>
                    <a:pt x="65" y="0"/>
                  </a:lnTo>
                  <a:lnTo>
                    <a:pt x="67" y="0"/>
                  </a:lnTo>
                  <a:lnTo>
                    <a:pt x="69" y="0"/>
                  </a:lnTo>
                  <a:lnTo>
                    <a:pt x="72" y="0"/>
                  </a:lnTo>
                  <a:lnTo>
                    <a:pt x="74" y="0"/>
                  </a:lnTo>
                  <a:lnTo>
                    <a:pt x="77" y="0"/>
                  </a:lnTo>
                  <a:lnTo>
                    <a:pt x="79" y="0"/>
                  </a:lnTo>
                  <a:lnTo>
                    <a:pt x="79" y="0"/>
                  </a:lnTo>
                  <a:lnTo>
                    <a:pt x="83" y="0"/>
                  </a:lnTo>
                  <a:lnTo>
                    <a:pt x="88" y="0"/>
                  </a:lnTo>
                  <a:lnTo>
                    <a:pt x="91" y="0"/>
                  </a:lnTo>
                  <a:lnTo>
                    <a:pt x="95" y="0"/>
                  </a:lnTo>
                  <a:lnTo>
                    <a:pt x="95" y="0"/>
                  </a:lnTo>
                  <a:lnTo>
                    <a:pt x="98" y="0"/>
                  </a:lnTo>
                  <a:lnTo>
                    <a:pt x="100" y="0"/>
                  </a:lnTo>
                  <a:lnTo>
                    <a:pt x="103" y="0"/>
                  </a:lnTo>
                  <a:lnTo>
                    <a:pt x="107" y="0"/>
                  </a:lnTo>
                  <a:lnTo>
                    <a:pt x="110" y="0"/>
                  </a:lnTo>
                  <a:lnTo>
                    <a:pt x="117" y="1"/>
                  </a:lnTo>
                  <a:lnTo>
                    <a:pt x="124" y="1"/>
                  </a:lnTo>
                  <a:lnTo>
                    <a:pt x="126" y="1"/>
                  </a:lnTo>
                  <a:lnTo>
                    <a:pt x="127" y="1"/>
                  </a:lnTo>
                  <a:lnTo>
                    <a:pt x="129" y="1"/>
                  </a:lnTo>
                  <a:lnTo>
                    <a:pt x="134" y="1"/>
                  </a:lnTo>
                  <a:lnTo>
                    <a:pt x="138" y="1"/>
                  </a:lnTo>
                  <a:lnTo>
                    <a:pt x="150" y="1"/>
                  </a:lnTo>
                  <a:lnTo>
                    <a:pt x="155" y="1"/>
                  </a:lnTo>
                  <a:lnTo>
                    <a:pt x="158" y="1"/>
                  </a:lnTo>
                  <a:lnTo>
                    <a:pt x="162" y="1"/>
                  </a:lnTo>
                  <a:lnTo>
                    <a:pt x="163" y="1"/>
                  </a:lnTo>
                  <a:lnTo>
                    <a:pt x="167" y="1"/>
                  </a:lnTo>
                  <a:lnTo>
                    <a:pt x="175" y="1"/>
                  </a:lnTo>
                  <a:lnTo>
                    <a:pt x="177" y="1"/>
                  </a:lnTo>
                  <a:lnTo>
                    <a:pt x="179" y="1"/>
                  </a:lnTo>
                  <a:lnTo>
                    <a:pt x="181" y="1"/>
                  </a:lnTo>
                  <a:lnTo>
                    <a:pt x="186" y="1"/>
                  </a:lnTo>
                  <a:lnTo>
                    <a:pt x="189" y="1"/>
                  </a:lnTo>
                  <a:lnTo>
                    <a:pt x="191" y="1"/>
                  </a:lnTo>
                  <a:lnTo>
                    <a:pt x="193" y="1"/>
                  </a:lnTo>
                  <a:lnTo>
                    <a:pt x="198" y="1"/>
                  </a:lnTo>
                  <a:lnTo>
                    <a:pt x="200" y="1"/>
                  </a:lnTo>
                  <a:lnTo>
                    <a:pt x="203" y="1"/>
                  </a:lnTo>
                  <a:lnTo>
                    <a:pt x="205" y="1"/>
                  </a:lnTo>
                  <a:lnTo>
                    <a:pt x="208" y="1"/>
                  </a:lnTo>
                  <a:lnTo>
                    <a:pt x="210" y="1"/>
                  </a:lnTo>
                  <a:lnTo>
                    <a:pt x="213" y="1"/>
                  </a:lnTo>
                  <a:lnTo>
                    <a:pt x="215" y="1"/>
                  </a:lnTo>
                  <a:lnTo>
                    <a:pt x="222" y="1"/>
                  </a:lnTo>
                  <a:lnTo>
                    <a:pt x="229" y="1"/>
                  </a:lnTo>
                  <a:lnTo>
                    <a:pt x="231" y="1"/>
                  </a:lnTo>
                  <a:lnTo>
                    <a:pt x="237" y="1"/>
                  </a:lnTo>
                  <a:lnTo>
                    <a:pt x="241" y="1"/>
                  </a:lnTo>
                  <a:lnTo>
                    <a:pt x="244" y="1"/>
                  </a:lnTo>
                  <a:lnTo>
                    <a:pt x="251" y="1"/>
                  </a:lnTo>
                  <a:lnTo>
                    <a:pt x="258" y="1"/>
                  </a:lnTo>
                  <a:lnTo>
                    <a:pt x="260" y="1"/>
                  </a:lnTo>
                  <a:lnTo>
                    <a:pt x="265" y="1"/>
                  </a:lnTo>
                  <a:lnTo>
                    <a:pt x="267" y="1"/>
                  </a:lnTo>
                  <a:lnTo>
                    <a:pt x="267" y="1"/>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8" name="Freeform 134"/>
            <p:cNvSpPr>
              <a:spLocks/>
            </p:cNvSpPr>
            <p:nvPr/>
          </p:nvSpPr>
          <p:spPr bwMode="auto">
            <a:xfrm>
              <a:off x="6112759" y="874506"/>
              <a:ext cx="492125" cy="441325"/>
            </a:xfrm>
            <a:custGeom>
              <a:avLst/>
              <a:gdLst/>
              <a:ahLst/>
              <a:cxnLst>
                <a:cxn ang="0">
                  <a:pos x="21" y="8"/>
                </a:cxn>
                <a:cxn ang="0">
                  <a:pos x="64" y="5"/>
                </a:cxn>
                <a:cxn ang="0">
                  <a:pos x="93" y="3"/>
                </a:cxn>
                <a:cxn ang="0">
                  <a:pos x="124" y="0"/>
                </a:cxn>
                <a:cxn ang="0">
                  <a:pos x="150" y="24"/>
                </a:cxn>
                <a:cxn ang="0">
                  <a:pos x="148" y="39"/>
                </a:cxn>
                <a:cxn ang="0">
                  <a:pos x="170" y="50"/>
                </a:cxn>
                <a:cxn ang="0">
                  <a:pos x="184" y="53"/>
                </a:cxn>
                <a:cxn ang="0">
                  <a:pos x="191" y="67"/>
                </a:cxn>
                <a:cxn ang="0">
                  <a:pos x="196" y="84"/>
                </a:cxn>
                <a:cxn ang="0">
                  <a:pos x="208" y="93"/>
                </a:cxn>
                <a:cxn ang="0">
                  <a:pos x="215" y="108"/>
                </a:cxn>
                <a:cxn ang="0">
                  <a:pos x="224" y="115"/>
                </a:cxn>
                <a:cxn ang="0">
                  <a:pos x="241" y="118"/>
                </a:cxn>
                <a:cxn ang="0">
                  <a:pos x="248" y="122"/>
                </a:cxn>
                <a:cxn ang="0">
                  <a:pos x="243" y="134"/>
                </a:cxn>
                <a:cxn ang="0">
                  <a:pos x="249" y="137"/>
                </a:cxn>
                <a:cxn ang="0">
                  <a:pos x="246" y="148"/>
                </a:cxn>
                <a:cxn ang="0">
                  <a:pos x="255" y="156"/>
                </a:cxn>
                <a:cxn ang="0">
                  <a:pos x="265" y="160"/>
                </a:cxn>
                <a:cxn ang="0">
                  <a:pos x="270" y="165"/>
                </a:cxn>
                <a:cxn ang="0">
                  <a:pos x="272" y="173"/>
                </a:cxn>
                <a:cxn ang="0">
                  <a:pos x="279" y="175"/>
                </a:cxn>
                <a:cxn ang="0">
                  <a:pos x="284" y="177"/>
                </a:cxn>
                <a:cxn ang="0">
                  <a:pos x="291" y="180"/>
                </a:cxn>
                <a:cxn ang="0">
                  <a:pos x="303" y="173"/>
                </a:cxn>
                <a:cxn ang="0">
                  <a:pos x="310" y="180"/>
                </a:cxn>
                <a:cxn ang="0">
                  <a:pos x="301" y="187"/>
                </a:cxn>
                <a:cxn ang="0">
                  <a:pos x="294" y="192"/>
                </a:cxn>
                <a:cxn ang="0">
                  <a:pos x="289" y="204"/>
                </a:cxn>
                <a:cxn ang="0">
                  <a:pos x="282" y="220"/>
                </a:cxn>
                <a:cxn ang="0">
                  <a:pos x="277" y="234"/>
                </a:cxn>
                <a:cxn ang="0">
                  <a:pos x="270" y="254"/>
                </a:cxn>
                <a:cxn ang="0">
                  <a:pos x="272" y="268"/>
                </a:cxn>
                <a:cxn ang="0">
                  <a:pos x="265" y="278"/>
                </a:cxn>
                <a:cxn ang="0">
                  <a:pos x="231" y="278"/>
                </a:cxn>
                <a:cxn ang="0">
                  <a:pos x="205" y="278"/>
                </a:cxn>
                <a:cxn ang="0">
                  <a:pos x="186" y="278"/>
                </a:cxn>
                <a:cxn ang="0">
                  <a:pos x="162" y="278"/>
                </a:cxn>
                <a:cxn ang="0">
                  <a:pos x="127" y="278"/>
                </a:cxn>
                <a:cxn ang="0">
                  <a:pos x="100" y="277"/>
                </a:cxn>
                <a:cxn ang="0">
                  <a:pos x="79" y="277"/>
                </a:cxn>
                <a:cxn ang="0">
                  <a:pos x="65" y="277"/>
                </a:cxn>
                <a:cxn ang="0">
                  <a:pos x="34" y="277"/>
                </a:cxn>
                <a:cxn ang="0">
                  <a:pos x="3" y="277"/>
                </a:cxn>
                <a:cxn ang="0">
                  <a:pos x="0" y="247"/>
                </a:cxn>
                <a:cxn ang="0">
                  <a:pos x="0" y="220"/>
                </a:cxn>
                <a:cxn ang="0">
                  <a:pos x="0" y="196"/>
                </a:cxn>
                <a:cxn ang="0">
                  <a:pos x="2" y="173"/>
                </a:cxn>
                <a:cxn ang="0">
                  <a:pos x="2" y="146"/>
                </a:cxn>
                <a:cxn ang="0">
                  <a:pos x="2" y="130"/>
                </a:cxn>
                <a:cxn ang="0">
                  <a:pos x="2" y="106"/>
                </a:cxn>
                <a:cxn ang="0">
                  <a:pos x="2" y="89"/>
                </a:cxn>
                <a:cxn ang="0">
                  <a:pos x="2" y="53"/>
                </a:cxn>
                <a:cxn ang="0">
                  <a:pos x="2" y="8"/>
                </a:cxn>
              </a:cxnLst>
              <a:rect l="0" t="0" r="r" b="b"/>
              <a:pathLst>
                <a:path w="310" h="278">
                  <a:moveTo>
                    <a:pt x="2" y="8"/>
                  </a:moveTo>
                  <a:lnTo>
                    <a:pt x="3" y="8"/>
                  </a:lnTo>
                  <a:lnTo>
                    <a:pt x="10" y="8"/>
                  </a:lnTo>
                  <a:lnTo>
                    <a:pt x="12" y="8"/>
                  </a:lnTo>
                  <a:lnTo>
                    <a:pt x="14" y="8"/>
                  </a:lnTo>
                  <a:lnTo>
                    <a:pt x="17" y="8"/>
                  </a:lnTo>
                  <a:lnTo>
                    <a:pt x="21" y="8"/>
                  </a:lnTo>
                  <a:lnTo>
                    <a:pt x="22" y="8"/>
                  </a:lnTo>
                  <a:lnTo>
                    <a:pt x="34" y="7"/>
                  </a:lnTo>
                  <a:lnTo>
                    <a:pt x="40" y="7"/>
                  </a:lnTo>
                  <a:lnTo>
                    <a:pt x="45" y="7"/>
                  </a:lnTo>
                  <a:lnTo>
                    <a:pt x="53" y="5"/>
                  </a:lnTo>
                  <a:lnTo>
                    <a:pt x="62" y="5"/>
                  </a:lnTo>
                  <a:lnTo>
                    <a:pt x="64" y="5"/>
                  </a:lnTo>
                  <a:lnTo>
                    <a:pt x="65" y="5"/>
                  </a:lnTo>
                  <a:lnTo>
                    <a:pt x="69" y="5"/>
                  </a:lnTo>
                  <a:lnTo>
                    <a:pt x="71" y="5"/>
                  </a:lnTo>
                  <a:lnTo>
                    <a:pt x="77" y="3"/>
                  </a:lnTo>
                  <a:lnTo>
                    <a:pt x="84" y="3"/>
                  </a:lnTo>
                  <a:lnTo>
                    <a:pt x="88" y="3"/>
                  </a:lnTo>
                  <a:lnTo>
                    <a:pt x="93" y="3"/>
                  </a:lnTo>
                  <a:lnTo>
                    <a:pt x="102" y="1"/>
                  </a:lnTo>
                  <a:lnTo>
                    <a:pt x="105" y="1"/>
                  </a:lnTo>
                  <a:lnTo>
                    <a:pt x="107" y="1"/>
                  </a:lnTo>
                  <a:lnTo>
                    <a:pt x="114" y="1"/>
                  </a:lnTo>
                  <a:lnTo>
                    <a:pt x="119" y="1"/>
                  </a:lnTo>
                  <a:lnTo>
                    <a:pt x="122" y="1"/>
                  </a:lnTo>
                  <a:lnTo>
                    <a:pt x="124" y="0"/>
                  </a:lnTo>
                  <a:lnTo>
                    <a:pt x="126" y="0"/>
                  </a:lnTo>
                  <a:lnTo>
                    <a:pt x="131" y="8"/>
                  </a:lnTo>
                  <a:lnTo>
                    <a:pt x="134" y="12"/>
                  </a:lnTo>
                  <a:lnTo>
                    <a:pt x="136" y="15"/>
                  </a:lnTo>
                  <a:lnTo>
                    <a:pt x="139" y="17"/>
                  </a:lnTo>
                  <a:lnTo>
                    <a:pt x="145" y="20"/>
                  </a:lnTo>
                  <a:lnTo>
                    <a:pt x="150" y="24"/>
                  </a:lnTo>
                  <a:lnTo>
                    <a:pt x="151" y="26"/>
                  </a:lnTo>
                  <a:lnTo>
                    <a:pt x="153" y="26"/>
                  </a:lnTo>
                  <a:lnTo>
                    <a:pt x="153" y="29"/>
                  </a:lnTo>
                  <a:lnTo>
                    <a:pt x="150" y="36"/>
                  </a:lnTo>
                  <a:lnTo>
                    <a:pt x="150" y="38"/>
                  </a:lnTo>
                  <a:lnTo>
                    <a:pt x="148" y="38"/>
                  </a:lnTo>
                  <a:lnTo>
                    <a:pt x="148" y="39"/>
                  </a:lnTo>
                  <a:lnTo>
                    <a:pt x="150" y="41"/>
                  </a:lnTo>
                  <a:lnTo>
                    <a:pt x="150" y="43"/>
                  </a:lnTo>
                  <a:lnTo>
                    <a:pt x="151" y="43"/>
                  </a:lnTo>
                  <a:lnTo>
                    <a:pt x="153" y="44"/>
                  </a:lnTo>
                  <a:lnTo>
                    <a:pt x="155" y="46"/>
                  </a:lnTo>
                  <a:lnTo>
                    <a:pt x="160" y="48"/>
                  </a:lnTo>
                  <a:lnTo>
                    <a:pt x="170" y="50"/>
                  </a:lnTo>
                  <a:lnTo>
                    <a:pt x="174" y="51"/>
                  </a:lnTo>
                  <a:lnTo>
                    <a:pt x="175" y="51"/>
                  </a:lnTo>
                  <a:lnTo>
                    <a:pt x="177" y="51"/>
                  </a:lnTo>
                  <a:lnTo>
                    <a:pt x="181" y="53"/>
                  </a:lnTo>
                  <a:lnTo>
                    <a:pt x="182" y="53"/>
                  </a:lnTo>
                  <a:lnTo>
                    <a:pt x="184" y="53"/>
                  </a:lnTo>
                  <a:lnTo>
                    <a:pt x="184" y="53"/>
                  </a:lnTo>
                  <a:lnTo>
                    <a:pt x="188" y="53"/>
                  </a:lnTo>
                  <a:lnTo>
                    <a:pt x="189" y="53"/>
                  </a:lnTo>
                  <a:lnTo>
                    <a:pt x="191" y="55"/>
                  </a:lnTo>
                  <a:lnTo>
                    <a:pt x="191" y="56"/>
                  </a:lnTo>
                  <a:lnTo>
                    <a:pt x="191" y="58"/>
                  </a:lnTo>
                  <a:lnTo>
                    <a:pt x="193" y="60"/>
                  </a:lnTo>
                  <a:lnTo>
                    <a:pt x="191" y="67"/>
                  </a:lnTo>
                  <a:lnTo>
                    <a:pt x="189" y="72"/>
                  </a:lnTo>
                  <a:lnTo>
                    <a:pt x="189" y="74"/>
                  </a:lnTo>
                  <a:lnTo>
                    <a:pt x="189" y="75"/>
                  </a:lnTo>
                  <a:lnTo>
                    <a:pt x="191" y="79"/>
                  </a:lnTo>
                  <a:lnTo>
                    <a:pt x="191" y="82"/>
                  </a:lnTo>
                  <a:lnTo>
                    <a:pt x="193" y="84"/>
                  </a:lnTo>
                  <a:lnTo>
                    <a:pt x="196" y="84"/>
                  </a:lnTo>
                  <a:lnTo>
                    <a:pt x="200" y="86"/>
                  </a:lnTo>
                  <a:lnTo>
                    <a:pt x="200" y="87"/>
                  </a:lnTo>
                  <a:lnTo>
                    <a:pt x="201" y="87"/>
                  </a:lnTo>
                  <a:lnTo>
                    <a:pt x="203" y="89"/>
                  </a:lnTo>
                  <a:lnTo>
                    <a:pt x="206" y="91"/>
                  </a:lnTo>
                  <a:lnTo>
                    <a:pt x="208" y="91"/>
                  </a:lnTo>
                  <a:lnTo>
                    <a:pt x="208" y="93"/>
                  </a:lnTo>
                  <a:lnTo>
                    <a:pt x="210" y="94"/>
                  </a:lnTo>
                  <a:lnTo>
                    <a:pt x="212" y="98"/>
                  </a:lnTo>
                  <a:lnTo>
                    <a:pt x="212" y="98"/>
                  </a:lnTo>
                  <a:lnTo>
                    <a:pt x="213" y="103"/>
                  </a:lnTo>
                  <a:lnTo>
                    <a:pt x="213" y="105"/>
                  </a:lnTo>
                  <a:lnTo>
                    <a:pt x="215" y="106"/>
                  </a:lnTo>
                  <a:lnTo>
                    <a:pt x="215" y="108"/>
                  </a:lnTo>
                  <a:lnTo>
                    <a:pt x="215" y="110"/>
                  </a:lnTo>
                  <a:lnTo>
                    <a:pt x="215" y="112"/>
                  </a:lnTo>
                  <a:lnTo>
                    <a:pt x="217" y="113"/>
                  </a:lnTo>
                  <a:lnTo>
                    <a:pt x="218" y="113"/>
                  </a:lnTo>
                  <a:lnTo>
                    <a:pt x="220" y="113"/>
                  </a:lnTo>
                  <a:lnTo>
                    <a:pt x="222" y="115"/>
                  </a:lnTo>
                  <a:lnTo>
                    <a:pt x="224" y="115"/>
                  </a:lnTo>
                  <a:lnTo>
                    <a:pt x="225" y="115"/>
                  </a:lnTo>
                  <a:lnTo>
                    <a:pt x="227" y="117"/>
                  </a:lnTo>
                  <a:lnTo>
                    <a:pt x="229" y="117"/>
                  </a:lnTo>
                  <a:lnTo>
                    <a:pt x="231" y="118"/>
                  </a:lnTo>
                  <a:lnTo>
                    <a:pt x="234" y="118"/>
                  </a:lnTo>
                  <a:lnTo>
                    <a:pt x="236" y="118"/>
                  </a:lnTo>
                  <a:lnTo>
                    <a:pt x="241" y="118"/>
                  </a:lnTo>
                  <a:lnTo>
                    <a:pt x="243" y="117"/>
                  </a:lnTo>
                  <a:lnTo>
                    <a:pt x="244" y="117"/>
                  </a:lnTo>
                  <a:lnTo>
                    <a:pt x="244" y="117"/>
                  </a:lnTo>
                  <a:lnTo>
                    <a:pt x="246" y="117"/>
                  </a:lnTo>
                  <a:lnTo>
                    <a:pt x="248" y="118"/>
                  </a:lnTo>
                  <a:lnTo>
                    <a:pt x="248" y="120"/>
                  </a:lnTo>
                  <a:lnTo>
                    <a:pt x="248" y="122"/>
                  </a:lnTo>
                  <a:lnTo>
                    <a:pt x="248" y="124"/>
                  </a:lnTo>
                  <a:lnTo>
                    <a:pt x="248" y="125"/>
                  </a:lnTo>
                  <a:lnTo>
                    <a:pt x="246" y="127"/>
                  </a:lnTo>
                  <a:lnTo>
                    <a:pt x="244" y="129"/>
                  </a:lnTo>
                  <a:lnTo>
                    <a:pt x="244" y="129"/>
                  </a:lnTo>
                  <a:lnTo>
                    <a:pt x="243" y="130"/>
                  </a:lnTo>
                  <a:lnTo>
                    <a:pt x="243" y="134"/>
                  </a:lnTo>
                  <a:lnTo>
                    <a:pt x="244" y="134"/>
                  </a:lnTo>
                  <a:lnTo>
                    <a:pt x="244" y="136"/>
                  </a:lnTo>
                  <a:lnTo>
                    <a:pt x="244" y="136"/>
                  </a:lnTo>
                  <a:lnTo>
                    <a:pt x="244" y="137"/>
                  </a:lnTo>
                  <a:lnTo>
                    <a:pt x="246" y="137"/>
                  </a:lnTo>
                  <a:lnTo>
                    <a:pt x="248" y="137"/>
                  </a:lnTo>
                  <a:lnTo>
                    <a:pt x="249" y="137"/>
                  </a:lnTo>
                  <a:lnTo>
                    <a:pt x="251" y="137"/>
                  </a:lnTo>
                  <a:lnTo>
                    <a:pt x="251" y="139"/>
                  </a:lnTo>
                  <a:lnTo>
                    <a:pt x="251" y="141"/>
                  </a:lnTo>
                  <a:lnTo>
                    <a:pt x="249" y="143"/>
                  </a:lnTo>
                  <a:lnTo>
                    <a:pt x="249" y="144"/>
                  </a:lnTo>
                  <a:lnTo>
                    <a:pt x="248" y="146"/>
                  </a:lnTo>
                  <a:lnTo>
                    <a:pt x="246" y="148"/>
                  </a:lnTo>
                  <a:lnTo>
                    <a:pt x="246" y="149"/>
                  </a:lnTo>
                  <a:lnTo>
                    <a:pt x="246" y="153"/>
                  </a:lnTo>
                  <a:lnTo>
                    <a:pt x="248" y="155"/>
                  </a:lnTo>
                  <a:lnTo>
                    <a:pt x="249" y="156"/>
                  </a:lnTo>
                  <a:lnTo>
                    <a:pt x="251" y="156"/>
                  </a:lnTo>
                  <a:lnTo>
                    <a:pt x="253" y="156"/>
                  </a:lnTo>
                  <a:lnTo>
                    <a:pt x="255" y="156"/>
                  </a:lnTo>
                  <a:lnTo>
                    <a:pt x="256" y="158"/>
                  </a:lnTo>
                  <a:lnTo>
                    <a:pt x="258" y="158"/>
                  </a:lnTo>
                  <a:lnTo>
                    <a:pt x="260" y="158"/>
                  </a:lnTo>
                  <a:lnTo>
                    <a:pt x="260" y="160"/>
                  </a:lnTo>
                  <a:lnTo>
                    <a:pt x="261" y="160"/>
                  </a:lnTo>
                  <a:lnTo>
                    <a:pt x="263" y="160"/>
                  </a:lnTo>
                  <a:lnTo>
                    <a:pt x="265" y="160"/>
                  </a:lnTo>
                  <a:lnTo>
                    <a:pt x="267" y="160"/>
                  </a:lnTo>
                  <a:lnTo>
                    <a:pt x="268" y="160"/>
                  </a:lnTo>
                  <a:lnTo>
                    <a:pt x="268" y="158"/>
                  </a:lnTo>
                  <a:lnTo>
                    <a:pt x="270" y="158"/>
                  </a:lnTo>
                  <a:lnTo>
                    <a:pt x="270" y="160"/>
                  </a:lnTo>
                  <a:lnTo>
                    <a:pt x="270" y="161"/>
                  </a:lnTo>
                  <a:lnTo>
                    <a:pt x="270" y="165"/>
                  </a:lnTo>
                  <a:lnTo>
                    <a:pt x="268" y="165"/>
                  </a:lnTo>
                  <a:lnTo>
                    <a:pt x="268" y="167"/>
                  </a:lnTo>
                  <a:lnTo>
                    <a:pt x="268" y="168"/>
                  </a:lnTo>
                  <a:lnTo>
                    <a:pt x="268" y="170"/>
                  </a:lnTo>
                  <a:lnTo>
                    <a:pt x="270" y="170"/>
                  </a:lnTo>
                  <a:lnTo>
                    <a:pt x="270" y="172"/>
                  </a:lnTo>
                  <a:lnTo>
                    <a:pt x="272" y="173"/>
                  </a:lnTo>
                  <a:lnTo>
                    <a:pt x="272" y="173"/>
                  </a:lnTo>
                  <a:lnTo>
                    <a:pt x="274" y="173"/>
                  </a:lnTo>
                  <a:lnTo>
                    <a:pt x="274" y="175"/>
                  </a:lnTo>
                  <a:lnTo>
                    <a:pt x="275" y="175"/>
                  </a:lnTo>
                  <a:lnTo>
                    <a:pt x="275" y="175"/>
                  </a:lnTo>
                  <a:lnTo>
                    <a:pt x="277" y="175"/>
                  </a:lnTo>
                  <a:lnTo>
                    <a:pt x="279" y="175"/>
                  </a:lnTo>
                  <a:lnTo>
                    <a:pt x="282" y="173"/>
                  </a:lnTo>
                  <a:lnTo>
                    <a:pt x="284" y="173"/>
                  </a:lnTo>
                  <a:lnTo>
                    <a:pt x="284" y="173"/>
                  </a:lnTo>
                  <a:lnTo>
                    <a:pt x="286" y="173"/>
                  </a:lnTo>
                  <a:lnTo>
                    <a:pt x="286" y="173"/>
                  </a:lnTo>
                  <a:lnTo>
                    <a:pt x="286" y="175"/>
                  </a:lnTo>
                  <a:lnTo>
                    <a:pt x="284" y="177"/>
                  </a:lnTo>
                  <a:lnTo>
                    <a:pt x="284" y="179"/>
                  </a:lnTo>
                  <a:lnTo>
                    <a:pt x="284" y="180"/>
                  </a:lnTo>
                  <a:lnTo>
                    <a:pt x="286" y="180"/>
                  </a:lnTo>
                  <a:lnTo>
                    <a:pt x="287" y="180"/>
                  </a:lnTo>
                  <a:lnTo>
                    <a:pt x="289" y="180"/>
                  </a:lnTo>
                  <a:lnTo>
                    <a:pt x="291" y="180"/>
                  </a:lnTo>
                  <a:lnTo>
                    <a:pt x="291" y="180"/>
                  </a:lnTo>
                  <a:lnTo>
                    <a:pt x="292" y="179"/>
                  </a:lnTo>
                  <a:lnTo>
                    <a:pt x="296" y="173"/>
                  </a:lnTo>
                  <a:lnTo>
                    <a:pt x="296" y="173"/>
                  </a:lnTo>
                  <a:lnTo>
                    <a:pt x="298" y="173"/>
                  </a:lnTo>
                  <a:lnTo>
                    <a:pt x="299" y="173"/>
                  </a:lnTo>
                  <a:lnTo>
                    <a:pt x="301" y="173"/>
                  </a:lnTo>
                  <a:lnTo>
                    <a:pt x="303" y="173"/>
                  </a:lnTo>
                  <a:lnTo>
                    <a:pt x="304" y="173"/>
                  </a:lnTo>
                  <a:lnTo>
                    <a:pt x="304" y="173"/>
                  </a:lnTo>
                  <a:lnTo>
                    <a:pt x="306" y="175"/>
                  </a:lnTo>
                  <a:lnTo>
                    <a:pt x="308" y="175"/>
                  </a:lnTo>
                  <a:lnTo>
                    <a:pt x="310" y="177"/>
                  </a:lnTo>
                  <a:lnTo>
                    <a:pt x="310" y="179"/>
                  </a:lnTo>
                  <a:lnTo>
                    <a:pt x="310" y="180"/>
                  </a:lnTo>
                  <a:lnTo>
                    <a:pt x="308" y="180"/>
                  </a:lnTo>
                  <a:lnTo>
                    <a:pt x="306" y="184"/>
                  </a:lnTo>
                  <a:lnTo>
                    <a:pt x="304" y="186"/>
                  </a:lnTo>
                  <a:lnTo>
                    <a:pt x="304" y="186"/>
                  </a:lnTo>
                  <a:lnTo>
                    <a:pt x="303" y="186"/>
                  </a:lnTo>
                  <a:lnTo>
                    <a:pt x="303" y="187"/>
                  </a:lnTo>
                  <a:lnTo>
                    <a:pt x="301" y="187"/>
                  </a:lnTo>
                  <a:lnTo>
                    <a:pt x="299" y="189"/>
                  </a:lnTo>
                  <a:lnTo>
                    <a:pt x="298" y="189"/>
                  </a:lnTo>
                  <a:lnTo>
                    <a:pt x="298" y="189"/>
                  </a:lnTo>
                  <a:lnTo>
                    <a:pt x="296" y="189"/>
                  </a:lnTo>
                  <a:lnTo>
                    <a:pt x="296" y="191"/>
                  </a:lnTo>
                  <a:lnTo>
                    <a:pt x="294" y="191"/>
                  </a:lnTo>
                  <a:lnTo>
                    <a:pt x="294" y="192"/>
                  </a:lnTo>
                  <a:lnTo>
                    <a:pt x="292" y="194"/>
                  </a:lnTo>
                  <a:lnTo>
                    <a:pt x="292" y="196"/>
                  </a:lnTo>
                  <a:lnTo>
                    <a:pt x="291" y="198"/>
                  </a:lnTo>
                  <a:lnTo>
                    <a:pt x="291" y="199"/>
                  </a:lnTo>
                  <a:lnTo>
                    <a:pt x="291" y="201"/>
                  </a:lnTo>
                  <a:lnTo>
                    <a:pt x="289" y="203"/>
                  </a:lnTo>
                  <a:lnTo>
                    <a:pt x="289" y="204"/>
                  </a:lnTo>
                  <a:lnTo>
                    <a:pt x="286" y="206"/>
                  </a:lnTo>
                  <a:lnTo>
                    <a:pt x="286" y="208"/>
                  </a:lnTo>
                  <a:lnTo>
                    <a:pt x="284" y="211"/>
                  </a:lnTo>
                  <a:lnTo>
                    <a:pt x="284" y="213"/>
                  </a:lnTo>
                  <a:lnTo>
                    <a:pt x="284" y="215"/>
                  </a:lnTo>
                  <a:lnTo>
                    <a:pt x="282" y="218"/>
                  </a:lnTo>
                  <a:lnTo>
                    <a:pt x="282" y="220"/>
                  </a:lnTo>
                  <a:lnTo>
                    <a:pt x="282" y="222"/>
                  </a:lnTo>
                  <a:lnTo>
                    <a:pt x="280" y="223"/>
                  </a:lnTo>
                  <a:lnTo>
                    <a:pt x="280" y="225"/>
                  </a:lnTo>
                  <a:lnTo>
                    <a:pt x="280" y="229"/>
                  </a:lnTo>
                  <a:lnTo>
                    <a:pt x="279" y="230"/>
                  </a:lnTo>
                  <a:lnTo>
                    <a:pt x="279" y="232"/>
                  </a:lnTo>
                  <a:lnTo>
                    <a:pt x="277" y="234"/>
                  </a:lnTo>
                  <a:lnTo>
                    <a:pt x="274" y="244"/>
                  </a:lnTo>
                  <a:lnTo>
                    <a:pt x="272" y="247"/>
                  </a:lnTo>
                  <a:lnTo>
                    <a:pt x="272" y="249"/>
                  </a:lnTo>
                  <a:lnTo>
                    <a:pt x="270" y="249"/>
                  </a:lnTo>
                  <a:lnTo>
                    <a:pt x="270" y="251"/>
                  </a:lnTo>
                  <a:lnTo>
                    <a:pt x="270" y="253"/>
                  </a:lnTo>
                  <a:lnTo>
                    <a:pt x="270" y="254"/>
                  </a:lnTo>
                  <a:lnTo>
                    <a:pt x="268" y="256"/>
                  </a:lnTo>
                  <a:lnTo>
                    <a:pt x="268" y="258"/>
                  </a:lnTo>
                  <a:lnTo>
                    <a:pt x="268" y="261"/>
                  </a:lnTo>
                  <a:lnTo>
                    <a:pt x="268" y="263"/>
                  </a:lnTo>
                  <a:lnTo>
                    <a:pt x="270" y="265"/>
                  </a:lnTo>
                  <a:lnTo>
                    <a:pt x="270" y="266"/>
                  </a:lnTo>
                  <a:lnTo>
                    <a:pt x="272" y="268"/>
                  </a:lnTo>
                  <a:lnTo>
                    <a:pt x="270" y="270"/>
                  </a:lnTo>
                  <a:lnTo>
                    <a:pt x="270" y="273"/>
                  </a:lnTo>
                  <a:lnTo>
                    <a:pt x="268" y="275"/>
                  </a:lnTo>
                  <a:lnTo>
                    <a:pt x="268" y="277"/>
                  </a:lnTo>
                  <a:lnTo>
                    <a:pt x="267" y="278"/>
                  </a:lnTo>
                  <a:lnTo>
                    <a:pt x="267" y="278"/>
                  </a:lnTo>
                  <a:lnTo>
                    <a:pt x="265" y="278"/>
                  </a:lnTo>
                  <a:lnTo>
                    <a:pt x="260" y="278"/>
                  </a:lnTo>
                  <a:lnTo>
                    <a:pt x="258" y="278"/>
                  </a:lnTo>
                  <a:lnTo>
                    <a:pt x="251" y="278"/>
                  </a:lnTo>
                  <a:lnTo>
                    <a:pt x="244" y="278"/>
                  </a:lnTo>
                  <a:lnTo>
                    <a:pt x="241" y="278"/>
                  </a:lnTo>
                  <a:lnTo>
                    <a:pt x="237" y="278"/>
                  </a:lnTo>
                  <a:lnTo>
                    <a:pt x="231" y="278"/>
                  </a:lnTo>
                  <a:lnTo>
                    <a:pt x="229" y="278"/>
                  </a:lnTo>
                  <a:lnTo>
                    <a:pt x="222" y="278"/>
                  </a:lnTo>
                  <a:lnTo>
                    <a:pt x="215" y="278"/>
                  </a:lnTo>
                  <a:lnTo>
                    <a:pt x="213" y="278"/>
                  </a:lnTo>
                  <a:lnTo>
                    <a:pt x="210" y="278"/>
                  </a:lnTo>
                  <a:lnTo>
                    <a:pt x="208" y="278"/>
                  </a:lnTo>
                  <a:lnTo>
                    <a:pt x="205" y="278"/>
                  </a:lnTo>
                  <a:lnTo>
                    <a:pt x="203" y="278"/>
                  </a:lnTo>
                  <a:lnTo>
                    <a:pt x="200" y="278"/>
                  </a:lnTo>
                  <a:lnTo>
                    <a:pt x="198" y="278"/>
                  </a:lnTo>
                  <a:lnTo>
                    <a:pt x="193" y="278"/>
                  </a:lnTo>
                  <a:lnTo>
                    <a:pt x="191" y="278"/>
                  </a:lnTo>
                  <a:lnTo>
                    <a:pt x="189" y="278"/>
                  </a:lnTo>
                  <a:lnTo>
                    <a:pt x="186" y="278"/>
                  </a:lnTo>
                  <a:lnTo>
                    <a:pt x="181" y="278"/>
                  </a:lnTo>
                  <a:lnTo>
                    <a:pt x="179" y="278"/>
                  </a:lnTo>
                  <a:lnTo>
                    <a:pt x="177" y="278"/>
                  </a:lnTo>
                  <a:lnTo>
                    <a:pt x="175" y="278"/>
                  </a:lnTo>
                  <a:lnTo>
                    <a:pt x="167" y="278"/>
                  </a:lnTo>
                  <a:lnTo>
                    <a:pt x="163" y="278"/>
                  </a:lnTo>
                  <a:lnTo>
                    <a:pt x="162" y="278"/>
                  </a:lnTo>
                  <a:lnTo>
                    <a:pt x="158" y="278"/>
                  </a:lnTo>
                  <a:lnTo>
                    <a:pt x="155" y="278"/>
                  </a:lnTo>
                  <a:lnTo>
                    <a:pt x="150" y="278"/>
                  </a:lnTo>
                  <a:lnTo>
                    <a:pt x="138" y="278"/>
                  </a:lnTo>
                  <a:lnTo>
                    <a:pt x="134" y="278"/>
                  </a:lnTo>
                  <a:lnTo>
                    <a:pt x="129" y="278"/>
                  </a:lnTo>
                  <a:lnTo>
                    <a:pt x="127" y="278"/>
                  </a:lnTo>
                  <a:lnTo>
                    <a:pt x="126" y="278"/>
                  </a:lnTo>
                  <a:lnTo>
                    <a:pt x="124" y="278"/>
                  </a:lnTo>
                  <a:lnTo>
                    <a:pt x="117" y="278"/>
                  </a:lnTo>
                  <a:lnTo>
                    <a:pt x="110" y="277"/>
                  </a:lnTo>
                  <a:lnTo>
                    <a:pt x="107" y="277"/>
                  </a:lnTo>
                  <a:lnTo>
                    <a:pt x="103" y="277"/>
                  </a:lnTo>
                  <a:lnTo>
                    <a:pt x="100" y="277"/>
                  </a:lnTo>
                  <a:lnTo>
                    <a:pt x="98" y="277"/>
                  </a:lnTo>
                  <a:lnTo>
                    <a:pt x="95" y="277"/>
                  </a:lnTo>
                  <a:lnTo>
                    <a:pt x="95" y="277"/>
                  </a:lnTo>
                  <a:lnTo>
                    <a:pt x="91" y="277"/>
                  </a:lnTo>
                  <a:lnTo>
                    <a:pt x="88" y="277"/>
                  </a:lnTo>
                  <a:lnTo>
                    <a:pt x="83" y="277"/>
                  </a:lnTo>
                  <a:lnTo>
                    <a:pt x="79" y="277"/>
                  </a:lnTo>
                  <a:lnTo>
                    <a:pt x="79" y="277"/>
                  </a:lnTo>
                  <a:lnTo>
                    <a:pt x="77" y="277"/>
                  </a:lnTo>
                  <a:lnTo>
                    <a:pt x="74" y="277"/>
                  </a:lnTo>
                  <a:lnTo>
                    <a:pt x="72" y="277"/>
                  </a:lnTo>
                  <a:lnTo>
                    <a:pt x="69" y="277"/>
                  </a:lnTo>
                  <a:lnTo>
                    <a:pt x="67" y="277"/>
                  </a:lnTo>
                  <a:lnTo>
                    <a:pt x="65" y="277"/>
                  </a:lnTo>
                  <a:lnTo>
                    <a:pt x="62" y="277"/>
                  </a:lnTo>
                  <a:lnTo>
                    <a:pt x="59" y="277"/>
                  </a:lnTo>
                  <a:lnTo>
                    <a:pt x="48" y="277"/>
                  </a:lnTo>
                  <a:lnTo>
                    <a:pt x="45" y="277"/>
                  </a:lnTo>
                  <a:lnTo>
                    <a:pt x="41" y="277"/>
                  </a:lnTo>
                  <a:lnTo>
                    <a:pt x="38" y="277"/>
                  </a:lnTo>
                  <a:lnTo>
                    <a:pt x="34" y="277"/>
                  </a:lnTo>
                  <a:lnTo>
                    <a:pt x="29" y="277"/>
                  </a:lnTo>
                  <a:lnTo>
                    <a:pt x="21" y="277"/>
                  </a:lnTo>
                  <a:lnTo>
                    <a:pt x="19" y="277"/>
                  </a:lnTo>
                  <a:lnTo>
                    <a:pt x="17" y="277"/>
                  </a:lnTo>
                  <a:lnTo>
                    <a:pt x="10" y="277"/>
                  </a:lnTo>
                  <a:lnTo>
                    <a:pt x="5" y="277"/>
                  </a:lnTo>
                  <a:lnTo>
                    <a:pt x="3" y="277"/>
                  </a:lnTo>
                  <a:lnTo>
                    <a:pt x="0" y="277"/>
                  </a:lnTo>
                  <a:lnTo>
                    <a:pt x="0" y="273"/>
                  </a:lnTo>
                  <a:lnTo>
                    <a:pt x="0" y="265"/>
                  </a:lnTo>
                  <a:lnTo>
                    <a:pt x="0" y="261"/>
                  </a:lnTo>
                  <a:lnTo>
                    <a:pt x="0" y="256"/>
                  </a:lnTo>
                  <a:lnTo>
                    <a:pt x="0" y="253"/>
                  </a:lnTo>
                  <a:lnTo>
                    <a:pt x="0" y="247"/>
                  </a:lnTo>
                  <a:lnTo>
                    <a:pt x="0" y="242"/>
                  </a:lnTo>
                  <a:lnTo>
                    <a:pt x="0" y="239"/>
                  </a:lnTo>
                  <a:lnTo>
                    <a:pt x="0" y="237"/>
                  </a:lnTo>
                  <a:lnTo>
                    <a:pt x="0" y="234"/>
                  </a:lnTo>
                  <a:lnTo>
                    <a:pt x="0" y="234"/>
                  </a:lnTo>
                  <a:lnTo>
                    <a:pt x="0" y="225"/>
                  </a:lnTo>
                  <a:lnTo>
                    <a:pt x="0" y="220"/>
                  </a:lnTo>
                  <a:lnTo>
                    <a:pt x="0" y="218"/>
                  </a:lnTo>
                  <a:lnTo>
                    <a:pt x="0" y="210"/>
                  </a:lnTo>
                  <a:lnTo>
                    <a:pt x="0" y="208"/>
                  </a:lnTo>
                  <a:lnTo>
                    <a:pt x="0" y="206"/>
                  </a:lnTo>
                  <a:lnTo>
                    <a:pt x="0" y="204"/>
                  </a:lnTo>
                  <a:lnTo>
                    <a:pt x="0" y="198"/>
                  </a:lnTo>
                  <a:lnTo>
                    <a:pt x="0" y="196"/>
                  </a:lnTo>
                  <a:lnTo>
                    <a:pt x="0" y="194"/>
                  </a:lnTo>
                  <a:lnTo>
                    <a:pt x="0" y="192"/>
                  </a:lnTo>
                  <a:lnTo>
                    <a:pt x="2" y="187"/>
                  </a:lnTo>
                  <a:lnTo>
                    <a:pt x="2" y="186"/>
                  </a:lnTo>
                  <a:lnTo>
                    <a:pt x="2" y="179"/>
                  </a:lnTo>
                  <a:lnTo>
                    <a:pt x="2" y="175"/>
                  </a:lnTo>
                  <a:lnTo>
                    <a:pt x="2" y="173"/>
                  </a:lnTo>
                  <a:lnTo>
                    <a:pt x="2" y="173"/>
                  </a:lnTo>
                  <a:lnTo>
                    <a:pt x="2" y="168"/>
                  </a:lnTo>
                  <a:lnTo>
                    <a:pt x="2" y="165"/>
                  </a:lnTo>
                  <a:lnTo>
                    <a:pt x="2" y="158"/>
                  </a:lnTo>
                  <a:lnTo>
                    <a:pt x="2" y="153"/>
                  </a:lnTo>
                  <a:lnTo>
                    <a:pt x="2" y="148"/>
                  </a:lnTo>
                  <a:lnTo>
                    <a:pt x="2" y="146"/>
                  </a:lnTo>
                  <a:lnTo>
                    <a:pt x="2" y="144"/>
                  </a:lnTo>
                  <a:lnTo>
                    <a:pt x="2" y="144"/>
                  </a:lnTo>
                  <a:lnTo>
                    <a:pt x="2" y="143"/>
                  </a:lnTo>
                  <a:lnTo>
                    <a:pt x="2" y="136"/>
                  </a:lnTo>
                  <a:lnTo>
                    <a:pt x="2" y="134"/>
                  </a:lnTo>
                  <a:lnTo>
                    <a:pt x="2" y="132"/>
                  </a:lnTo>
                  <a:lnTo>
                    <a:pt x="2" y="130"/>
                  </a:lnTo>
                  <a:lnTo>
                    <a:pt x="2" y="125"/>
                  </a:lnTo>
                  <a:lnTo>
                    <a:pt x="2" y="118"/>
                  </a:lnTo>
                  <a:lnTo>
                    <a:pt x="2" y="113"/>
                  </a:lnTo>
                  <a:lnTo>
                    <a:pt x="2" y="112"/>
                  </a:lnTo>
                  <a:lnTo>
                    <a:pt x="2" y="110"/>
                  </a:lnTo>
                  <a:lnTo>
                    <a:pt x="2" y="108"/>
                  </a:lnTo>
                  <a:lnTo>
                    <a:pt x="2" y="106"/>
                  </a:lnTo>
                  <a:lnTo>
                    <a:pt x="2" y="105"/>
                  </a:lnTo>
                  <a:lnTo>
                    <a:pt x="2" y="103"/>
                  </a:lnTo>
                  <a:lnTo>
                    <a:pt x="2" y="98"/>
                  </a:lnTo>
                  <a:lnTo>
                    <a:pt x="2" y="98"/>
                  </a:lnTo>
                  <a:lnTo>
                    <a:pt x="2" y="96"/>
                  </a:lnTo>
                  <a:lnTo>
                    <a:pt x="2" y="93"/>
                  </a:lnTo>
                  <a:lnTo>
                    <a:pt x="2" y="89"/>
                  </a:lnTo>
                  <a:lnTo>
                    <a:pt x="2" y="86"/>
                  </a:lnTo>
                  <a:lnTo>
                    <a:pt x="2" y="82"/>
                  </a:lnTo>
                  <a:lnTo>
                    <a:pt x="2" y="75"/>
                  </a:lnTo>
                  <a:lnTo>
                    <a:pt x="2" y="70"/>
                  </a:lnTo>
                  <a:lnTo>
                    <a:pt x="2" y="63"/>
                  </a:lnTo>
                  <a:lnTo>
                    <a:pt x="2" y="53"/>
                  </a:lnTo>
                  <a:lnTo>
                    <a:pt x="2" y="53"/>
                  </a:lnTo>
                  <a:lnTo>
                    <a:pt x="2" y="43"/>
                  </a:lnTo>
                  <a:lnTo>
                    <a:pt x="2" y="31"/>
                  </a:lnTo>
                  <a:lnTo>
                    <a:pt x="2" y="24"/>
                  </a:lnTo>
                  <a:lnTo>
                    <a:pt x="2" y="22"/>
                  </a:lnTo>
                  <a:lnTo>
                    <a:pt x="2" y="17"/>
                  </a:lnTo>
                  <a:lnTo>
                    <a:pt x="2" y="10"/>
                  </a:lnTo>
                  <a:lnTo>
                    <a:pt x="2" y="8"/>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99" name="Freeform 136"/>
            <p:cNvSpPr>
              <a:spLocks/>
            </p:cNvSpPr>
            <p:nvPr/>
          </p:nvSpPr>
          <p:spPr bwMode="auto">
            <a:xfrm>
              <a:off x="5736521" y="887206"/>
              <a:ext cx="379413" cy="374650"/>
            </a:xfrm>
            <a:custGeom>
              <a:avLst/>
              <a:gdLst/>
              <a:ahLst/>
              <a:cxnLst>
                <a:cxn ang="0">
                  <a:pos x="239" y="14"/>
                </a:cxn>
                <a:cxn ang="0">
                  <a:pos x="239" y="45"/>
                </a:cxn>
                <a:cxn ang="0">
                  <a:pos x="239" y="67"/>
                </a:cxn>
                <a:cxn ang="0">
                  <a:pos x="239" y="85"/>
                </a:cxn>
                <a:cxn ang="0">
                  <a:pos x="239" y="95"/>
                </a:cxn>
                <a:cxn ang="0">
                  <a:pos x="239" y="102"/>
                </a:cxn>
                <a:cxn ang="0">
                  <a:pos x="239" y="117"/>
                </a:cxn>
                <a:cxn ang="0">
                  <a:pos x="239" y="128"/>
                </a:cxn>
                <a:cxn ang="0">
                  <a:pos x="239" y="138"/>
                </a:cxn>
                <a:cxn ang="0">
                  <a:pos x="239" y="157"/>
                </a:cxn>
                <a:cxn ang="0">
                  <a:pos x="239" y="167"/>
                </a:cxn>
                <a:cxn ang="0">
                  <a:pos x="237" y="184"/>
                </a:cxn>
                <a:cxn ang="0">
                  <a:pos x="237" y="196"/>
                </a:cxn>
                <a:cxn ang="0">
                  <a:pos x="237" y="210"/>
                </a:cxn>
                <a:cxn ang="0">
                  <a:pos x="237" y="226"/>
                </a:cxn>
                <a:cxn ang="0">
                  <a:pos x="220" y="234"/>
                </a:cxn>
                <a:cxn ang="0">
                  <a:pos x="197" y="234"/>
                </a:cxn>
                <a:cxn ang="0">
                  <a:pos x="180" y="234"/>
                </a:cxn>
                <a:cxn ang="0">
                  <a:pos x="165" y="234"/>
                </a:cxn>
                <a:cxn ang="0">
                  <a:pos x="148" y="234"/>
                </a:cxn>
                <a:cxn ang="0">
                  <a:pos x="137" y="234"/>
                </a:cxn>
                <a:cxn ang="0">
                  <a:pos x="125" y="234"/>
                </a:cxn>
                <a:cxn ang="0">
                  <a:pos x="111" y="234"/>
                </a:cxn>
                <a:cxn ang="0">
                  <a:pos x="91" y="234"/>
                </a:cxn>
                <a:cxn ang="0">
                  <a:pos x="67" y="234"/>
                </a:cxn>
                <a:cxn ang="0">
                  <a:pos x="50" y="234"/>
                </a:cxn>
                <a:cxn ang="0">
                  <a:pos x="29" y="234"/>
                </a:cxn>
                <a:cxn ang="0">
                  <a:pos x="13" y="236"/>
                </a:cxn>
                <a:cxn ang="0">
                  <a:pos x="0" y="229"/>
                </a:cxn>
                <a:cxn ang="0">
                  <a:pos x="0" y="202"/>
                </a:cxn>
                <a:cxn ang="0">
                  <a:pos x="0" y="181"/>
                </a:cxn>
                <a:cxn ang="0">
                  <a:pos x="0" y="157"/>
                </a:cxn>
                <a:cxn ang="0">
                  <a:pos x="0" y="136"/>
                </a:cxn>
                <a:cxn ang="0">
                  <a:pos x="0" y="110"/>
                </a:cxn>
                <a:cxn ang="0">
                  <a:pos x="0" y="97"/>
                </a:cxn>
                <a:cxn ang="0">
                  <a:pos x="0" y="76"/>
                </a:cxn>
                <a:cxn ang="0">
                  <a:pos x="0" y="62"/>
                </a:cxn>
                <a:cxn ang="0">
                  <a:pos x="0" y="57"/>
                </a:cxn>
                <a:cxn ang="0">
                  <a:pos x="0" y="45"/>
                </a:cxn>
                <a:cxn ang="0">
                  <a:pos x="0" y="30"/>
                </a:cxn>
                <a:cxn ang="0">
                  <a:pos x="0" y="18"/>
                </a:cxn>
                <a:cxn ang="0">
                  <a:pos x="0" y="9"/>
                </a:cxn>
                <a:cxn ang="0">
                  <a:pos x="27" y="7"/>
                </a:cxn>
                <a:cxn ang="0">
                  <a:pos x="46" y="7"/>
                </a:cxn>
                <a:cxn ang="0">
                  <a:pos x="60" y="7"/>
                </a:cxn>
                <a:cxn ang="0">
                  <a:pos x="82" y="5"/>
                </a:cxn>
                <a:cxn ang="0">
                  <a:pos x="99" y="5"/>
                </a:cxn>
                <a:cxn ang="0">
                  <a:pos x="120" y="5"/>
                </a:cxn>
                <a:cxn ang="0">
                  <a:pos x="137" y="4"/>
                </a:cxn>
                <a:cxn ang="0">
                  <a:pos x="153" y="4"/>
                </a:cxn>
                <a:cxn ang="0">
                  <a:pos x="165" y="2"/>
                </a:cxn>
                <a:cxn ang="0">
                  <a:pos x="168" y="2"/>
                </a:cxn>
                <a:cxn ang="0">
                  <a:pos x="180" y="2"/>
                </a:cxn>
                <a:cxn ang="0">
                  <a:pos x="199" y="0"/>
                </a:cxn>
                <a:cxn ang="0">
                  <a:pos x="222" y="0"/>
                </a:cxn>
                <a:cxn ang="0">
                  <a:pos x="235" y="0"/>
                </a:cxn>
              </a:cxnLst>
              <a:rect l="0" t="0" r="r" b="b"/>
              <a:pathLst>
                <a:path w="239" h="236">
                  <a:moveTo>
                    <a:pt x="239" y="0"/>
                  </a:moveTo>
                  <a:lnTo>
                    <a:pt x="239" y="2"/>
                  </a:lnTo>
                  <a:lnTo>
                    <a:pt x="239" y="9"/>
                  </a:lnTo>
                  <a:lnTo>
                    <a:pt x="239" y="14"/>
                  </a:lnTo>
                  <a:lnTo>
                    <a:pt x="239" y="16"/>
                  </a:lnTo>
                  <a:lnTo>
                    <a:pt x="239" y="23"/>
                  </a:lnTo>
                  <a:lnTo>
                    <a:pt x="239" y="35"/>
                  </a:lnTo>
                  <a:lnTo>
                    <a:pt x="239" y="45"/>
                  </a:lnTo>
                  <a:lnTo>
                    <a:pt x="239" y="45"/>
                  </a:lnTo>
                  <a:lnTo>
                    <a:pt x="239" y="55"/>
                  </a:lnTo>
                  <a:lnTo>
                    <a:pt x="239" y="62"/>
                  </a:lnTo>
                  <a:lnTo>
                    <a:pt x="239" y="67"/>
                  </a:lnTo>
                  <a:lnTo>
                    <a:pt x="239" y="74"/>
                  </a:lnTo>
                  <a:lnTo>
                    <a:pt x="239" y="78"/>
                  </a:lnTo>
                  <a:lnTo>
                    <a:pt x="239" y="81"/>
                  </a:lnTo>
                  <a:lnTo>
                    <a:pt x="239" y="85"/>
                  </a:lnTo>
                  <a:lnTo>
                    <a:pt x="239" y="88"/>
                  </a:lnTo>
                  <a:lnTo>
                    <a:pt x="239" y="90"/>
                  </a:lnTo>
                  <a:lnTo>
                    <a:pt x="239" y="90"/>
                  </a:lnTo>
                  <a:lnTo>
                    <a:pt x="239" y="95"/>
                  </a:lnTo>
                  <a:lnTo>
                    <a:pt x="239" y="97"/>
                  </a:lnTo>
                  <a:lnTo>
                    <a:pt x="239" y="98"/>
                  </a:lnTo>
                  <a:lnTo>
                    <a:pt x="239" y="100"/>
                  </a:lnTo>
                  <a:lnTo>
                    <a:pt x="239" y="102"/>
                  </a:lnTo>
                  <a:lnTo>
                    <a:pt x="239" y="104"/>
                  </a:lnTo>
                  <a:lnTo>
                    <a:pt x="239" y="105"/>
                  </a:lnTo>
                  <a:lnTo>
                    <a:pt x="239" y="110"/>
                  </a:lnTo>
                  <a:lnTo>
                    <a:pt x="239" y="117"/>
                  </a:lnTo>
                  <a:lnTo>
                    <a:pt x="239" y="122"/>
                  </a:lnTo>
                  <a:lnTo>
                    <a:pt x="239" y="124"/>
                  </a:lnTo>
                  <a:lnTo>
                    <a:pt x="239" y="126"/>
                  </a:lnTo>
                  <a:lnTo>
                    <a:pt x="239" y="128"/>
                  </a:lnTo>
                  <a:lnTo>
                    <a:pt x="239" y="135"/>
                  </a:lnTo>
                  <a:lnTo>
                    <a:pt x="239" y="136"/>
                  </a:lnTo>
                  <a:lnTo>
                    <a:pt x="239" y="136"/>
                  </a:lnTo>
                  <a:lnTo>
                    <a:pt x="239" y="138"/>
                  </a:lnTo>
                  <a:lnTo>
                    <a:pt x="239" y="140"/>
                  </a:lnTo>
                  <a:lnTo>
                    <a:pt x="239" y="145"/>
                  </a:lnTo>
                  <a:lnTo>
                    <a:pt x="239" y="150"/>
                  </a:lnTo>
                  <a:lnTo>
                    <a:pt x="239" y="157"/>
                  </a:lnTo>
                  <a:lnTo>
                    <a:pt x="239" y="160"/>
                  </a:lnTo>
                  <a:lnTo>
                    <a:pt x="239" y="165"/>
                  </a:lnTo>
                  <a:lnTo>
                    <a:pt x="239" y="165"/>
                  </a:lnTo>
                  <a:lnTo>
                    <a:pt x="239" y="167"/>
                  </a:lnTo>
                  <a:lnTo>
                    <a:pt x="239" y="171"/>
                  </a:lnTo>
                  <a:lnTo>
                    <a:pt x="239" y="178"/>
                  </a:lnTo>
                  <a:lnTo>
                    <a:pt x="239" y="179"/>
                  </a:lnTo>
                  <a:lnTo>
                    <a:pt x="237" y="184"/>
                  </a:lnTo>
                  <a:lnTo>
                    <a:pt x="237" y="186"/>
                  </a:lnTo>
                  <a:lnTo>
                    <a:pt x="237" y="188"/>
                  </a:lnTo>
                  <a:lnTo>
                    <a:pt x="237" y="190"/>
                  </a:lnTo>
                  <a:lnTo>
                    <a:pt x="237" y="196"/>
                  </a:lnTo>
                  <a:lnTo>
                    <a:pt x="237" y="198"/>
                  </a:lnTo>
                  <a:lnTo>
                    <a:pt x="237" y="200"/>
                  </a:lnTo>
                  <a:lnTo>
                    <a:pt x="237" y="202"/>
                  </a:lnTo>
                  <a:lnTo>
                    <a:pt x="237" y="210"/>
                  </a:lnTo>
                  <a:lnTo>
                    <a:pt x="237" y="212"/>
                  </a:lnTo>
                  <a:lnTo>
                    <a:pt x="237" y="217"/>
                  </a:lnTo>
                  <a:lnTo>
                    <a:pt x="237" y="226"/>
                  </a:lnTo>
                  <a:lnTo>
                    <a:pt x="237" y="226"/>
                  </a:lnTo>
                  <a:lnTo>
                    <a:pt x="237" y="229"/>
                  </a:lnTo>
                  <a:lnTo>
                    <a:pt x="237" y="231"/>
                  </a:lnTo>
                  <a:lnTo>
                    <a:pt x="237" y="234"/>
                  </a:lnTo>
                  <a:lnTo>
                    <a:pt x="220" y="234"/>
                  </a:lnTo>
                  <a:lnTo>
                    <a:pt x="216" y="234"/>
                  </a:lnTo>
                  <a:lnTo>
                    <a:pt x="208" y="234"/>
                  </a:lnTo>
                  <a:lnTo>
                    <a:pt x="201" y="234"/>
                  </a:lnTo>
                  <a:lnTo>
                    <a:pt x="197" y="234"/>
                  </a:lnTo>
                  <a:lnTo>
                    <a:pt x="192" y="234"/>
                  </a:lnTo>
                  <a:lnTo>
                    <a:pt x="191" y="234"/>
                  </a:lnTo>
                  <a:lnTo>
                    <a:pt x="189" y="234"/>
                  </a:lnTo>
                  <a:lnTo>
                    <a:pt x="180" y="234"/>
                  </a:lnTo>
                  <a:lnTo>
                    <a:pt x="173" y="234"/>
                  </a:lnTo>
                  <a:lnTo>
                    <a:pt x="170" y="234"/>
                  </a:lnTo>
                  <a:lnTo>
                    <a:pt x="165" y="234"/>
                  </a:lnTo>
                  <a:lnTo>
                    <a:pt x="165" y="234"/>
                  </a:lnTo>
                  <a:lnTo>
                    <a:pt x="163" y="234"/>
                  </a:lnTo>
                  <a:lnTo>
                    <a:pt x="160" y="234"/>
                  </a:lnTo>
                  <a:lnTo>
                    <a:pt x="153" y="234"/>
                  </a:lnTo>
                  <a:lnTo>
                    <a:pt x="148" y="234"/>
                  </a:lnTo>
                  <a:lnTo>
                    <a:pt x="146" y="234"/>
                  </a:lnTo>
                  <a:lnTo>
                    <a:pt x="144" y="234"/>
                  </a:lnTo>
                  <a:lnTo>
                    <a:pt x="141" y="234"/>
                  </a:lnTo>
                  <a:lnTo>
                    <a:pt x="137" y="234"/>
                  </a:lnTo>
                  <a:lnTo>
                    <a:pt x="134" y="234"/>
                  </a:lnTo>
                  <a:lnTo>
                    <a:pt x="130" y="234"/>
                  </a:lnTo>
                  <a:lnTo>
                    <a:pt x="127" y="234"/>
                  </a:lnTo>
                  <a:lnTo>
                    <a:pt x="125" y="234"/>
                  </a:lnTo>
                  <a:lnTo>
                    <a:pt x="124" y="234"/>
                  </a:lnTo>
                  <a:lnTo>
                    <a:pt x="115" y="234"/>
                  </a:lnTo>
                  <a:lnTo>
                    <a:pt x="113" y="234"/>
                  </a:lnTo>
                  <a:lnTo>
                    <a:pt x="111" y="234"/>
                  </a:lnTo>
                  <a:lnTo>
                    <a:pt x="106" y="234"/>
                  </a:lnTo>
                  <a:lnTo>
                    <a:pt x="105" y="234"/>
                  </a:lnTo>
                  <a:lnTo>
                    <a:pt x="103" y="234"/>
                  </a:lnTo>
                  <a:lnTo>
                    <a:pt x="91" y="234"/>
                  </a:lnTo>
                  <a:lnTo>
                    <a:pt x="86" y="234"/>
                  </a:lnTo>
                  <a:lnTo>
                    <a:pt x="79" y="234"/>
                  </a:lnTo>
                  <a:lnTo>
                    <a:pt x="68" y="234"/>
                  </a:lnTo>
                  <a:lnTo>
                    <a:pt x="67" y="234"/>
                  </a:lnTo>
                  <a:lnTo>
                    <a:pt x="65" y="234"/>
                  </a:lnTo>
                  <a:lnTo>
                    <a:pt x="63" y="234"/>
                  </a:lnTo>
                  <a:lnTo>
                    <a:pt x="60" y="234"/>
                  </a:lnTo>
                  <a:lnTo>
                    <a:pt x="50" y="234"/>
                  </a:lnTo>
                  <a:lnTo>
                    <a:pt x="43" y="234"/>
                  </a:lnTo>
                  <a:lnTo>
                    <a:pt x="41" y="234"/>
                  </a:lnTo>
                  <a:lnTo>
                    <a:pt x="31" y="234"/>
                  </a:lnTo>
                  <a:lnTo>
                    <a:pt x="29" y="234"/>
                  </a:lnTo>
                  <a:lnTo>
                    <a:pt x="27" y="236"/>
                  </a:lnTo>
                  <a:lnTo>
                    <a:pt x="20" y="236"/>
                  </a:lnTo>
                  <a:lnTo>
                    <a:pt x="15" y="236"/>
                  </a:lnTo>
                  <a:lnTo>
                    <a:pt x="13" y="236"/>
                  </a:lnTo>
                  <a:lnTo>
                    <a:pt x="8" y="236"/>
                  </a:lnTo>
                  <a:lnTo>
                    <a:pt x="3" y="236"/>
                  </a:lnTo>
                  <a:lnTo>
                    <a:pt x="1" y="236"/>
                  </a:lnTo>
                  <a:lnTo>
                    <a:pt x="0" y="229"/>
                  </a:lnTo>
                  <a:lnTo>
                    <a:pt x="0" y="222"/>
                  </a:lnTo>
                  <a:lnTo>
                    <a:pt x="0" y="214"/>
                  </a:lnTo>
                  <a:lnTo>
                    <a:pt x="0" y="212"/>
                  </a:lnTo>
                  <a:lnTo>
                    <a:pt x="0" y="202"/>
                  </a:lnTo>
                  <a:lnTo>
                    <a:pt x="0" y="196"/>
                  </a:lnTo>
                  <a:lnTo>
                    <a:pt x="0" y="191"/>
                  </a:lnTo>
                  <a:lnTo>
                    <a:pt x="0" y="186"/>
                  </a:lnTo>
                  <a:lnTo>
                    <a:pt x="0" y="181"/>
                  </a:lnTo>
                  <a:lnTo>
                    <a:pt x="0" y="172"/>
                  </a:lnTo>
                  <a:lnTo>
                    <a:pt x="0" y="171"/>
                  </a:lnTo>
                  <a:lnTo>
                    <a:pt x="0" y="167"/>
                  </a:lnTo>
                  <a:lnTo>
                    <a:pt x="0" y="157"/>
                  </a:lnTo>
                  <a:lnTo>
                    <a:pt x="0" y="147"/>
                  </a:lnTo>
                  <a:lnTo>
                    <a:pt x="0" y="143"/>
                  </a:lnTo>
                  <a:lnTo>
                    <a:pt x="0" y="138"/>
                  </a:lnTo>
                  <a:lnTo>
                    <a:pt x="0" y="136"/>
                  </a:lnTo>
                  <a:lnTo>
                    <a:pt x="0" y="136"/>
                  </a:lnTo>
                  <a:lnTo>
                    <a:pt x="0" y="129"/>
                  </a:lnTo>
                  <a:lnTo>
                    <a:pt x="0" y="117"/>
                  </a:lnTo>
                  <a:lnTo>
                    <a:pt x="0" y="110"/>
                  </a:lnTo>
                  <a:lnTo>
                    <a:pt x="0" y="105"/>
                  </a:lnTo>
                  <a:lnTo>
                    <a:pt x="0" y="102"/>
                  </a:lnTo>
                  <a:lnTo>
                    <a:pt x="0" y="102"/>
                  </a:lnTo>
                  <a:lnTo>
                    <a:pt x="0" y="97"/>
                  </a:lnTo>
                  <a:lnTo>
                    <a:pt x="0" y="90"/>
                  </a:lnTo>
                  <a:lnTo>
                    <a:pt x="0" y="85"/>
                  </a:lnTo>
                  <a:lnTo>
                    <a:pt x="0" y="79"/>
                  </a:lnTo>
                  <a:lnTo>
                    <a:pt x="0" y="76"/>
                  </a:lnTo>
                  <a:lnTo>
                    <a:pt x="0" y="76"/>
                  </a:lnTo>
                  <a:lnTo>
                    <a:pt x="0" y="69"/>
                  </a:lnTo>
                  <a:lnTo>
                    <a:pt x="0" y="64"/>
                  </a:lnTo>
                  <a:lnTo>
                    <a:pt x="0" y="62"/>
                  </a:lnTo>
                  <a:lnTo>
                    <a:pt x="0" y="61"/>
                  </a:lnTo>
                  <a:lnTo>
                    <a:pt x="0" y="61"/>
                  </a:lnTo>
                  <a:lnTo>
                    <a:pt x="0" y="59"/>
                  </a:lnTo>
                  <a:lnTo>
                    <a:pt x="0" y="57"/>
                  </a:lnTo>
                  <a:lnTo>
                    <a:pt x="0" y="55"/>
                  </a:lnTo>
                  <a:lnTo>
                    <a:pt x="0" y="54"/>
                  </a:lnTo>
                  <a:lnTo>
                    <a:pt x="0" y="50"/>
                  </a:lnTo>
                  <a:lnTo>
                    <a:pt x="0" y="45"/>
                  </a:lnTo>
                  <a:lnTo>
                    <a:pt x="0" y="40"/>
                  </a:lnTo>
                  <a:lnTo>
                    <a:pt x="0" y="36"/>
                  </a:lnTo>
                  <a:lnTo>
                    <a:pt x="0" y="35"/>
                  </a:lnTo>
                  <a:lnTo>
                    <a:pt x="0" y="30"/>
                  </a:lnTo>
                  <a:lnTo>
                    <a:pt x="0" y="28"/>
                  </a:lnTo>
                  <a:lnTo>
                    <a:pt x="0" y="23"/>
                  </a:lnTo>
                  <a:lnTo>
                    <a:pt x="0" y="19"/>
                  </a:lnTo>
                  <a:lnTo>
                    <a:pt x="0" y="18"/>
                  </a:lnTo>
                  <a:lnTo>
                    <a:pt x="0" y="16"/>
                  </a:lnTo>
                  <a:lnTo>
                    <a:pt x="0" y="12"/>
                  </a:lnTo>
                  <a:lnTo>
                    <a:pt x="0" y="9"/>
                  </a:lnTo>
                  <a:lnTo>
                    <a:pt x="0" y="9"/>
                  </a:lnTo>
                  <a:lnTo>
                    <a:pt x="5" y="9"/>
                  </a:lnTo>
                  <a:lnTo>
                    <a:pt x="10" y="9"/>
                  </a:lnTo>
                  <a:lnTo>
                    <a:pt x="19" y="9"/>
                  </a:lnTo>
                  <a:lnTo>
                    <a:pt x="27" y="7"/>
                  </a:lnTo>
                  <a:lnTo>
                    <a:pt x="29" y="7"/>
                  </a:lnTo>
                  <a:lnTo>
                    <a:pt x="29" y="7"/>
                  </a:lnTo>
                  <a:lnTo>
                    <a:pt x="32" y="7"/>
                  </a:lnTo>
                  <a:lnTo>
                    <a:pt x="46" y="7"/>
                  </a:lnTo>
                  <a:lnTo>
                    <a:pt x="55" y="7"/>
                  </a:lnTo>
                  <a:lnTo>
                    <a:pt x="58" y="7"/>
                  </a:lnTo>
                  <a:lnTo>
                    <a:pt x="60" y="7"/>
                  </a:lnTo>
                  <a:lnTo>
                    <a:pt x="60" y="7"/>
                  </a:lnTo>
                  <a:lnTo>
                    <a:pt x="65" y="7"/>
                  </a:lnTo>
                  <a:lnTo>
                    <a:pt x="75" y="7"/>
                  </a:lnTo>
                  <a:lnTo>
                    <a:pt x="77" y="5"/>
                  </a:lnTo>
                  <a:lnTo>
                    <a:pt x="82" y="5"/>
                  </a:lnTo>
                  <a:lnTo>
                    <a:pt x="87" y="5"/>
                  </a:lnTo>
                  <a:lnTo>
                    <a:pt x="89" y="5"/>
                  </a:lnTo>
                  <a:lnTo>
                    <a:pt x="89" y="5"/>
                  </a:lnTo>
                  <a:lnTo>
                    <a:pt x="99" y="5"/>
                  </a:lnTo>
                  <a:lnTo>
                    <a:pt x="103" y="5"/>
                  </a:lnTo>
                  <a:lnTo>
                    <a:pt x="110" y="5"/>
                  </a:lnTo>
                  <a:lnTo>
                    <a:pt x="117" y="5"/>
                  </a:lnTo>
                  <a:lnTo>
                    <a:pt x="120" y="5"/>
                  </a:lnTo>
                  <a:lnTo>
                    <a:pt x="127" y="4"/>
                  </a:lnTo>
                  <a:lnTo>
                    <a:pt x="132" y="4"/>
                  </a:lnTo>
                  <a:lnTo>
                    <a:pt x="134" y="4"/>
                  </a:lnTo>
                  <a:lnTo>
                    <a:pt x="137" y="4"/>
                  </a:lnTo>
                  <a:lnTo>
                    <a:pt x="149" y="4"/>
                  </a:lnTo>
                  <a:lnTo>
                    <a:pt x="149" y="4"/>
                  </a:lnTo>
                  <a:lnTo>
                    <a:pt x="151" y="4"/>
                  </a:lnTo>
                  <a:lnTo>
                    <a:pt x="153" y="4"/>
                  </a:lnTo>
                  <a:lnTo>
                    <a:pt x="154" y="4"/>
                  </a:lnTo>
                  <a:lnTo>
                    <a:pt x="156" y="4"/>
                  </a:lnTo>
                  <a:lnTo>
                    <a:pt x="163" y="4"/>
                  </a:lnTo>
                  <a:lnTo>
                    <a:pt x="165" y="2"/>
                  </a:lnTo>
                  <a:lnTo>
                    <a:pt x="165" y="4"/>
                  </a:lnTo>
                  <a:lnTo>
                    <a:pt x="165" y="4"/>
                  </a:lnTo>
                  <a:lnTo>
                    <a:pt x="167" y="2"/>
                  </a:lnTo>
                  <a:lnTo>
                    <a:pt x="168" y="2"/>
                  </a:lnTo>
                  <a:lnTo>
                    <a:pt x="170" y="2"/>
                  </a:lnTo>
                  <a:lnTo>
                    <a:pt x="172" y="2"/>
                  </a:lnTo>
                  <a:lnTo>
                    <a:pt x="173" y="2"/>
                  </a:lnTo>
                  <a:lnTo>
                    <a:pt x="180" y="2"/>
                  </a:lnTo>
                  <a:lnTo>
                    <a:pt x="180" y="2"/>
                  </a:lnTo>
                  <a:lnTo>
                    <a:pt x="184" y="2"/>
                  </a:lnTo>
                  <a:lnTo>
                    <a:pt x="187" y="2"/>
                  </a:lnTo>
                  <a:lnTo>
                    <a:pt x="199" y="0"/>
                  </a:lnTo>
                  <a:lnTo>
                    <a:pt x="204" y="0"/>
                  </a:lnTo>
                  <a:lnTo>
                    <a:pt x="206" y="0"/>
                  </a:lnTo>
                  <a:lnTo>
                    <a:pt x="215" y="0"/>
                  </a:lnTo>
                  <a:lnTo>
                    <a:pt x="222" y="0"/>
                  </a:lnTo>
                  <a:lnTo>
                    <a:pt x="223" y="0"/>
                  </a:lnTo>
                  <a:lnTo>
                    <a:pt x="227" y="0"/>
                  </a:lnTo>
                  <a:lnTo>
                    <a:pt x="232" y="0"/>
                  </a:lnTo>
                  <a:lnTo>
                    <a:pt x="235" y="0"/>
                  </a:lnTo>
                  <a:lnTo>
                    <a:pt x="237" y="0"/>
                  </a:lnTo>
                  <a:lnTo>
                    <a:pt x="239" y="0"/>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0" name="Freeform 138"/>
            <p:cNvSpPr>
              <a:spLocks/>
            </p:cNvSpPr>
            <p:nvPr/>
          </p:nvSpPr>
          <p:spPr bwMode="auto">
            <a:xfrm>
              <a:off x="5392034" y="901494"/>
              <a:ext cx="344488" cy="311150"/>
            </a:xfrm>
            <a:custGeom>
              <a:avLst/>
              <a:gdLst/>
              <a:ahLst/>
              <a:cxnLst>
                <a:cxn ang="0">
                  <a:pos x="36" y="7"/>
                </a:cxn>
                <a:cxn ang="0">
                  <a:pos x="55" y="7"/>
                </a:cxn>
                <a:cxn ang="0">
                  <a:pos x="96" y="5"/>
                </a:cxn>
                <a:cxn ang="0">
                  <a:pos x="129" y="3"/>
                </a:cxn>
                <a:cxn ang="0">
                  <a:pos x="151" y="2"/>
                </a:cxn>
                <a:cxn ang="0">
                  <a:pos x="177" y="2"/>
                </a:cxn>
                <a:cxn ang="0">
                  <a:pos x="210" y="0"/>
                </a:cxn>
                <a:cxn ang="0">
                  <a:pos x="217" y="19"/>
                </a:cxn>
                <a:cxn ang="0">
                  <a:pos x="217" y="46"/>
                </a:cxn>
                <a:cxn ang="0">
                  <a:pos x="217" y="67"/>
                </a:cxn>
                <a:cxn ang="0">
                  <a:pos x="217" y="96"/>
                </a:cxn>
                <a:cxn ang="0">
                  <a:pos x="217" y="138"/>
                </a:cxn>
                <a:cxn ang="0">
                  <a:pos x="217" y="187"/>
                </a:cxn>
                <a:cxn ang="0">
                  <a:pos x="184" y="193"/>
                </a:cxn>
                <a:cxn ang="0">
                  <a:pos x="150" y="194"/>
                </a:cxn>
                <a:cxn ang="0">
                  <a:pos x="120" y="194"/>
                </a:cxn>
                <a:cxn ang="0">
                  <a:pos x="96" y="196"/>
                </a:cxn>
                <a:cxn ang="0">
                  <a:pos x="76" y="196"/>
                </a:cxn>
                <a:cxn ang="0">
                  <a:pos x="43" y="196"/>
                </a:cxn>
                <a:cxn ang="0">
                  <a:pos x="21" y="193"/>
                </a:cxn>
                <a:cxn ang="0">
                  <a:pos x="21" y="186"/>
                </a:cxn>
                <a:cxn ang="0">
                  <a:pos x="21" y="175"/>
                </a:cxn>
                <a:cxn ang="0">
                  <a:pos x="21" y="169"/>
                </a:cxn>
                <a:cxn ang="0">
                  <a:pos x="21" y="158"/>
                </a:cxn>
                <a:cxn ang="0">
                  <a:pos x="22" y="158"/>
                </a:cxn>
                <a:cxn ang="0">
                  <a:pos x="29" y="156"/>
                </a:cxn>
                <a:cxn ang="0">
                  <a:pos x="26" y="151"/>
                </a:cxn>
                <a:cxn ang="0">
                  <a:pos x="27" y="150"/>
                </a:cxn>
                <a:cxn ang="0">
                  <a:pos x="29" y="144"/>
                </a:cxn>
                <a:cxn ang="0">
                  <a:pos x="22" y="139"/>
                </a:cxn>
                <a:cxn ang="0">
                  <a:pos x="15" y="134"/>
                </a:cxn>
                <a:cxn ang="0">
                  <a:pos x="10" y="129"/>
                </a:cxn>
                <a:cxn ang="0">
                  <a:pos x="15" y="126"/>
                </a:cxn>
                <a:cxn ang="0">
                  <a:pos x="7" y="120"/>
                </a:cxn>
                <a:cxn ang="0">
                  <a:pos x="10" y="117"/>
                </a:cxn>
                <a:cxn ang="0">
                  <a:pos x="10" y="112"/>
                </a:cxn>
                <a:cxn ang="0">
                  <a:pos x="5" y="107"/>
                </a:cxn>
                <a:cxn ang="0">
                  <a:pos x="10" y="101"/>
                </a:cxn>
                <a:cxn ang="0">
                  <a:pos x="9" y="96"/>
                </a:cxn>
                <a:cxn ang="0">
                  <a:pos x="10" y="88"/>
                </a:cxn>
                <a:cxn ang="0">
                  <a:pos x="14" y="89"/>
                </a:cxn>
                <a:cxn ang="0">
                  <a:pos x="19" y="84"/>
                </a:cxn>
                <a:cxn ang="0">
                  <a:pos x="21" y="81"/>
                </a:cxn>
                <a:cxn ang="0">
                  <a:pos x="22" y="77"/>
                </a:cxn>
                <a:cxn ang="0">
                  <a:pos x="21" y="72"/>
                </a:cxn>
                <a:cxn ang="0">
                  <a:pos x="21" y="64"/>
                </a:cxn>
                <a:cxn ang="0">
                  <a:pos x="26" y="62"/>
                </a:cxn>
                <a:cxn ang="0">
                  <a:pos x="24" y="57"/>
                </a:cxn>
                <a:cxn ang="0">
                  <a:pos x="17" y="55"/>
                </a:cxn>
                <a:cxn ang="0">
                  <a:pos x="10" y="52"/>
                </a:cxn>
                <a:cxn ang="0">
                  <a:pos x="10" y="50"/>
                </a:cxn>
                <a:cxn ang="0">
                  <a:pos x="14" y="45"/>
                </a:cxn>
                <a:cxn ang="0">
                  <a:pos x="17" y="36"/>
                </a:cxn>
                <a:cxn ang="0">
                  <a:pos x="21" y="36"/>
                </a:cxn>
                <a:cxn ang="0">
                  <a:pos x="17" y="26"/>
                </a:cxn>
                <a:cxn ang="0">
                  <a:pos x="5" y="33"/>
                </a:cxn>
                <a:cxn ang="0">
                  <a:pos x="2" y="26"/>
                </a:cxn>
                <a:cxn ang="0">
                  <a:pos x="14" y="24"/>
                </a:cxn>
                <a:cxn ang="0">
                  <a:pos x="17" y="19"/>
                </a:cxn>
                <a:cxn ang="0">
                  <a:pos x="12" y="21"/>
                </a:cxn>
                <a:cxn ang="0">
                  <a:pos x="9" y="15"/>
                </a:cxn>
                <a:cxn ang="0">
                  <a:pos x="0" y="12"/>
                </a:cxn>
              </a:cxnLst>
              <a:rect l="0" t="0" r="r" b="b"/>
              <a:pathLst>
                <a:path w="217" h="196">
                  <a:moveTo>
                    <a:pt x="3" y="7"/>
                  </a:moveTo>
                  <a:lnTo>
                    <a:pt x="5" y="7"/>
                  </a:lnTo>
                  <a:lnTo>
                    <a:pt x="14" y="7"/>
                  </a:lnTo>
                  <a:lnTo>
                    <a:pt x="17" y="7"/>
                  </a:lnTo>
                  <a:lnTo>
                    <a:pt x="19" y="7"/>
                  </a:lnTo>
                  <a:lnTo>
                    <a:pt x="21" y="7"/>
                  </a:lnTo>
                  <a:lnTo>
                    <a:pt x="31" y="7"/>
                  </a:lnTo>
                  <a:lnTo>
                    <a:pt x="36" y="7"/>
                  </a:lnTo>
                  <a:lnTo>
                    <a:pt x="36" y="7"/>
                  </a:lnTo>
                  <a:lnTo>
                    <a:pt x="40" y="7"/>
                  </a:lnTo>
                  <a:lnTo>
                    <a:pt x="41" y="7"/>
                  </a:lnTo>
                  <a:lnTo>
                    <a:pt x="48" y="7"/>
                  </a:lnTo>
                  <a:lnTo>
                    <a:pt x="50" y="7"/>
                  </a:lnTo>
                  <a:lnTo>
                    <a:pt x="50" y="7"/>
                  </a:lnTo>
                  <a:lnTo>
                    <a:pt x="52" y="7"/>
                  </a:lnTo>
                  <a:lnTo>
                    <a:pt x="55" y="7"/>
                  </a:lnTo>
                  <a:lnTo>
                    <a:pt x="60" y="7"/>
                  </a:lnTo>
                  <a:lnTo>
                    <a:pt x="62" y="7"/>
                  </a:lnTo>
                  <a:lnTo>
                    <a:pt x="69" y="7"/>
                  </a:lnTo>
                  <a:lnTo>
                    <a:pt x="77" y="5"/>
                  </a:lnTo>
                  <a:lnTo>
                    <a:pt x="81" y="5"/>
                  </a:lnTo>
                  <a:lnTo>
                    <a:pt x="93" y="5"/>
                  </a:lnTo>
                  <a:lnTo>
                    <a:pt x="95" y="5"/>
                  </a:lnTo>
                  <a:lnTo>
                    <a:pt x="96" y="5"/>
                  </a:lnTo>
                  <a:lnTo>
                    <a:pt x="103" y="5"/>
                  </a:lnTo>
                  <a:lnTo>
                    <a:pt x="105" y="5"/>
                  </a:lnTo>
                  <a:lnTo>
                    <a:pt x="108" y="3"/>
                  </a:lnTo>
                  <a:lnTo>
                    <a:pt x="113" y="3"/>
                  </a:lnTo>
                  <a:lnTo>
                    <a:pt x="115" y="3"/>
                  </a:lnTo>
                  <a:lnTo>
                    <a:pt x="120" y="3"/>
                  </a:lnTo>
                  <a:lnTo>
                    <a:pt x="127" y="3"/>
                  </a:lnTo>
                  <a:lnTo>
                    <a:pt x="129" y="3"/>
                  </a:lnTo>
                  <a:lnTo>
                    <a:pt x="131" y="3"/>
                  </a:lnTo>
                  <a:lnTo>
                    <a:pt x="136" y="3"/>
                  </a:lnTo>
                  <a:lnTo>
                    <a:pt x="138" y="3"/>
                  </a:lnTo>
                  <a:lnTo>
                    <a:pt x="139" y="3"/>
                  </a:lnTo>
                  <a:lnTo>
                    <a:pt x="141" y="3"/>
                  </a:lnTo>
                  <a:lnTo>
                    <a:pt x="144" y="3"/>
                  </a:lnTo>
                  <a:lnTo>
                    <a:pt x="146" y="3"/>
                  </a:lnTo>
                  <a:lnTo>
                    <a:pt x="151" y="2"/>
                  </a:lnTo>
                  <a:lnTo>
                    <a:pt x="156" y="2"/>
                  </a:lnTo>
                  <a:lnTo>
                    <a:pt x="158" y="2"/>
                  </a:lnTo>
                  <a:lnTo>
                    <a:pt x="162" y="2"/>
                  </a:lnTo>
                  <a:lnTo>
                    <a:pt x="165" y="2"/>
                  </a:lnTo>
                  <a:lnTo>
                    <a:pt x="167" y="2"/>
                  </a:lnTo>
                  <a:lnTo>
                    <a:pt x="170" y="2"/>
                  </a:lnTo>
                  <a:lnTo>
                    <a:pt x="172" y="2"/>
                  </a:lnTo>
                  <a:lnTo>
                    <a:pt x="177" y="2"/>
                  </a:lnTo>
                  <a:lnTo>
                    <a:pt x="182" y="2"/>
                  </a:lnTo>
                  <a:lnTo>
                    <a:pt x="184" y="2"/>
                  </a:lnTo>
                  <a:lnTo>
                    <a:pt x="186" y="2"/>
                  </a:lnTo>
                  <a:lnTo>
                    <a:pt x="191" y="2"/>
                  </a:lnTo>
                  <a:lnTo>
                    <a:pt x="196" y="2"/>
                  </a:lnTo>
                  <a:lnTo>
                    <a:pt x="199" y="2"/>
                  </a:lnTo>
                  <a:lnTo>
                    <a:pt x="201" y="2"/>
                  </a:lnTo>
                  <a:lnTo>
                    <a:pt x="210" y="0"/>
                  </a:lnTo>
                  <a:lnTo>
                    <a:pt x="213" y="0"/>
                  </a:lnTo>
                  <a:lnTo>
                    <a:pt x="217" y="0"/>
                  </a:lnTo>
                  <a:lnTo>
                    <a:pt x="217" y="3"/>
                  </a:lnTo>
                  <a:lnTo>
                    <a:pt x="217" y="7"/>
                  </a:lnTo>
                  <a:lnTo>
                    <a:pt x="217" y="9"/>
                  </a:lnTo>
                  <a:lnTo>
                    <a:pt x="217" y="10"/>
                  </a:lnTo>
                  <a:lnTo>
                    <a:pt x="217" y="14"/>
                  </a:lnTo>
                  <a:lnTo>
                    <a:pt x="217" y="19"/>
                  </a:lnTo>
                  <a:lnTo>
                    <a:pt x="217" y="21"/>
                  </a:lnTo>
                  <a:lnTo>
                    <a:pt x="217" y="26"/>
                  </a:lnTo>
                  <a:lnTo>
                    <a:pt x="217" y="27"/>
                  </a:lnTo>
                  <a:lnTo>
                    <a:pt x="217" y="31"/>
                  </a:lnTo>
                  <a:lnTo>
                    <a:pt x="217" y="36"/>
                  </a:lnTo>
                  <a:lnTo>
                    <a:pt x="217" y="41"/>
                  </a:lnTo>
                  <a:lnTo>
                    <a:pt x="217" y="45"/>
                  </a:lnTo>
                  <a:lnTo>
                    <a:pt x="217" y="46"/>
                  </a:lnTo>
                  <a:lnTo>
                    <a:pt x="217" y="48"/>
                  </a:lnTo>
                  <a:lnTo>
                    <a:pt x="217" y="50"/>
                  </a:lnTo>
                  <a:lnTo>
                    <a:pt x="217" y="52"/>
                  </a:lnTo>
                  <a:lnTo>
                    <a:pt x="217" y="52"/>
                  </a:lnTo>
                  <a:lnTo>
                    <a:pt x="217" y="53"/>
                  </a:lnTo>
                  <a:lnTo>
                    <a:pt x="217" y="55"/>
                  </a:lnTo>
                  <a:lnTo>
                    <a:pt x="217" y="60"/>
                  </a:lnTo>
                  <a:lnTo>
                    <a:pt x="217" y="67"/>
                  </a:lnTo>
                  <a:lnTo>
                    <a:pt x="217" y="67"/>
                  </a:lnTo>
                  <a:lnTo>
                    <a:pt x="217" y="70"/>
                  </a:lnTo>
                  <a:lnTo>
                    <a:pt x="217" y="76"/>
                  </a:lnTo>
                  <a:lnTo>
                    <a:pt x="217" y="81"/>
                  </a:lnTo>
                  <a:lnTo>
                    <a:pt x="217" y="88"/>
                  </a:lnTo>
                  <a:lnTo>
                    <a:pt x="217" y="93"/>
                  </a:lnTo>
                  <a:lnTo>
                    <a:pt x="217" y="93"/>
                  </a:lnTo>
                  <a:lnTo>
                    <a:pt x="217" y="96"/>
                  </a:lnTo>
                  <a:lnTo>
                    <a:pt x="217" y="101"/>
                  </a:lnTo>
                  <a:lnTo>
                    <a:pt x="217" y="108"/>
                  </a:lnTo>
                  <a:lnTo>
                    <a:pt x="217" y="120"/>
                  </a:lnTo>
                  <a:lnTo>
                    <a:pt x="217" y="127"/>
                  </a:lnTo>
                  <a:lnTo>
                    <a:pt x="217" y="127"/>
                  </a:lnTo>
                  <a:lnTo>
                    <a:pt x="217" y="129"/>
                  </a:lnTo>
                  <a:lnTo>
                    <a:pt x="217" y="134"/>
                  </a:lnTo>
                  <a:lnTo>
                    <a:pt x="217" y="138"/>
                  </a:lnTo>
                  <a:lnTo>
                    <a:pt x="217" y="148"/>
                  </a:lnTo>
                  <a:lnTo>
                    <a:pt x="217" y="158"/>
                  </a:lnTo>
                  <a:lnTo>
                    <a:pt x="217" y="162"/>
                  </a:lnTo>
                  <a:lnTo>
                    <a:pt x="217" y="163"/>
                  </a:lnTo>
                  <a:lnTo>
                    <a:pt x="217" y="172"/>
                  </a:lnTo>
                  <a:lnTo>
                    <a:pt x="217" y="177"/>
                  </a:lnTo>
                  <a:lnTo>
                    <a:pt x="217" y="182"/>
                  </a:lnTo>
                  <a:lnTo>
                    <a:pt x="217" y="187"/>
                  </a:lnTo>
                  <a:lnTo>
                    <a:pt x="217" y="193"/>
                  </a:lnTo>
                  <a:lnTo>
                    <a:pt x="217" y="193"/>
                  </a:lnTo>
                  <a:lnTo>
                    <a:pt x="210" y="193"/>
                  </a:lnTo>
                  <a:lnTo>
                    <a:pt x="203" y="193"/>
                  </a:lnTo>
                  <a:lnTo>
                    <a:pt x="194" y="193"/>
                  </a:lnTo>
                  <a:lnTo>
                    <a:pt x="191" y="193"/>
                  </a:lnTo>
                  <a:lnTo>
                    <a:pt x="186" y="193"/>
                  </a:lnTo>
                  <a:lnTo>
                    <a:pt x="184" y="193"/>
                  </a:lnTo>
                  <a:lnTo>
                    <a:pt x="181" y="193"/>
                  </a:lnTo>
                  <a:lnTo>
                    <a:pt x="179" y="193"/>
                  </a:lnTo>
                  <a:lnTo>
                    <a:pt x="175" y="193"/>
                  </a:lnTo>
                  <a:lnTo>
                    <a:pt x="170" y="194"/>
                  </a:lnTo>
                  <a:lnTo>
                    <a:pt x="167" y="194"/>
                  </a:lnTo>
                  <a:lnTo>
                    <a:pt x="158" y="194"/>
                  </a:lnTo>
                  <a:lnTo>
                    <a:pt x="153" y="194"/>
                  </a:lnTo>
                  <a:lnTo>
                    <a:pt x="150" y="194"/>
                  </a:lnTo>
                  <a:lnTo>
                    <a:pt x="144" y="194"/>
                  </a:lnTo>
                  <a:lnTo>
                    <a:pt x="141" y="194"/>
                  </a:lnTo>
                  <a:lnTo>
                    <a:pt x="136" y="194"/>
                  </a:lnTo>
                  <a:lnTo>
                    <a:pt x="131" y="194"/>
                  </a:lnTo>
                  <a:lnTo>
                    <a:pt x="129" y="194"/>
                  </a:lnTo>
                  <a:lnTo>
                    <a:pt x="126" y="194"/>
                  </a:lnTo>
                  <a:lnTo>
                    <a:pt x="126" y="194"/>
                  </a:lnTo>
                  <a:lnTo>
                    <a:pt x="120" y="194"/>
                  </a:lnTo>
                  <a:lnTo>
                    <a:pt x="115" y="194"/>
                  </a:lnTo>
                  <a:lnTo>
                    <a:pt x="112" y="194"/>
                  </a:lnTo>
                  <a:lnTo>
                    <a:pt x="105" y="194"/>
                  </a:lnTo>
                  <a:lnTo>
                    <a:pt x="103" y="194"/>
                  </a:lnTo>
                  <a:lnTo>
                    <a:pt x="100" y="194"/>
                  </a:lnTo>
                  <a:lnTo>
                    <a:pt x="98" y="194"/>
                  </a:lnTo>
                  <a:lnTo>
                    <a:pt x="96" y="194"/>
                  </a:lnTo>
                  <a:lnTo>
                    <a:pt x="96" y="196"/>
                  </a:lnTo>
                  <a:lnTo>
                    <a:pt x="93" y="196"/>
                  </a:lnTo>
                  <a:lnTo>
                    <a:pt x="91" y="196"/>
                  </a:lnTo>
                  <a:lnTo>
                    <a:pt x="89" y="196"/>
                  </a:lnTo>
                  <a:lnTo>
                    <a:pt x="88" y="196"/>
                  </a:lnTo>
                  <a:lnTo>
                    <a:pt x="86" y="196"/>
                  </a:lnTo>
                  <a:lnTo>
                    <a:pt x="84" y="196"/>
                  </a:lnTo>
                  <a:lnTo>
                    <a:pt x="81" y="196"/>
                  </a:lnTo>
                  <a:lnTo>
                    <a:pt x="76" y="196"/>
                  </a:lnTo>
                  <a:lnTo>
                    <a:pt x="69" y="196"/>
                  </a:lnTo>
                  <a:lnTo>
                    <a:pt x="65" y="196"/>
                  </a:lnTo>
                  <a:lnTo>
                    <a:pt x="58" y="196"/>
                  </a:lnTo>
                  <a:lnTo>
                    <a:pt x="57" y="196"/>
                  </a:lnTo>
                  <a:lnTo>
                    <a:pt x="55" y="196"/>
                  </a:lnTo>
                  <a:lnTo>
                    <a:pt x="53" y="196"/>
                  </a:lnTo>
                  <a:lnTo>
                    <a:pt x="48" y="196"/>
                  </a:lnTo>
                  <a:lnTo>
                    <a:pt x="43" y="196"/>
                  </a:lnTo>
                  <a:lnTo>
                    <a:pt x="38" y="196"/>
                  </a:lnTo>
                  <a:lnTo>
                    <a:pt x="36" y="196"/>
                  </a:lnTo>
                  <a:lnTo>
                    <a:pt x="29" y="196"/>
                  </a:lnTo>
                  <a:lnTo>
                    <a:pt x="21" y="196"/>
                  </a:lnTo>
                  <a:lnTo>
                    <a:pt x="21" y="194"/>
                  </a:lnTo>
                  <a:lnTo>
                    <a:pt x="22" y="194"/>
                  </a:lnTo>
                  <a:lnTo>
                    <a:pt x="22" y="193"/>
                  </a:lnTo>
                  <a:lnTo>
                    <a:pt x="21" y="193"/>
                  </a:lnTo>
                  <a:lnTo>
                    <a:pt x="21" y="191"/>
                  </a:lnTo>
                  <a:lnTo>
                    <a:pt x="21" y="189"/>
                  </a:lnTo>
                  <a:lnTo>
                    <a:pt x="21" y="187"/>
                  </a:lnTo>
                  <a:lnTo>
                    <a:pt x="21" y="187"/>
                  </a:lnTo>
                  <a:lnTo>
                    <a:pt x="21" y="186"/>
                  </a:lnTo>
                  <a:lnTo>
                    <a:pt x="21" y="184"/>
                  </a:lnTo>
                  <a:lnTo>
                    <a:pt x="21" y="184"/>
                  </a:lnTo>
                  <a:lnTo>
                    <a:pt x="21" y="186"/>
                  </a:lnTo>
                  <a:lnTo>
                    <a:pt x="21" y="184"/>
                  </a:lnTo>
                  <a:lnTo>
                    <a:pt x="22" y="182"/>
                  </a:lnTo>
                  <a:lnTo>
                    <a:pt x="21" y="182"/>
                  </a:lnTo>
                  <a:lnTo>
                    <a:pt x="21" y="181"/>
                  </a:lnTo>
                  <a:lnTo>
                    <a:pt x="21" y="179"/>
                  </a:lnTo>
                  <a:lnTo>
                    <a:pt x="21" y="179"/>
                  </a:lnTo>
                  <a:lnTo>
                    <a:pt x="21" y="177"/>
                  </a:lnTo>
                  <a:lnTo>
                    <a:pt x="21" y="175"/>
                  </a:lnTo>
                  <a:lnTo>
                    <a:pt x="21" y="175"/>
                  </a:lnTo>
                  <a:lnTo>
                    <a:pt x="21" y="172"/>
                  </a:lnTo>
                  <a:lnTo>
                    <a:pt x="21" y="172"/>
                  </a:lnTo>
                  <a:lnTo>
                    <a:pt x="21" y="172"/>
                  </a:lnTo>
                  <a:lnTo>
                    <a:pt x="22" y="172"/>
                  </a:lnTo>
                  <a:lnTo>
                    <a:pt x="21" y="172"/>
                  </a:lnTo>
                  <a:lnTo>
                    <a:pt x="21" y="170"/>
                  </a:lnTo>
                  <a:lnTo>
                    <a:pt x="21" y="169"/>
                  </a:lnTo>
                  <a:lnTo>
                    <a:pt x="21" y="167"/>
                  </a:lnTo>
                  <a:lnTo>
                    <a:pt x="21" y="167"/>
                  </a:lnTo>
                  <a:lnTo>
                    <a:pt x="21" y="165"/>
                  </a:lnTo>
                  <a:lnTo>
                    <a:pt x="21" y="165"/>
                  </a:lnTo>
                  <a:lnTo>
                    <a:pt x="21" y="163"/>
                  </a:lnTo>
                  <a:lnTo>
                    <a:pt x="21" y="162"/>
                  </a:lnTo>
                  <a:lnTo>
                    <a:pt x="21" y="160"/>
                  </a:lnTo>
                  <a:lnTo>
                    <a:pt x="21" y="158"/>
                  </a:lnTo>
                  <a:lnTo>
                    <a:pt x="21" y="156"/>
                  </a:lnTo>
                  <a:lnTo>
                    <a:pt x="21" y="156"/>
                  </a:lnTo>
                  <a:lnTo>
                    <a:pt x="21" y="156"/>
                  </a:lnTo>
                  <a:lnTo>
                    <a:pt x="22" y="156"/>
                  </a:lnTo>
                  <a:lnTo>
                    <a:pt x="22" y="156"/>
                  </a:lnTo>
                  <a:lnTo>
                    <a:pt x="21" y="156"/>
                  </a:lnTo>
                  <a:lnTo>
                    <a:pt x="21" y="158"/>
                  </a:lnTo>
                  <a:lnTo>
                    <a:pt x="22" y="158"/>
                  </a:lnTo>
                  <a:lnTo>
                    <a:pt x="22" y="156"/>
                  </a:lnTo>
                  <a:lnTo>
                    <a:pt x="24" y="156"/>
                  </a:lnTo>
                  <a:lnTo>
                    <a:pt x="26" y="156"/>
                  </a:lnTo>
                  <a:lnTo>
                    <a:pt x="26" y="156"/>
                  </a:lnTo>
                  <a:lnTo>
                    <a:pt x="27" y="156"/>
                  </a:lnTo>
                  <a:lnTo>
                    <a:pt x="27" y="158"/>
                  </a:lnTo>
                  <a:lnTo>
                    <a:pt x="29" y="158"/>
                  </a:lnTo>
                  <a:lnTo>
                    <a:pt x="29" y="156"/>
                  </a:lnTo>
                  <a:lnTo>
                    <a:pt x="31" y="156"/>
                  </a:lnTo>
                  <a:lnTo>
                    <a:pt x="33" y="156"/>
                  </a:lnTo>
                  <a:lnTo>
                    <a:pt x="33" y="155"/>
                  </a:lnTo>
                  <a:lnTo>
                    <a:pt x="31" y="155"/>
                  </a:lnTo>
                  <a:lnTo>
                    <a:pt x="29" y="153"/>
                  </a:lnTo>
                  <a:lnTo>
                    <a:pt x="27" y="153"/>
                  </a:lnTo>
                  <a:lnTo>
                    <a:pt x="26" y="153"/>
                  </a:lnTo>
                  <a:lnTo>
                    <a:pt x="26" y="151"/>
                  </a:lnTo>
                  <a:lnTo>
                    <a:pt x="24" y="151"/>
                  </a:lnTo>
                  <a:lnTo>
                    <a:pt x="24" y="150"/>
                  </a:lnTo>
                  <a:lnTo>
                    <a:pt x="24" y="148"/>
                  </a:lnTo>
                  <a:lnTo>
                    <a:pt x="24" y="146"/>
                  </a:lnTo>
                  <a:lnTo>
                    <a:pt x="26" y="146"/>
                  </a:lnTo>
                  <a:lnTo>
                    <a:pt x="26" y="148"/>
                  </a:lnTo>
                  <a:lnTo>
                    <a:pt x="26" y="150"/>
                  </a:lnTo>
                  <a:lnTo>
                    <a:pt x="27" y="150"/>
                  </a:lnTo>
                  <a:lnTo>
                    <a:pt x="27" y="148"/>
                  </a:lnTo>
                  <a:lnTo>
                    <a:pt x="27" y="146"/>
                  </a:lnTo>
                  <a:lnTo>
                    <a:pt x="29" y="146"/>
                  </a:lnTo>
                  <a:lnTo>
                    <a:pt x="31" y="146"/>
                  </a:lnTo>
                  <a:lnTo>
                    <a:pt x="33" y="146"/>
                  </a:lnTo>
                  <a:lnTo>
                    <a:pt x="33" y="144"/>
                  </a:lnTo>
                  <a:lnTo>
                    <a:pt x="31" y="144"/>
                  </a:lnTo>
                  <a:lnTo>
                    <a:pt x="29" y="144"/>
                  </a:lnTo>
                  <a:lnTo>
                    <a:pt x="29" y="143"/>
                  </a:lnTo>
                  <a:lnTo>
                    <a:pt x="29" y="141"/>
                  </a:lnTo>
                  <a:lnTo>
                    <a:pt x="27" y="141"/>
                  </a:lnTo>
                  <a:lnTo>
                    <a:pt x="26" y="141"/>
                  </a:lnTo>
                  <a:lnTo>
                    <a:pt x="27" y="141"/>
                  </a:lnTo>
                  <a:lnTo>
                    <a:pt x="26" y="141"/>
                  </a:lnTo>
                  <a:lnTo>
                    <a:pt x="24" y="139"/>
                  </a:lnTo>
                  <a:lnTo>
                    <a:pt x="22" y="139"/>
                  </a:lnTo>
                  <a:lnTo>
                    <a:pt x="21" y="139"/>
                  </a:lnTo>
                  <a:lnTo>
                    <a:pt x="21" y="138"/>
                  </a:lnTo>
                  <a:lnTo>
                    <a:pt x="21" y="138"/>
                  </a:lnTo>
                  <a:lnTo>
                    <a:pt x="19" y="138"/>
                  </a:lnTo>
                  <a:lnTo>
                    <a:pt x="17" y="138"/>
                  </a:lnTo>
                  <a:lnTo>
                    <a:pt x="17" y="136"/>
                  </a:lnTo>
                  <a:lnTo>
                    <a:pt x="15" y="136"/>
                  </a:lnTo>
                  <a:lnTo>
                    <a:pt x="15" y="134"/>
                  </a:lnTo>
                  <a:lnTo>
                    <a:pt x="17" y="134"/>
                  </a:lnTo>
                  <a:lnTo>
                    <a:pt x="17" y="132"/>
                  </a:lnTo>
                  <a:lnTo>
                    <a:pt x="15" y="132"/>
                  </a:lnTo>
                  <a:lnTo>
                    <a:pt x="14" y="132"/>
                  </a:lnTo>
                  <a:lnTo>
                    <a:pt x="12" y="132"/>
                  </a:lnTo>
                  <a:lnTo>
                    <a:pt x="12" y="131"/>
                  </a:lnTo>
                  <a:lnTo>
                    <a:pt x="10" y="131"/>
                  </a:lnTo>
                  <a:lnTo>
                    <a:pt x="10" y="129"/>
                  </a:lnTo>
                  <a:lnTo>
                    <a:pt x="12" y="129"/>
                  </a:lnTo>
                  <a:lnTo>
                    <a:pt x="14" y="129"/>
                  </a:lnTo>
                  <a:lnTo>
                    <a:pt x="14" y="127"/>
                  </a:lnTo>
                  <a:lnTo>
                    <a:pt x="14" y="127"/>
                  </a:lnTo>
                  <a:lnTo>
                    <a:pt x="14" y="127"/>
                  </a:lnTo>
                  <a:lnTo>
                    <a:pt x="15" y="127"/>
                  </a:lnTo>
                  <a:lnTo>
                    <a:pt x="15" y="127"/>
                  </a:lnTo>
                  <a:lnTo>
                    <a:pt x="15" y="126"/>
                  </a:lnTo>
                  <a:lnTo>
                    <a:pt x="14" y="126"/>
                  </a:lnTo>
                  <a:lnTo>
                    <a:pt x="12" y="126"/>
                  </a:lnTo>
                  <a:lnTo>
                    <a:pt x="10" y="126"/>
                  </a:lnTo>
                  <a:lnTo>
                    <a:pt x="10" y="124"/>
                  </a:lnTo>
                  <a:lnTo>
                    <a:pt x="10" y="122"/>
                  </a:lnTo>
                  <a:lnTo>
                    <a:pt x="9" y="122"/>
                  </a:lnTo>
                  <a:lnTo>
                    <a:pt x="7" y="122"/>
                  </a:lnTo>
                  <a:lnTo>
                    <a:pt x="7" y="120"/>
                  </a:lnTo>
                  <a:lnTo>
                    <a:pt x="5" y="120"/>
                  </a:lnTo>
                  <a:lnTo>
                    <a:pt x="5" y="119"/>
                  </a:lnTo>
                  <a:lnTo>
                    <a:pt x="5" y="117"/>
                  </a:lnTo>
                  <a:lnTo>
                    <a:pt x="7" y="117"/>
                  </a:lnTo>
                  <a:lnTo>
                    <a:pt x="7" y="115"/>
                  </a:lnTo>
                  <a:lnTo>
                    <a:pt x="9" y="115"/>
                  </a:lnTo>
                  <a:lnTo>
                    <a:pt x="9" y="117"/>
                  </a:lnTo>
                  <a:lnTo>
                    <a:pt x="10" y="117"/>
                  </a:lnTo>
                  <a:lnTo>
                    <a:pt x="10" y="115"/>
                  </a:lnTo>
                  <a:lnTo>
                    <a:pt x="10" y="113"/>
                  </a:lnTo>
                  <a:lnTo>
                    <a:pt x="10" y="115"/>
                  </a:lnTo>
                  <a:lnTo>
                    <a:pt x="9" y="115"/>
                  </a:lnTo>
                  <a:lnTo>
                    <a:pt x="9" y="113"/>
                  </a:lnTo>
                  <a:lnTo>
                    <a:pt x="10" y="113"/>
                  </a:lnTo>
                  <a:lnTo>
                    <a:pt x="10" y="112"/>
                  </a:lnTo>
                  <a:lnTo>
                    <a:pt x="10" y="112"/>
                  </a:lnTo>
                  <a:lnTo>
                    <a:pt x="9" y="112"/>
                  </a:lnTo>
                  <a:lnTo>
                    <a:pt x="9" y="110"/>
                  </a:lnTo>
                  <a:lnTo>
                    <a:pt x="7" y="110"/>
                  </a:lnTo>
                  <a:lnTo>
                    <a:pt x="5" y="110"/>
                  </a:lnTo>
                  <a:lnTo>
                    <a:pt x="7" y="110"/>
                  </a:lnTo>
                  <a:lnTo>
                    <a:pt x="7" y="108"/>
                  </a:lnTo>
                  <a:lnTo>
                    <a:pt x="5" y="108"/>
                  </a:lnTo>
                  <a:lnTo>
                    <a:pt x="5" y="107"/>
                  </a:lnTo>
                  <a:lnTo>
                    <a:pt x="9" y="105"/>
                  </a:lnTo>
                  <a:lnTo>
                    <a:pt x="10" y="105"/>
                  </a:lnTo>
                  <a:lnTo>
                    <a:pt x="10" y="103"/>
                  </a:lnTo>
                  <a:lnTo>
                    <a:pt x="10" y="105"/>
                  </a:lnTo>
                  <a:lnTo>
                    <a:pt x="12" y="105"/>
                  </a:lnTo>
                  <a:lnTo>
                    <a:pt x="12" y="103"/>
                  </a:lnTo>
                  <a:lnTo>
                    <a:pt x="10" y="103"/>
                  </a:lnTo>
                  <a:lnTo>
                    <a:pt x="10" y="101"/>
                  </a:lnTo>
                  <a:lnTo>
                    <a:pt x="12" y="101"/>
                  </a:lnTo>
                  <a:lnTo>
                    <a:pt x="12" y="100"/>
                  </a:lnTo>
                  <a:lnTo>
                    <a:pt x="12" y="98"/>
                  </a:lnTo>
                  <a:lnTo>
                    <a:pt x="10" y="100"/>
                  </a:lnTo>
                  <a:lnTo>
                    <a:pt x="9" y="100"/>
                  </a:lnTo>
                  <a:lnTo>
                    <a:pt x="9" y="98"/>
                  </a:lnTo>
                  <a:lnTo>
                    <a:pt x="10" y="96"/>
                  </a:lnTo>
                  <a:lnTo>
                    <a:pt x="9" y="96"/>
                  </a:lnTo>
                  <a:lnTo>
                    <a:pt x="9" y="95"/>
                  </a:lnTo>
                  <a:lnTo>
                    <a:pt x="10" y="95"/>
                  </a:lnTo>
                  <a:lnTo>
                    <a:pt x="10" y="96"/>
                  </a:lnTo>
                  <a:lnTo>
                    <a:pt x="10" y="95"/>
                  </a:lnTo>
                  <a:lnTo>
                    <a:pt x="10" y="93"/>
                  </a:lnTo>
                  <a:lnTo>
                    <a:pt x="10" y="91"/>
                  </a:lnTo>
                  <a:lnTo>
                    <a:pt x="10" y="89"/>
                  </a:lnTo>
                  <a:lnTo>
                    <a:pt x="10" y="88"/>
                  </a:lnTo>
                  <a:lnTo>
                    <a:pt x="12" y="88"/>
                  </a:lnTo>
                  <a:lnTo>
                    <a:pt x="12" y="89"/>
                  </a:lnTo>
                  <a:lnTo>
                    <a:pt x="10" y="89"/>
                  </a:lnTo>
                  <a:lnTo>
                    <a:pt x="10" y="91"/>
                  </a:lnTo>
                  <a:lnTo>
                    <a:pt x="12" y="91"/>
                  </a:lnTo>
                  <a:lnTo>
                    <a:pt x="12" y="93"/>
                  </a:lnTo>
                  <a:lnTo>
                    <a:pt x="14" y="91"/>
                  </a:lnTo>
                  <a:lnTo>
                    <a:pt x="14" y="89"/>
                  </a:lnTo>
                  <a:lnTo>
                    <a:pt x="14" y="88"/>
                  </a:lnTo>
                  <a:lnTo>
                    <a:pt x="14" y="86"/>
                  </a:lnTo>
                  <a:lnTo>
                    <a:pt x="15" y="86"/>
                  </a:lnTo>
                  <a:lnTo>
                    <a:pt x="15" y="88"/>
                  </a:lnTo>
                  <a:lnTo>
                    <a:pt x="15" y="86"/>
                  </a:lnTo>
                  <a:lnTo>
                    <a:pt x="15" y="84"/>
                  </a:lnTo>
                  <a:lnTo>
                    <a:pt x="17" y="84"/>
                  </a:lnTo>
                  <a:lnTo>
                    <a:pt x="19" y="84"/>
                  </a:lnTo>
                  <a:lnTo>
                    <a:pt x="19" y="86"/>
                  </a:lnTo>
                  <a:lnTo>
                    <a:pt x="21" y="88"/>
                  </a:lnTo>
                  <a:lnTo>
                    <a:pt x="21" y="86"/>
                  </a:lnTo>
                  <a:lnTo>
                    <a:pt x="21" y="88"/>
                  </a:lnTo>
                  <a:lnTo>
                    <a:pt x="21" y="86"/>
                  </a:lnTo>
                  <a:lnTo>
                    <a:pt x="21" y="84"/>
                  </a:lnTo>
                  <a:lnTo>
                    <a:pt x="21" y="82"/>
                  </a:lnTo>
                  <a:lnTo>
                    <a:pt x="21" y="81"/>
                  </a:lnTo>
                  <a:lnTo>
                    <a:pt x="22" y="81"/>
                  </a:lnTo>
                  <a:lnTo>
                    <a:pt x="24" y="81"/>
                  </a:lnTo>
                  <a:lnTo>
                    <a:pt x="24" y="79"/>
                  </a:lnTo>
                  <a:lnTo>
                    <a:pt x="24" y="77"/>
                  </a:lnTo>
                  <a:lnTo>
                    <a:pt x="26" y="76"/>
                  </a:lnTo>
                  <a:lnTo>
                    <a:pt x="24" y="76"/>
                  </a:lnTo>
                  <a:lnTo>
                    <a:pt x="24" y="77"/>
                  </a:lnTo>
                  <a:lnTo>
                    <a:pt x="22" y="77"/>
                  </a:lnTo>
                  <a:lnTo>
                    <a:pt x="21" y="77"/>
                  </a:lnTo>
                  <a:lnTo>
                    <a:pt x="21" y="76"/>
                  </a:lnTo>
                  <a:lnTo>
                    <a:pt x="22" y="76"/>
                  </a:lnTo>
                  <a:lnTo>
                    <a:pt x="22" y="74"/>
                  </a:lnTo>
                  <a:lnTo>
                    <a:pt x="21" y="74"/>
                  </a:lnTo>
                  <a:lnTo>
                    <a:pt x="21" y="74"/>
                  </a:lnTo>
                  <a:lnTo>
                    <a:pt x="21" y="72"/>
                  </a:lnTo>
                  <a:lnTo>
                    <a:pt x="21" y="72"/>
                  </a:lnTo>
                  <a:lnTo>
                    <a:pt x="21" y="70"/>
                  </a:lnTo>
                  <a:lnTo>
                    <a:pt x="21" y="69"/>
                  </a:lnTo>
                  <a:lnTo>
                    <a:pt x="21" y="67"/>
                  </a:lnTo>
                  <a:lnTo>
                    <a:pt x="21" y="67"/>
                  </a:lnTo>
                  <a:lnTo>
                    <a:pt x="21" y="67"/>
                  </a:lnTo>
                  <a:lnTo>
                    <a:pt x="21" y="65"/>
                  </a:lnTo>
                  <a:lnTo>
                    <a:pt x="21" y="65"/>
                  </a:lnTo>
                  <a:lnTo>
                    <a:pt x="21" y="64"/>
                  </a:lnTo>
                  <a:lnTo>
                    <a:pt x="19" y="64"/>
                  </a:lnTo>
                  <a:lnTo>
                    <a:pt x="21" y="64"/>
                  </a:lnTo>
                  <a:lnTo>
                    <a:pt x="21" y="62"/>
                  </a:lnTo>
                  <a:lnTo>
                    <a:pt x="21" y="62"/>
                  </a:lnTo>
                  <a:lnTo>
                    <a:pt x="22" y="62"/>
                  </a:lnTo>
                  <a:lnTo>
                    <a:pt x="24" y="62"/>
                  </a:lnTo>
                  <a:lnTo>
                    <a:pt x="24" y="64"/>
                  </a:lnTo>
                  <a:lnTo>
                    <a:pt x="26" y="62"/>
                  </a:lnTo>
                  <a:lnTo>
                    <a:pt x="27" y="62"/>
                  </a:lnTo>
                  <a:lnTo>
                    <a:pt x="29" y="62"/>
                  </a:lnTo>
                  <a:lnTo>
                    <a:pt x="29" y="60"/>
                  </a:lnTo>
                  <a:lnTo>
                    <a:pt x="27" y="60"/>
                  </a:lnTo>
                  <a:lnTo>
                    <a:pt x="27" y="58"/>
                  </a:lnTo>
                  <a:lnTo>
                    <a:pt x="26" y="58"/>
                  </a:lnTo>
                  <a:lnTo>
                    <a:pt x="24" y="58"/>
                  </a:lnTo>
                  <a:lnTo>
                    <a:pt x="24" y="57"/>
                  </a:lnTo>
                  <a:lnTo>
                    <a:pt x="24" y="58"/>
                  </a:lnTo>
                  <a:lnTo>
                    <a:pt x="22" y="58"/>
                  </a:lnTo>
                  <a:lnTo>
                    <a:pt x="22" y="57"/>
                  </a:lnTo>
                  <a:lnTo>
                    <a:pt x="21" y="57"/>
                  </a:lnTo>
                  <a:lnTo>
                    <a:pt x="21" y="57"/>
                  </a:lnTo>
                  <a:lnTo>
                    <a:pt x="19" y="57"/>
                  </a:lnTo>
                  <a:lnTo>
                    <a:pt x="17" y="57"/>
                  </a:lnTo>
                  <a:lnTo>
                    <a:pt x="17" y="55"/>
                  </a:lnTo>
                  <a:lnTo>
                    <a:pt x="15" y="55"/>
                  </a:lnTo>
                  <a:lnTo>
                    <a:pt x="14" y="55"/>
                  </a:lnTo>
                  <a:lnTo>
                    <a:pt x="12" y="55"/>
                  </a:lnTo>
                  <a:lnTo>
                    <a:pt x="12" y="53"/>
                  </a:lnTo>
                  <a:lnTo>
                    <a:pt x="12" y="52"/>
                  </a:lnTo>
                  <a:lnTo>
                    <a:pt x="12" y="52"/>
                  </a:lnTo>
                  <a:lnTo>
                    <a:pt x="12" y="52"/>
                  </a:lnTo>
                  <a:lnTo>
                    <a:pt x="10" y="52"/>
                  </a:lnTo>
                  <a:lnTo>
                    <a:pt x="10" y="52"/>
                  </a:lnTo>
                  <a:lnTo>
                    <a:pt x="9" y="52"/>
                  </a:lnTo>
                  <a:lnTo>
                    <a:pt x="7" y="52"/>
                  </a:lnTo>
                  <a:lnTo>
                    <a:pt x="7" y="50"/>
                  </a:lnTo>
                  <a:lnTo>
                    <a:pt x="7" y="48"/>
                  </a:lnTo>
                  <a:lnTo>
                    <a:pt x="7" y="50"/>
                  </a:lnTo>
                  <a:lnTo>
                    <a:pt x="9" y="50"/>
                  </a:lnTo>
                  <a:lnTo>
                    <a:pt x="10" y="50"/>
                  </a:lnTo>
                  <a:lnTo>
                    <a:pt x="10" y="48"/>
                  </a:lnTo>
                  <a:lnTo>
                    <a:pt x="9" y="48"/>
                  </a:lnTo>
                  <a:lnTo>
                    <a:pt x="10" y="46"/>
                  </a:lnTo>
                  <a:lnTo>
                    <a:pt x="10" y="48"/>
                  </a:lnTo>
                  <a:lnTo>
                    <a:pt x="10" y="46"/>
                  </a:lnTo>
                  <a:lnTo>
                    <a:pt x="12" y="46"/>
                  </a:lnTo>
                  <a:lnTo>
                    <a:pt x="12" y="45"/>
                  </a:lnTo>
                  <a:lnTo>
                    <a:pt x="14" y="45"/>
                  </a:lnTo>
                  <a:lnTo>
                    <a:pt x="14" y="43"/>
                  </a:lnTo>
                  <a:lnTo>
                    <a:pt x="14" y="41"/>
                  </a:lnTo>
                  <a:lnTo>
                    <a:pt x="14" y="39"/>
                  </a:lnTo>
                  <a:lnTo>
                    <a:pt x="14" y="38"/>
                  </a:lnTo>
                  <a:lnTo>
                    <a:pt x="15" y="38"/>
                  </a:lnTo>
                  <a:lnTo>
                    <a:pt x="17" y="36"/>
                  </a:lnTo>
                  <a:lnTo>
                    <a:pt x="17" y="38"/>
                  </a:lnTo>
                  <a:lnTo>
                    <a:pt x="17" y="36"/>
                  </a:lnTo>
                  <a:lnTo>
                    <a:pt x="19" y="36"/>
                  </a:lnTo>
                  <a:lnTo>
                    <a:pt x="21" y="36"/>
                  </a:lnTo>
                  <a:lnTo>
                    <a:pt x="21" y="38"/>
                  </a:lnTo>
                  <a:lnTo>
                    <a:pt x="21" y="39"/>
                  </a:lnTo>
                  <a:lnTo>
                    <a:pt x="21" y="38"/>
                  </a:lnTo>
                  <a:lnTo>
                    <a:pt x="21" y="38"/>
                  </a:lnTo>
                  <a:lnTo>
                    <a:pt x="21" y="36"/>
                  </a:lnTo>
                  <a:lnTo>
                    <a:pt x="21" y="36"/>
                  </a:lnTo>
                  <a:lnTo>
                    <a:pt x="21" y="36"/>
                  </a:lnTo>
                  <a:lnTo>
                    <a:pt x="21" y="34"/>
                  </a:lnTo>
                  <a:lnTo>
                    <a:pt x="21" y="33"/>
                  </a:lnTo>
                  <a:lnTo>
                    <a:pt x="21" y="31"/>
                  </a:lnTo>
                  <a:lnTo>
                    <a:pt x="21" y="29"/>
                  </a:lnTo>
                  <a:lnTo>
                    <a:pt x="21" y="27"/>
                  </a:lnTo>
                  <a:lnTo>
                    <a:pt x="19" y="26"/>
                  </a:lnTo>
                  <a:lnTo>
                    <a:pt x="17" y="26"/>
                  </a:lnTo>
                  <a:lnTo>
                    <a:pt x="15" y="27"/>
                  </a:lnTo>
                  <a:lnTo>
                    <a:pt x="15" y="29"/>
                  </a:lnTo>
                  <a:lnTo>
                    <a:pt x="14" y="29"/>
                  </a:lnTo>
                  <a:lnTo>
                    <a:pt x="12" y="31"/>
                  </a:lnTo>
                  <a:lnTo>
                    <a:pt x="10" y="31"/>
                  </a:lnTo>
                  <a:lnTo>
                    <a:pt x="9" y="31"/>
                  </a:lnTo>
                  <a:lnTo>
                    <a:pt x="7" y="33"/>
                  </a:lnTo>
                  <a:lnTo>
                    <a:pt x="5" y="33"/>
                  </a:lnTo>
                  <a:lnTo>
                    <a:pt x="3" y="33"/>
                  </a:lnTo>
                  <a:lnTo>
                    <a:pt x="3" y="31"/>
                  </a:lnTo>
                  <a:lnTo>
                    <a:pt x="2" y="31"/>
                  </a:lnTo>
                  <a:lnTo>
                    <a:pt x="2" y="29"/>
                  </a:lnTo>
                  <a:lnTo>
                    <a:pt x="2" y="27"/>
                  </a:lnTo>
                  <a:lnTo>
                    <a:pt x="0" y="27"/>
                  </a:lnTo>
                  <a:lnTo>
                    <a:pt x="0" y="26"/>
                  </a:lnTo>
                  <a:lnTo>
                    <a:pt x="2" y="26"/>
                  </a:lnTo>
                  <a:lnTo>
                    <a:pt x="3" y="27"/>
                  </a:lnTo>
                  <a:lnTo>
                    <a:pt x="5" y="27"/>
                  </a:lnTo>
                  <a:lnTo>
                    <a:pt x="5" y="27"/>
                  </a:lnTo>
                  <a:lnTo>
                    <a:pt x="7" y="27"/>
                  </a:lnTo>
                  <a:lnTo>
                    <a:pt x="9" y="26"/>
                  </a:lnTo>
                  <a:lnTo>
                    <a:pt x="10" y="26"/>
                  </a:lnTo>
                  <a:lnTo>
                    <a:pt x="12" y="24"/>
                  </a:lnTo>
                  <a:lnTo>
                    <a:pt x="14" y="24"/>
                  </a:lnTo>
                  <a:lnTo>
                    <a:pt x="15" y="24"/>
                  </a:lnTo>
                  <a:lnTo>
                    <a:pt x="17" y="24"/>
                  </a:lnTo>
                  <a:lnTo>
                    <a:pt x="17" y="22"/>
                  </a:lnTo>
                  <a:lnTo>
                    <a:pt x="17" y="21"/>
                  </a:lnTo>
                  <a:lnTo>
                    <a:pt x="17" y="21"/>
                  </a:lnTo>
                  <a:lnTo>
                    <a:pt x="17" y="19"/>
                  </a:lnTo>
                  <a:lnTo>
                    <a:pt x="17" y="17"/>
                  </a:lnTo>
                  <a:lnTo>
                    <a:pt x="17" y="19"/>
                  </a:lnTo>
                  <a:lnTo>
                    <a:pt x="17" y="21"/>
                  </a:lnTo>
                  <a:lnTo>
                    <a:pt x="17" y="21"/>
                  </a:lnTo>
                  <a:lnTo>
                    <a:pt x="15" y="22"/>
                  </a:lnTo>
                  <a:lnTo>
                    <a:pt x="14" y="22"/>
                  </a:lnTo>
                  <a:lnTo>
                    <a:pt x="15" y="22"/>
                  </a:lnTo>
                  <a:lnTo>
                    <a:pt x="15" y="21"/>
                  </a:lnTo>
                  <a:lnTo>
                    <a:pt x="14" y="21"/>
                  </a:lnTo>
                  <a:lnTo>
                    <a:pt x="12" y="21"/>
                  </a:lnTo>
                  <a:lnTo>
                    <a:pt x="10" y="21"/>
                  </a:lnTo>
                  <a:lnTo>
                    <a:pt x="10" y="21"/>
                  </a:lnTo>
                  <a:lnTo>
                    <a:pt x="10" y="19"/>
                  </a:lnTo>
                  <a:lnTo>
                    <a:pt x="10" y="17"/>
                  </a:lnTo>
                  <a:lnTo>
                    <a:pt x="10" y="15"/>
                  </a:lnTo>
                  <a:lnTo>
                    <a:pt x="10" y="17"/>
                  </a:lnTo>
                  <a:lnTo>
                    <a:pt x="10" y="15"/>
                  </a:lnTo>
                  <a:lnTo>
                    <a:pt x="9" y="15"/>
                  </a:lnTo>
                  <a:lnTo>
                    <a:pt x="10" y="15"/>
                  </a:lnTo>
                  <a:lnTo>
                    <a:pt x="10" y="14"/>
                  </a:lnTo>
                  <a:lnTo>
                    <a:pt x="9" y="14"/>
                  </a:lnTo>
                  <a:lnTo>
                    <a:pt x="7" y="14"/>
                  </a:lnTo>
                  <a:lnTo>
                    <a:pt x="5" y="12"/>
                  </a:lnTo>
                  <a:lnTo>
                    <a:pt x="5" y="12"/>
                  </a:lnTo>
                  <a:lnTo>
                    <a:pt x="3" y="12"/>
                  </a:lnTo>
                  <a:lnTo>
                    <a:pt x="0" y="12"/>
                  </a:lnTo>
                  <a:lnTo>
                    <a:pt x="0" y="10"/>
                  </a:lnTo>
                  <a:lnTo>
                    <a:pt x="2" y="10"/>
                  </a:lnTo>
                  <a:lnTo>
                    <a:pt x="2" y="9"/>
                  </a:lnTo>
                  <a:lnTo>
                    <a:pt x="3" y="9"/>
                  </a:lnTo>
                  <a:lnTo>
                    <a:pt x="3" y="7"/>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1" name="Freeform 139"/>
            <p:cNvSpPr>
              <a:spLocks/>
            </p:cNvSpPr>
            <p:nvPr/>
          </p:nvSpPr>
          <p:spPr bwMode="auto">
            <a:xfrm>
              <a:off x="4780846" y="912606"/>
              <a:ext cx="663575" cy="303213"/>
            </a:xfrm>
            <a:custGeom>
              <a:avLst/>
              <a:gdLst/>
              <a:ahLst/>
              <a:cxnLst>
                <a:cxn ang="0">
                  <a:pos x="34" y="7"/>
                </a:cxn>
                <a:cxn ang="0">
                  <a:pos x="74" y="7"/>
                </a:cxn>
                <a:cxn ang="0">
                  <a:pos x="113" y="7"/>
                </a:cxn>
                <a:cxn ang="0">
                  <a:pos x="165" y="5"/>
                </a:cxn>
                <a:cxn ang="0">
                  <a:pos x="203" y="3"/>
                </a:cxn>
                <a:cxn ang="0">
                  <a:pos x="246" y="2"/>
                </a:cxn>
                <a:cxn ang="0">
                  <a:pos x="292" y="0"/>
                </a:cxn>
                <a:cxn ang="0">
                  <a:pos x="337" y="0"/>
                </a:cxn>
                <a:cxn ang="0">
                  <a:pos x="380" y="0"/>
                </a:cxn>
                <a:cxn ang="0">
                  <a:pos x="390" y="5"/>
                </a:cxn>
                <a:cxn ang="0">
                  <a:pos x="395" y="8"/>
                </a:cxn>
                <a:cxn ang="0">
                  <a:pos x="399" y="15"/>
                </a:cxn>
                <a:cxn ang="0">
                  <a:pos x="402" y="15"/>
                </a:cxn>
                <a:cxn ang="0">
                  <a:pos x="390" y="20"/>
                </a:cxn>
                <a:cxn ang="0">
                  <a:pos x="388" y="26"/>
                </a:cxn>
                <a:cxn ang="0">
                  <a:pos x="402" y="19"/>
                </a:cxn>
                <a:cxn ang="0">
                  <a:pos x="406" y="29"/>
                </a:cxn>
                <a:cxn ang="0">
                  <a:pos x="402" y="29"/>
                </a:cxn>
                <a:cxn ang="0">
                  <a:pos x="395" y="39"/>
                </a:cxn>
                <a:cxn ang="0">
                  <a:pos x="392" y="43"/>
                </a:cxn>
                <a:cxn ang="0">
                  <a:pos x="397" y="48"/>
                </a:cxn>
                <a:cxn ang="0">
                  <a:pos x="407" y="51"/>
                </a:cxn>
                <a:cxn ang="0">
                  <a:pos x="412" y="55"/>
                </a:cxn>
                <a:cxn ang="0">
                  <a:pos x="406" y="57"/>
                </a:cxn>
                <a:cxn ang="0">
                  <a:pos x="406" y="65"/>
                </a:cxn>
                <a:cxn ang="0">
                  <a:pos x="409" y="69"/>
                </a:cxn>
                <a:cxn ang="0">
                  <a:pos x="406" y="79"/>
                </a:cxn>
                <a:cxn ang="0">
                  <a:pos x="400" y="81"/>
                </a:cxn>
                <a:cxn ang="0">
                  <a:pos x="395" y="82"/>
                </a:cxn>
                <a:cxn ang="0">
                  <a:pos x="395" y="88"/>
                </a:cxn>
                <a:cxn ang="0">
                  <a:pos x="397" y="94"/>
                </a:cxn>
                <a:cxn ang="0">
                  <a:pos x="390" y="100"/>
                </a:cxn>
                <a:cxn ang="0">
                  <a:pos x="395" y="105"/>
                </a:cxn>
                <a:cxn ang="0">
                  <a:pos x="394" y="108"/>
                </a:cxn>
                <a:cxn ang="0">
                  <a:pos x="395" y="115"/>
                </a:cxn>
                <a:cxn ang="0">
                  <a:pos x="399" y="120"/>
                </a:cxn>
                <a:cxn ang="0">
                  <a:pos x="400" y="125"/>
                </a:cxn>
                <a:cxn ang="0">
                  <a:pos x="406" y="131"/>
                </a:cxn>
                <a:cxn ang="0">
                  <a:pos x="414" y="136"/>
                </a:cxn>
                <a:cxn ang="0">
                  <a:pos x="412" y="143"/>
                </a:cxn>
                <a:cxn ang="0">
                  <a:pos x="411" y="146"/>
                </a:cxn>
                <a:cxn ang="0">
                  <a:pos x="412" y="151"/>
                </a:cxn>
                <a:cxn ang="0">
                  <a:pos x="407" y="149"/>
                </a:cxn>
                <a:cxn ang="0">
                  <a:pos x="406" y="158"/>
                </a:cxn>
                <a:cxn ang="0">
                  <a:pos x="406" y="165"/>
                </a:cxn>
                <a:cxn ang="0">
                  <a:pos x="407" y="175"/>
                </a:cxn>
                <a:cxn ang="0">
                  <a:pos x="406" y="184"/>
                </a:cxn>
                <a:cxn ang="0">
                  <a:pos x="390" y="189"/>
                </a:cxn>
                <a:cxn ang="0">
                  <a:pos x="368" y="191"/>
                </a:cxn>
                <a:cxn ang="0">
                  <a:pos x="314" y="191"/>
                </a:cxn>
                <a:cxn ang="0">
                  <a:pos x="306" y="162"/>
                </a:cxn>
                <a:cxn ang="0">
                  <a:pos x="271" y="156"/>
                </a:cxn>
                <a:cxn ang="0">
                  <a:pos x="225" y="158"/>
                </a:cxn>
                <a:cxn ang="0">
                  <a:pos x="201" y="156"/>
                </a:cxn>
                <a:cxn ang="0">
                  <a:pos x="170" y="156"/>
                </a:cxn>
                <a:cxn ang="0">
                  <a:pos x="118" y="156"/>
                </a:cxn>
                <a:cxn ang="0">
                  <a:pos x="84" y="158"/>
                </a:cxn>
                <a:cxn ang="0">
                  <a:pos x="50" y="158"/>
                </a:cxn>
                <a:cxn ang="0">
                  <a:pos x="5" y="153"/>
                </a:cxn>
                <a:cxn ang="0">
                  <a:pos x="5" y="120"/>
                </a:cxn>
                <a:cxn ang="0">
                  <a:pos x="1" y="89"/>
                </a:cxn>
                <a:cxn ang="0">
                  <a:pos x="0" y="51"/>
                </a:cxn>
              </a:cxnLst>
              <a:rect l="0" t="0" r="r" b="b"/>
              <a:pathLst>
                <a:path w="418" h="191">
                  <a:moveTo>
                    <a:pt x="1" y="7"/>
                  </a:moveTo>
                  <a:lnTo>
                    <a:pt x="3" y="7"/>
                  </a:lnTo>
                  <a:lnTo>
                    <a:pt x="8" y="7"/>
                  </a:lnTo>
                  <a:lnTo>
                    <a:pt x="17" y="7"/>
                  </a:lnTo>
                  <a:lnTo>
                    <a:pt x="19" y="7"/>
                  </a:lnTo>
                  <a:lnTo>
                    <a:pt x="20" y="7"/>
                  </a:lnTo>
                  <a:lnTo>
                    <a:pt x="25" y="7"/>
                  </a:lnTo>
                  <a:lnTo>
                    <a:pt x="29" y="7"/>
                  </a:lnTo>
                  <a:lnTo>
                    <a:pt x="34" y="7"/>
                  </a:lnTo>
                  <a:lnTo>
                    <a:pt x="37" y="7"/>
                  </a:lnTo>
                  <a:lnTo>
                    <a:pt x="43" y="7"/>
                  </a:lnTo>
                  <a:lnTo>
                    <a:pt x="51" y="7"/>
                  </a:lnTo>
                  <a:lnTo>
                    <a:pt x="53" y="7"/>
                  </a:lnTo>
                  <a:lnTo>
                    <a:pt x="55" y="7"/>
                  </a:lnTo>
                  <a:lnTo>
                    <a:pt x="58" y="7"/>
                  </a:lnTo>
                  <a:lnTo>
                    <a:pt x="68" y="7"/>
                  </a:lnTo>
                  <a:lnTo>
                    <a:pt x="74" y="7"/>
                  </a:lnTo>
                  <a:lnTo>
                    <a:pt x="74" y="7"/>
                  </a:lnTo>
                  <a:lnTo>
                    <a:pt x="79" y="7"/>
                  </a:lnTo>
                  <a:lnTo>
                    <a:pt x="84" y="7"/>
                  </a:lnTo>
                  <a:lnTo>
                    <a:pt x="86" y="7"/>
                  </a:lnTo>
                  <a:lnTo>
                    <a:pt x="91" y="7"/>
                  </a:lnTo>
                  <a:lnTo>
                    <a:pt x="96" y="7"/>
                  </a:lnTo>
                  <a:lnTo>
                    <a:pt x="101" y="7"/>
                  </a:lnTo>
                  <a:lnTo>
                    <a:pt x="103" y="7"/>
                  </a:lnTo>
                  <a:lnTo>
                    <a:pt x="105" y="7"/>
                  </a:lnTo>
                  <a:lnTo>
                    <a:pt x="113" y="7"/>
                  </a:lnTo>
                  <a:lnTo>
                    <a:pt x="123" y="5"/>
                  </a:lnTo>
                  <a:lnTo>
                    <a:pt x="137" y="5"/>
                  </a:lnTo>
                  <a:lnTo>
                    <a:pt x="141" y="5"/>
                  </a:lnTo>
                  <a:lnTo>
                    <a:pt x="146" y="5"/>
                  </a:lnTo>
                  <a:lnTo>
                    <a:pt x="148" y="5"/>
                  </a:lnTo>
                  <a:lnTo>
                    <a:pt x="149" y="5"/>
                  </a:lnTo>
                  <a:lnTo>
                    <a:pt x="161" y="5"/>
                  </a:lnTo>
                  <a:lnTo>
                    <a:pt x="163" y="5"/>
                  </a:lnTo>
                  <a:lnTo>
                    <a:pt x="165" y="5"/>
                  </a:lnTo>
                  <a:lnTo>
                    <a:pt x="165" y="5"/>
                  </a:lnTo>
                  <a:lnTo>
                    <a:pt x="168" y="5"/>
                  </a:lnTo>
                  <a:lnTo>
                    <a:pt x="170" y="3"/>
                  </a:lnTo>
                  <a:lnTo>
                    <a:pt x="175" y="3"/>
                  </a:lnTo>
                  <a:lnTo>
                    <a:pt x="180" y="3"/>
                  </a:lnTo>
                  <a:lnTo>
                    <a:pt x="185" y="3"/>
                  </a:lnTo>
                  <a:lnTo>
                    <a:pt x="196" y="3"/>
                  </a:lnTo>
                  <a:lnTo>
                    <a:pt x="201" y="3"/>
                  </a:lnTo>
                  <a:lnTo>
                    <a:pt x="203" y="3"/>
                  </a:lnTo>
                  <a:lnTo>
                    <a:pt x="206" y="3"/>
                  </a:lnTo>
                  <a:lnTo>
                    <a:pt x="220" y="2"/>
                  </a:lnTo>
                  <a:lnTo>
                    <a:pt x="222" y="2"/>
                  </a:lnTo>
                  <a:lnTo>
                    <a:pt x="228" y="2"/>
                  </a:lnTo>
                  <a:lnTo>
                    <a:pt x="230" y="2"/>
                  </a:lnTo>
                  <a:lnTo>
                    <a:pt x="232" y="2"/>
                  </a:lnTo>
                  <a:lnTo>
                    <a:pt x="235" y="2"/>
                  </a:lnTo>
                  <a:lnTo>
                    <a:pt x="237" y="2"/>
                  </a:lnTo>
                  <a:lnTo>
                    <a:pt x="246" y="2"/>
                  </a:lnTo>
                  <a:lnTo>
                    <a:pt x="254" y="2"/>
                  </a:lnTo>
                  <a:lnTo>
                    <a:pt x="254" y="2"/>
                  </a:lnTo>
                  <a:lnTo>
                    <a:pt x="259" y="2"/>
                  </a:lnTo>
                  <a:lnTo>
                    <a:pt x="270" y="2"/>
                  </a:lnTo>
                  <a:lnTo>
                    <a:pt x="275" y="2"/>
                  </a:lnTo>
                  <a:lnTo>
                    <a:pt x="277" y="2"/>
                  </a:lnTo>
                  <a:lnTo>
                    <a:pt x="285" y="2"/>
                  </a:lnTo>
                  <a:lnTo>
                    <a:pt x="287" y="2"/>
                  </a:lnTo>
                  <a:lnTo>
                    <a:pt x="292" y="0"/>
                  </a:lnTo>
                  <a:lnTo>
                    <a:pt x="294" y="0"/>
                  </a:lnTo>
                  <a:lnTo>
                    <a:pt x="299" y="2"/>
                  </a:lnTo>
                  <a:lnTo>
                    <a:pt x="301" y="2"/>
                  </a:lnTo>
                  <a:lnTo>
                    <a:pt x="304" y="0"/>
                  </a:lnTo>
                  <a:lnTo>
                    <a:pt x="311" y="0"/>
                  </a:lnTo>
                  <a:lnTo>
                    <a:pt x="316" y="0"/>
                  </a:lnTo>
                  <a:lnTo>
                    <a:pt x="321" y="0"/>
                  </a:lnTo>
                  <a:lnTo>
                    <a:pt x="328" y="0"/>
                  </a:lnTo>
                  <a:lnTo>
                    <a:pt x="337" y="0"/>
                  </a:lnTo>
                  <a:lnTo>
                    <a:pt x="340" y="0"/>
                  </a:lnTo>
                  <a:lnTo>
                    <a:pt x="349" y="0"/>
                  </a:lnTo>
                  <a:lnTo>
                    <a:pt x="352" y="0"/>
                  </a:lnTo>
                  <a:lnTo>
                    <a:pt x="363" y="0"/>
                  </a:lnTo>
                  <a:lnTo>
                    <a:pt x="364" y="0"/>
                  </a:lnTo>
                  <a:lnTo>
                    <a:pt x="366" y="0"/>
                  </a:lnTo>
                  <a:lnTo>
                    <a:pt x="368" y="0"/>
                  </a:lnTo>
                  <a:lnTo>
                    <a:pt x="373" y="0"/>
                  </a:lnTo>
                  <a:lnTo>
                    <a:pt x="380" y="0"/>
                  </a:lnTo>
                  <a:lnTo>
                    <a:pt x="383" y="0"/>
                  </a:lnTo>
                  <a:lnTo>
                    <a:pt x="388" y="0"/>
                  </a:lnTo>
                  <a:lnTo>
                    <a:pt x="388" y="2"/>
                  </a:lnTo>
                  <a:lnTo>
                    <a:pt x="387" y="2"/>
                  </a:lnTo>
                  <a:lnTo>
                    <a:pt x="387" y="3"/>
                  </a:lnTo>
                  <a:lnTo>
                    <a:pt x="385" y="3"/>
                  </a:lnTo>
                  <a:lnTo>
                    <a:pt x="385" y="5"/>
                  </a:lnTo>
                  <a:lnTo>
                    <a:pt x="388" y="5"/>
                  </a:lnTo>
                  <a:lnTo>
                    <a:pt x="390" y="5"/>
                  </a:lnTo>
                  <a:lnTo>
                    <a:pt x="390" y="5"/>
                  </a:lnTo>
                  <a:lnTo>
                    <a:pt x="392" y="7"/>
                  </a:lnTo>
                  <a:lnTo>
                    <a:pt x="394" y="7"/>
                  </a:lnTo>
                  <a:lnTo>
                    <a:pt x="395" y="7"/>
                  </a:lnTo>
                  <a:lnTo>
                    <a:pt x="395" y="8"/>
                  </a:lnTo>
                  <a:lnTo>
                    <a:pt x="394" y="8"/>
                  </a:lnTo>
                  <a:lnTo>
                    <a:pt x="395" y="8"/>
                  </a:lnTo>
                  <a:lnTo>
                    <a:pt x="395" y="10"/>
                  </a:lnTo>
                  <a:lnTo>
                    <a:pt x="395" y="8"/>
                  </a:lnTo>
                  <a:lnTo>
                    <a:pt x="395" y="10"/>
                  </a:lnTo>
                  <a:lnTo>
                    <a:pt x="395" y="12"/>
                  </a:lnTo>
                  <a:lnTo>
                    <a:pt x="395" y="14"/>
                  </a:lnTo>
                  <a:lnTo>
                    <a:pt x="395" y="14"/>
                  </a:lnTo>
                  <a:lnTo>
                    <a:pt x="397" y="14"/>
                  </a:lnTo>
                  <a:lnTo>
                    <a:pt x="399" y="14"/>
                  </a:lnTo>
                  <a:lnTo>
                    <a:pt x="400" y="14"/>
                  </a:lnTo>
                  <a:lnTo>
                    <a:pt x="400" y="15"/>
                  </a:lnTo>
                  <a:lnTo>
                    <a:pt x="399" y="15"/>
                  </a:lnTo>
                  <a:lnTo>
                    <a:pt x="400" y="15"/>
                  </a:lnTo>
                  <a:lnTo>
                    <a:pt x="402" y="14"/>
                  </a:lnTo>
                  <a:lnTo>
                    <a:pt x="402" y="14"/>
                  </a:lnTo>
                  <a:lnTo>
                    <a:pt x="402" y="12"/>
                  </a:lnTo>
                  <a:lnTo>
                    <a:pt x="402" y="10"/>
                  </a:lnTo>
                  <a:lnTo>
                    <a:pt x="402" y="12"/>
                  </a:lnTo>
                  <a:lnTo>
                    <a:pt x="402" y="14"/>
                  </a:lnTo>
                  <a:lnTo>
                    <a:pt x="402" y="14"/>
                  </a:lnTo>
                  <a:lnTo>
                    <a:pt x="402" y="15"/>
                  </a:lnTo>
                  <a:lnTo>
                    <a:pt x="402" y="17"/>
                  </a:lnTo>
                  <a:lnTo>
                    <a:pt x="400" y="17"/>
                  </a:lnTo>
                  <a:lnTo>
                    <a:pt x="399" y="17"/>
                  </a:lnTo>
                  <a:lnTo>
                    <a:pt x="397" y="17"/>
                  </a:lnTo>
                  <a:lnTo>
                    <a:pt x="395" y="19"/>
                  </a:lnTo>
                  <a:lnTo>
                    <a:pt x="394" y="19"/>
                  </a:lnTo>
                  <a:lnTo>
                    <a:pt x="392" y="20"/>
                  </a:lnTo>
                  <a:lnTo>
                    <a:pt x="390" y="20"/>
                  </a:lnTo>
                  <a:lnTo>
                    <a:pt x="390" y="20"/>
                  </a:lnTo>
                  <a:lnTo>
                    <a:pt x="388" y="20"/>
                  </a:lnTo>
                  <a:lnTo>
                    <a:pt x="387" y="19"/>
                  </a:lnTo>
                  <a:lnTo>
                    <a:pt x="385" y="19"/>
                  </a:lnTo>
                  <a:lnTo>
                    <a:pt x="385" y="20"/>
                  </a:lnTo>
                  <a:lnTo>
                    <a:pt x="387" y="20"/>
                  </a:lnTo>
                  <a:lnTo>
                    <a:pt x="387" y="22"/>
                  </a:lnTo>
                  <a:lnTo>
                    <a:pt x="387" y="24"/>
                  </a:lnTo>
                  <a:lnTo>
                    <a:pt x="388" y="24"/>
                  </a:lnTo>
                  <a:lnTo>
                    <a:pt x="388" y="26"/>
                  </a:lnTo>
                  <a:lnTo>
                    <a:pt x="390" y="26"/>
                  </a:lnTo>
                  <a:lnTo>
                    <a:pt x="392" y="26"/>
                  </a:lnTo>
                  <a:lnTo>
                    <a:pt x="394" y="24"/>
                  </a:lnTo>
                  <a:lnTo>
                    <a:pt x="395" y="24"/>
                  </a:lnTo>
                  <a:lnTo>
                    <a:pt x="397" y="24"/>
                  </a:lnTo>
                  <a:lnTo>
                    <a:pt x="399" y="22"/>
                  </a:lnTo>
                  <a:lnTo>
                    <a:pt x="400" y="22"/>
                  </a:lnTo>
                  <a:lnTo>
                    <a:pt x="400" y="20"/>
                  </a:lnTo>
                  <a:lnTo>
                    <a:pt x="402" y="19"/>
                  </a:lnTo>
                  <a:lnTo>
                    <a:pt x="404" y="19"/>
                  </a:lnTo>
                  <a:lnTo>
                    <a:pt x="406" y="20"/>
                  </a:lnTo>
                  <a:lnTo>
                    <a:pt x="406" y="22"/>
                  </a:lnTo>
                  <a:lnTo>
                    <a:pt x="406" y="24"/>
                  </a:lnTo>
                  <a:lnTo>
                    <a:pt x="406" y="26"/>
                  </a:lnTo>
                  <a:lnTo>
                    <a:pt x="406" y="27"/>
                  </a:lnTo>
                  <a:lnTo>
                    <a:pt x="406" y="29"/>
                  </a:lnTo>
                  <a:lnTo>
                    <a:pt x="406" y="29"/>
                  </a:lnTo>
                  <a:lnTo>
                    <a:pt x="406" y="29"/>
                  </a:lnTo>
                  <a:lnTo>
                    <a:pt x="406" y="31"/>
                  </a:lnTo>
                  <a:lnTo>
                    <a:pt x="406" y="31"/>
                  </a:lnTo>
                  <a:lnTo>
                    <a:pt x="406" y="32"/>
                  </a:lnTo>
                  <a:lnTo>
                    <a:pt x="406" y="31"/>
                  </a:lnTo>
                  <a:lnTo>
                    <a:pt x="406" y="29"/>
                  </a:lnTo>
                  <a:lnTo>
                    <a:pt x="404" y="29"/>
                  </a:lnTo>
                  <a:lnTo>
                    <a:pt x="402" y="29"/>
                  </a:lnTo>
                  <a:lnTo>
                    <a:pt x="402" y="31"/>
                  </a:lnTo>
                  <a:lnTo>
                    <a:pt x="402" y="29"/>
                  </a:lnTo>
                  <a:lnTo>
                    <a:pt x="400" y="31"/>
                  </a:lnTo>
                  <a:lnTo>
                    <a:pt x="399" y="31"/>
                  </a:lnTo>
                  <a:lnTo>
                    <a:pt x="399" y="32"/>
                  </a:lnTo>
                  <a:lnTo>
                    <a:pt x="399" y="34"/>
                  </a:lnTo>
                  <a:lnTo>
                    <a:pt x="399" y="36"/>
                  </a:lnTo>
                  <a:lnTo>
                    <a:pt x="399" y="38"/>
                  </a:lnTo>
                  <a:lnTo>
                    <a:pt x="397" y="38"/>
                  </a:lnTo>
                  <a:lnTo>
                    <a:pt x="397" y="39"/>
                  </a:lnTo>
                  <a:lnTo>
                    <a:pt x="395" y="39"/>
                  </a:lnTo>
                  <a:lnTo>
                    <a:pt x="395" y="41"/>
                  </a:lnTo>
                  <a:lnTo>
                    <a:pt x="395" y="39"/>
                  </a:lnTo>
                  <a:lnTo>
                    <a:pt x="394" y="41"/>
                  </a:lnTo>
                  <a:lnTo>
                    <a:pt x="395" y="41"/>
                  </a:lnTo>
                  <a:lnTo>
                    <a:pt x="395" y="43"/>
                  </a:lnTo>
                  <a:lnTo>
                    <a:pt x="394" y="43"/>
                  </a:lnTo>
                  <a:lnTo>
                    <a:pt x="392" y="43"/>
                  </a:lnTo>
                  <a:lnTo>
                    <a:pt x="392" y="41"/>
                  </a:lnTo>
                  <a:lnTo>
                    <a:pt x="392" y="43"/>
                  </a:lnTo>
                  <a:lnTo>
                    <a:pt x="392" y="45"/>
                  </a:lnTo>
                  <a:lnTo>
                    <a:pt x="394" y="45"/>
                  </a:lnTo>
                  <a:lnTo>
                    <a:pt x="395" y="45"/>
                  </a:lnTo>
                  <a:lnTo>
                    <a:pt x="395" y="45"/>
                  </a:lnTo>
                  <a:lnTo>
                    <a:pt x="397" y="45"/>
                  </a:lnTo>
                  <a:lnTo>
                    <a:pt x="397" y="45"/>
                  </a:lnTo>
                  <a:lnTo>
                    <a:pt x="397" y="45"/>
                  </a:lnTo>
                  <a:lnTo>
                    <a:pt x="397" y="46"/>
                  </a:lnTo>
                  <a:lnTo>
                    <a:pt x="397" y="48"/>
                  </a:lnTo>
                  <a:lnTo>
                    <a:pt x="399" y="48"/>
                  </a:lnTo>
                  <a:lnTo>
                    <a:pt x="400" y="48"/>
                  </a:lnTo>
                  <a:lnTo>
                    <a:pt x="402" y="48"/>
                  </a:lnTo>
                  <a:lnTo>
                    <a:pt x="402" y="50"/>
                  </a:lnTo>
                  <a:lnTo>
                    <a:pt x="404" y="50"/>
                  </a:lnTo>
                  <a:lnTo>
                    <a:pt x="406" y="50"/>
                  </a:lnTo>
                  <a:lnTo>
                    <a:pt x="406" y="50"/>
                  </a:lnTo>
                  <a:lnTo>
                    <a:pt x="407" y="50"/>
                  </a:lnTo>
                  <a:lnTo>
                    <a:pt x="407" y="51"/>
                  </a:lnTo>
                  <a:lnTo>
                    <a:pt x="409" y="51"/>
                  </a:lnTo>
                  <a:lnTo>
                    <a:pt x="409" y="50"/>
                  </a:lnTo>
                  <a:lnTo>
                    <a:pt x="409" y="51"/>
                  </a:lnTo>
                  <a:lnTo>
                    <a:pt x="411" y="51"/>
                  </a:lnTo>
                  <a:lnTo>
                    <a:pt x="412" y="51"/>
                  </a:lnTo>
                  <a:lnTo>
                    <a:pt x="412" y="53"/>
                  </a:lnTo>
                  <a:lnTo>
                    <a:pt x="414" y="53"/>
                  </a:lnTo>
                  <a:lnTo>
                    <a:pt x="414" y="55"/>
                  </a:lnTo>
                  <a:lnTo>
                    <a:pt x="412" y="55"/>
                  </a:lnTo>
                  <a:lnTo>
                    <a:pt x="411" y="55"/>
                  </a:lnTo>
                  <a:lnTo>
                    <a:pt x="409" y="57"/>
                  </a:lnTo>
                  <a:lnTo>
                    <a:pt x="409" y="55"/>
                  </a:lnTo>
                  <a:lnTo>
                    <a:pt x="407" y="55"/>
                  </a:lnTo>
                  <a:lnTo>
                    <a:pt x="406" y="55"/>
                  </a:lnTo>
                  <a:lnTo>
                    <a:pt x="406" y="55"/>
                  </a:lnTo>
                  <a:lnTo>
                    <a:pt x="406" y="57"/>
                  </a:lnTo>
                  <a:lnTo>
                    <a:pt x="404" y="57"/>
                  </a:lnTo>
                  <a:lnTo>
                    <a:pt x="406" y="57"/>
                  </a:lnTo>
                  <a:lnTo>
                    <a:pt x="406" y="58"/>
                  </a:lnTo>
                  <a:lnTo>
                    <a:pt x="406" y="58"/>
                  </a:lnTo>
                  <a:lnTo>
                    <a:pt x="406" y="60"/>
                  </a:lnTo>
                  <a:lnTo>
                    <a:pt x="406" y="60"/>
                  </a:lnTo>
                  <a:lnTo>
                    <a:pt x="406" y="60"/>
                  </a:lnTo>
                  <a:lnTo>
                    <a:pt x="406" y="62"/>
                  </a:lnTo>
                  <a:lnTo>
                    <a:pt x="406" y="63"/>
                  </a:lnTo>
                  <a:lnTo>
                    <a:pt x="406" y="65"/>
                  </a:lnTo>
                  <a:lnTo>
                    <a:pt x="406" y="65"/>
                  </a:lnTo>
                  <a:lnTo>
                    <a:pt x="406" y="67"/>
                  </a:lnTo>
                  <a:lnTo>
                    <a:pt x="406" y="67"/>
                  </a:lnTo>
                  <a:lnTo>
                    <a:pt x="407" y="67"/>
                  </a:lnTo>
                  <a:lnTo>
                    <a:pt x="407" y="69"/>
                  </a:lnTo>
                  <a:lnTo>
                    <a:pt x="406" y="69"/>
                  </a:lnTo>
                  <a:lnTo>
                    <a:pt x="406" y="70"/>
                  </a:lnTo>
                  <a:lnTo>
                    <a:pt x="407" y="70"/>
                  </a:lnTo>
                  <a:lnTo>
                    <a:pt x="409" y="70"/>
                  </a:lnTo>
                  <a:lnTo>
                    <a:pt x="409" y="69"/>
                  </a:lnTo>
                  <a:lnTo>
                    <a:pt x="411" y="69"/>
                  </a:lnTo>
                  <a:lnTo>
                    <a:pt x="409" y="70"/>
                  </a:lnTo>
                  <a:lnTo>
                    <a:pt x="409" y="72"/>
                  </a:lnTo>
                  <a:lnTo>
                    <a:pt x="409" y="74"/>
                  </a:lnTo>
                  <a:lnTo>
                    <a:pt x="407" y="74"/>
                  </a:lnTo>
                  <a:lnTo>
                    <a:pt x="406" y="74"/>
                  </a:lnTo>
                  <a:lnTo>
                    <a:pt x="406" y="75"/>
                  </a:lnTo>
                  <a:lnTo>
                    <a:pt x="406" y="77"/>
                  </a:lnTo>
                  <a:lnTo>
                    <a:pt x="406" y="79"/>
                  </a:lnTo>
                  <a:lnTo>
                    <a:pt x="406" y="81"/>
                  </a:lnTo>
                  <a:lnTo>
                    <a:pt x="406" y="79"/>
                  </a:lnTo>
                  <a:lnTo>
                    <a:pt x="406" y="81"/>
                  </a:lnTo>
                  <a:lnTo>
                    <a:pt x="404" y="79"/>
                  </a:lnTo>
                  <a:lnTo>
                    <a:pt x="404" y="77"/>
                  </a:lnTo>
                  <a:lnTo>
                    <a:pt x="402" y="77"/>
                  </a:lnTo>
                  <a:lnTo>
                    <a:pt x="400" y="77"/>
                  </a:lnTo>
                  <a:lnTo>
                    <a:pt x="400" y="79"/>
                  </a:lnTo>
                  <a:lnTo>
                    <a:pt x="400" y="81"/>
                  </a:lnTo>
                  <a:lnTo>
                    <a:pt x="400" y="79"/>
                  </a:lnTo>
                  <a:lnTo>
                    <a:pt x="399" y="79"/>
                  </a:lnTo>
                  <a:lnTo>
                    <a:pt x="399" y="81"/>
                  </a:lnTo>
                  <a:lnTo>
                    <a:pt x="399" y="82"/>
                  </a:lnTo>
                  <a:lnTo>
                    <a:pt x="399" y="84"/>
                  </a:lnTo>
                  <a:lnTo>
                    <a:pt x="397" y="86"/>
                  </a:lnTo>
                  <a:lnTo>
                    <a:pt x="397" y="84"/>
                  </a:lnTo>
                  <a:lnTo>
                    <a:pt x="395" y="84"/>
                  </a:lnTo>
                  <a:lnTo>
                    <a:pt x="395" y="82"/>
                  </a:lnTo>
                  <a:lnTo>
                    <a:pt x="397" y="82"/>
                  </a:lnTo>
                  <a:lnTo>
                    <a:pt x="397" y="81"/>
                  </a:lnTo>
                  <a:lnTo>
                    <a:pt x="395" y="81"/>
                  </a:lnTo>
                  <a:lnTo>
                    <a:pt x="395" y="82"/>
                  </a:lnTo>
                  <a:lnTo>
                    <a:pt x="395" y="84"/>
                  </a:lnTo>
                  <a:lnTo>
                    <a:pt x="395" y="86"/>
                  </a:lnTo>
                  <a:lnTo>
                    <a:pt x="395" y="88"/>
                  </a:lnTo>
                  <a:lnTo>
                    <a:pt x="395" y="89"/>
                  </a:lnTo>
                  <a:lnTo>
                    <a:pt x="395" y="88"/>
                  </a:lnTo>
                  <a:lnTo>
                    <a:pt x="394" y="88"/>
                  </a:lnTo>
                  <a:lnTo>
                    <a:pt x="394" y="89"/>
                  </a:lnTo>
                  <a:lnTo>
                    <a:pt x="395" y="89"/>
                  </a:lnTo>
                  <a:lnTo>
                    <a:pt x="394" y="91"/>
                  </a:lnTo>
                  <a:lnTo>
                    <a:pt x="394" y="93"/>
                  </a:lnTo>
                  <a:lnTo>
                    <a:pt x="395" y="93"/>
                  </a:lnTo>
                  <a:lnTo>
                    <a:pt x="397" y="91"/>
                  </a:lnTo>
                  <a:lnTo>
                    <a:pt x="397" y="93"/>
                  </a:lnTo>
                  <a:lnTo>
                    <a:pt x="397" y="94"/>
                  </a:lnTo>
                  <a:lnTo>
                    <a:pt x="395" y="94"/>
                  </a:lnTo>
                  <a:lnTo>
                    <a:pt x="395" y="96"/>
                  </a:lnTo>
                  <a:lnTo>
                    <a:pt x="397" y="96"/>
                  </a:lnTo>
                  <a:lnTo>
                    <a:pt x="397" y="98"/>
                  </a:lnTo>
                  <a:lnTo>
                    <a:pt x="395" y="98"/>
                  </a:lnTo>
                  <a:lnTo>
                    <a:pt x="395" y="96"/>
                  </a:lnTo>
                  <a:lnTo>
                    <a:pt x="395" y="98"/>
                  </a:lnTo>
                  <a:lnTo>
                    <a:pt x="394" y="98"/>
                  </a:lnTo>
                  <a:lnTo>
                    <a:pt x="390" y="100"/>
                  </a:lnTo>
                  <a:lnTo>
                    <a:pt x="390" y="101"/>
                  </a:lnTo>
                  <a:lnTo>
                    <a:pt x="392" y="101"/>
                  </a:lnTo>
                  <a:lnTo>
                    <a:pt x="392" y="103"/>
                  </a:lnTo>
                  <a:lnTo>
                    <a:pt x="390" y="103"/>
                  </a:lnTo>
                  <a:lnTo>
                    <a:pt x="392" y="103"/>
                  </a:lnTo>
                  <a:lnTo>
                    <a:pt x="394" y="103"/>
                  </a:lnTo>
                  <a:lnTo>
                    <a:pt x="394" y="105"/>
                  </a:lnTo>
                  <a:lnTo>
                    <a:pt x="395" y="105"/>
                  </a:lnTo>
                  <a:lnTo>
                    <a:pt x="395" y="105"/>
                  </a:lnTo>
                  <a:lnTo>
                    <a:pt x="395" y="106"/>
                  </a:lnTo>
                  <a:lnTo>
                    <a:pt x="394" y="106"/>
                  </a:lnTo>
                  <a:lnTo>
                    <a:pt x="394" y="108"/>
                  </a:lnTo>
                  <a:lnTo>
                    <a:pt x="395" y="108"/>
                  </a:lnTo>
                  <a:lnTo>
                    <a:pt x="395" y="106"/>
                  </a:lnTo>
                  <a:lnTo>
                    <a:pt x="395" y="108"/>
                  </a:lnTo>
                  <a:lnTo>
                    <a:pt x="395" y="110"/>
                  </a:lnTo>
                  <a:lnTo>
                    <a:pt x="394" y="110"/>
                  </a:lnTo>
                  <a:lnTo>
                    <a:pt x="394" y="108"/>
                  </a:lnTo>
                  <a:lnTo>
                    <a:pt x="392" y="108"/>
                  </a:lnTo>
                  <a:lnTo>
                    <a:pt x="392" y="110"/>
                  </a:lnTo>
                  <a:lnTo>
                    <a:pt x="390" y="110"/>
                  </a:lnTo>
                  <a:lnTo>
                    <a:pt x="390" y="112"/>
                  </a:lnTo>
                  <a:lnTo>
                    <a:pt x="390" y="113"/>
                  </a:lnTo>
                  <a:lnTo>
                    <a:pt x="392" y="113"/>
                  </a:lnTo>
                  <a:lnTo>
                    <a:pt x="392" y="115"/>
                  </a:lnTo>
                  <a:lnTo>
                    <a:pt x="394" y="115"/>
                  </a:lnTo>
                  <a:lnTo>
                    <a:pt x="395" y="115"/>
                  </a:lnTo>
                  <a:lnTo>
                    <a:pt x="395" y="117"/>
                  </a:lnTo>
                  <a:lnTo>
                    <a:pt x="395" y="119"/>
                  </a:lnTo>
                  <a:lnTo>
                    <a:pt x="397" y="119"/>
                  </a:lnTo>
                  <a:lnTo>
                    <a:pt x="399" y="119"/>
                  </a:lnTo>
                  <a:lnTo>
                    <a:pt x="400" y="119"/>
                  </a:lnTo>
                  <a:lnTo>
                    <a:pt x="400" y="120"/>
                  </a:lnTo>
                  <a:lnTo>
                    <a:pt x="400" y="120"/>
                  </a:lnTo>
                  <a:lnTo>
                    <a:pt x="399" y="120"/>
                  </a:lnTo>
                  <a:lnTo>
                    <a:pt x="399" y="120"/>
                  </a:lnTo>
                  <a:lnTo>
                    <a:pt x="399" y="120"/>
                  </a:lnTo>
                  <a:lnTo>
                    <a:pt x="399" y="122"/>
                  </a:lnTo>
                  <a:lnTo>
                    <a:pt x="397" y="122"/>
                  </a:lnTo>
                  <a:lnTo>
                    <a:pt x="395" y="122"/>
                  </a:lnTo>
                  <a:lnTo>
                    <a:pt x="395" y="124"/>
                  </a:lnTo>
                  <a:lnTo>
                    <a:pt x="397" y="124"/>
                  </a:lnTo>
                  <a:lnTo>
                    <a:pt x="397" y="125"/>
                  </a:lnTo>
                  <a:lnTo>
                    <a:pt x="399" y="125"/>
                  </a:lnTo>
                  <a:lnTo>
                    <a:pt x="400" y="125"/>
                  </a:lnTo>
                  <a:lnTo>
                    <a:pt x="402" y="125"/>
                  </a:lnTo>
                  <a:lnTo>
                    <a:pt x="402" y="127"/>
                  </a:lnTo>
                  <a:lnTo>
                    <a:pt x="400" y="127"/>
                  </a:lnTo>
                  <a:lnTo>
                    <a:pt x="400" y="129"/>
                  </a:lnTo>
                  <a:lnTo>
                    <a:pt x="402" y="129"/>
                  </a:lnTo>
                  <a:lnTo>
                    <a:pt x="402" y="131"/>
                  </a:lnTo>
                  <a:lnTo>
                    <a:pt x="404" y="131"/>
                  </a:lnTo>
                  <a:lnTo>
                    <a:pt x="406" y="131"/>
                  </a:lnTo>
                  <a:lnTo>
                    <a:pt x="406" y="131"/>
                  </a:lnTo>
                  <a:lnTo>
                    <a:pt x="406" y="132"/>
                  </a:lnTo>
                  <a:lnTo>
                    <a:pt x="407" y="132"/>
                  </a:lnTo>
                  <a:lnTo>
                    <a:pt x="409" y="132"/>
                  </a:lnTo>
                  <a:lnTo>
                    <a:pt x="411" y="134"/>
                  </a:lnTo>
                  <a:lnTo>
                    <a:pt x="412" y="134"/>
                  </a:lnTo>
                  <a:lnTo>
                    <a:pt x="411" y="134"/>
                  </a:lnTo>
                  <a:lnTo>
                    <a:pt x="412" y="134"/>
                  </a:lnTo>
                  <a:lnTo>
                    <a:pt x="414" y="134"/>
                  </a:lnTo>
                  <a:lnTo>
                    <a:pt x="414" y="136"/>
                  </a:lnTo>
                  <a:lnTo>
                    <a:pt x="414" y="137"/>
                  </a:lnTo>
                  <a:lnTo>
                    <a:pt x="416" y="137"/>
                  </a:lnTo>
                  <a:lnTo>
                    <a:pt x="418" y="137"/>
                  </a:lnTo>
                  <a:lnTo>
                    <a:pt x="418" y="139"/>
                  </a:lnTo>
                  <a:lnTo>
                    <a:pt x="416" y="139"/>
                  </a:lnTo>
                  <a:lnTo>
                    <a:pt x="414" y="139"/>
                  </a:lnTo>
                  <a:lnTo>
                    <a:pt x="412" y="139"/>
                  </a:lnTo>
                  <a:lnTo>
                    <a:pt x="412" y="141"/>
                  </a:lnTo>
                  <a:lnTo>
                    <a:pt x="412" y="143"/>
                  </a:lnTo>
                  <a:lnTo>
                    <a:pt x="411" y="143"/>
                  </a:lnTo>
                  <a:lnTo>
                    <a:pt x="411" y="141"/>
                  </a:lnTo>
                  <a:lnTo>
                    <a:pt x="411" y="139"/>
                  </a:lnTo>
                  <a:lnTo>
                    <a:pt x="409" y="139"/>
                  </a:lnTo>
                  <a:lnTo>
                    <a:pt x="409" y="141"/>
                  </a:lnTo>
                  <a:lnTo>
                    <a:pt x="409" y="143"/>
                  </a:lnTo>
                  <a:lnTo>
                    <a:pt x="409" y="144"/>
                  </a:lnTo>
                  <a:lnTo>
                    <a:pt x="411" y="144"/>
                  </a:lnTo>
                  <a:lnTo>
                    <a:pt x="411" y="146"/>
                  </a:lnTo>
                  <a:lnTo>
                    <a:pt x="412" y="146"/>
                  </a:lnTo>
                  <a:lnTo>
                    <a:pt x="414" y="146"/>
                  </a:lnTo>
                  <a:lnTo>
                    <a:pt x="416" y="148"/>
                  </a:lnTo>
                  <a:lnTo>
                    <a:pt x="418" y="148"/>
                  </a:lnTo>
                  <a:lnTo>
                    <a:pt x="418" y="149"/>
                  </a:lnTo>
                  <a:lnTo>
                    <a:pt x="416" y="149"/>
                  </a:lnTo>
                  <a:lnTo>
                    <a:pt x="414" y="149"/>
                  </a:lnTo>
                  <a:lnTo>
                    <a:pt x="414" y="151"/>
                  </a:lnTo>
                  <a:lnTo>
                    <a:pt x="412" y="151"/>
                  </a:lnTo>
                  <a:lnTo>
                    <a:pt x="412" y="149"/>
                  </a:lnTo>
                  <a:lnTo>
                    <a:pt x="411" y="149"/>
                  </a:lnTo>
                  <a:lnTo>
                    <a:pt x="411" y="149"/>
                  </a:lnTo>
                  <a:lnTo>
                    <a:pt x="409" y="149"/>
                  </a:lnTo>
                  <a:lnTo>
                    <a:pt x="407" y="149"/>
                  </a:lnTo>
                  <a:lnTo>
                    <a:pt x="407" y="151"/>
                  </a:lnTo>
                  <a:lnTo>
                    <a:pt x="406" y="151"/>
                  </a:lnTo>
                  <a:lnTo>
                    <a:pt x="406" y="149"/>
                  </a:lnTo>
                  <a:lnTo>
                    <a:pt x="407" y="149"/>
                  </a:lnTo>
                  <a:lnTo>
                    <a:pt x="407" y="149"/>
                  </a:lnTo>
                  <a:lnTo>
                    <a:pt x="406" y="149"/>
                  </a:lnTo>
                  <a:lnTo>
                    <a:pt x="406" y="149"/>
                  </a:lnTo>
                  <a:lnTo>
                    <a:pt x="406" y="149"/>
                  </a:lnTo>
                  <a:lnTo>
                    <a:pt x="406" y="151"/>
                  </a:lnTo>
                  <a:lnTo>
                    <a:pt x="406" y="153"/>
                  </a:lnTo>
                  <a:lnTo>
                    <a:pt x="406" y="155"/>
                  </a:lnTo>
                  <a:lnTo>
                    <a:pt x="406" y="156"/>
                  </a:lnTo>
                  <a:lnTo>
                    <a:pt x="406" y="158"/>
                  </a:lnTo>
                  <a:lnTo>
                    <a:pt x="406" y="158"/>
                  </a:lnTo>
                  <a:lnTo>
                    <a:pt x="406" y="160"/>
                  </a:lnTo>
                  <a:lnTo>
                    <a:pt x="406" y="160"/>
                  </a:lnTo>
                  <a:lnTo>
                    <a:pt x="406" y="162"/>
                  </a:lnTo>
                  <a:lnTo>
                    <a:pt x="406" y="163"/>
                  </a:lnTo>
                  <a:lnTo>
                    <a:pt x="406" y="165"/>
                  </a:lnTo>
                  <a:lnTo>
                    <a:pt x="407" y="165"/>
                  </a:lnTo>
                  <a:lnTo>
                    <a:pt x="406" y="165"/>
                  </a:lnTo>
                  <a:lnTo>
                    <a:pt x="406" y="165"/>
                  </a:lnTo>
                  <a:lnTo>
                    <a:pt x="406" y="165"/>
                  </a:lnTo>
                  <a:lnTo>
                    <a:pt x="406" y="168"/>
                  </a:lnTo>
                  <a:lnTo>
                    <a:pt x="406" y="168"/>
                  </a:lnTo>
                  <a:lnTo>
                    <a:pt x="406" y="170"/>
                  </a:lnTo>
                  <a:lnTo>
                    <a:pt x="406" y="172"/>
                  </a:lnTo>
                  <a:lnTo>
                    <a:pt x="406" y="172"/>
                  </a:lnTo>
                  <a:lnTo>
                    <a:pt x="406" y="174"/>
                  </a:lnTo>
                  <a:lnTo>
                    <a:pt x="406" y="175"/>
                  </a:lnTo>
                  <a:lnTo>
                    <a:pt x="407" y="175"/>
                  </a:lnTo>
                  <a:lnTo>
                    <a:pt x="406" y="177"/>
                  </a:lnTo>
                  <a:lnTo>
                    <a:pt x="406" y="179"/>
                  </a:lnTo>
                  <a:lnTo>
                    <a:pt x="406" y="177"/>
                  </a:lnTo>
                  <a:lnTo>
                    <a:pt x="406" y="177"/>
                  </a:lnTo>
                  <a:lnTo>
                    <a:pt x="406" y="179"/>
                  </a:lnTo>
                  <a:lnTo>
                    <a:pt x="406" y="180"/>
                  </a:lnTo>
                  <a:lnTo>
                    <a:pt x="406" y="180"/>
                  </a:lnTo>
                  <a:lnTo>
                    <a:pt x="406" y="182"/>
                  </a:lnTo>
                  <a:lnTo>
                    <a:pt x="406" y="184"/>
                  </a:lnTo>
                  <a:lnTo>
                    <a:pt x="406" y="186"/>
                  </a:lnTo>
                  <a:lnTo>
                    <a:pt x="407" y="186"/>
                  </a:lnTo>
                  <a:lnTo>
                    <a:pt x="407" y="187"/>
                  </a:lnTo>
                  <a:lnTo>
                    <a:pt x="406" y="187"/>
                  </a:lnTo>
                  <a:lnTo>
                    <a:pt x="406" y="189"/>
                  </a:lnTo>
                  <a:lnTo>
                    <a:pt x="406" y="189"/>
                  </a:lnTo>
                  <a:lnTo>
                    <a:pt x="402" y="189"/>
                  </a:lnTo>
                  <a:lnTo>
                    <a:pt x="400" y="189"/>
                  </a:lnTo>
                  <a:lnTo>
                    <a:pt x="390" y="189"/>
                  </a:lnTo>
                  <a:lnTo>
                    <a:pt x="388" y="191"/>
                  </a:lnTo>
                  <a:lnTo>
                    <a:pt x="385" y="191"/>
                  </a:lnTo>
                  <a:lnTo>
                    <a:pt x="383" y="191"/>
                  </a:lnTo>
                  <a:lnTo>
                    <a:pt x="381" y="191"/>
                  </a:lnTo>
                  <a:lnTo>
                    <a:pt x="380" y="191"/>
                  </a:lnTo>
                  <a:lnTo>
                    <a:pt x="376" y="191"/>
                  </a:lnTo>
                  <a:lnTo>
                    <a:pt x="371" y="191"/>
                  </a:lnTo>
                  <a:lnTo>
                    <a:pt x="369" y="191"/>
                  </a:lnTo>
                  <a:lnTo>
                    <a:pt x="368" y="191"/>
                  </a:lnTo>
                  <a:lnTo>
                    <a:pt x="361" y="191"/>
                  </a:lnTo>
                  <a:lnTo>
                    <a:pt x="352" y="191"/>
                  </a:lnTo>
                  <a:lnTo>
                    <a:pt x="349" y="191"/>
                  </a:lnTo>
                  <a:lnTo>
                    <a:pt x="338" y="191"/>
                  </a:lnTo>
                  <a:lnTo>
                    <a:pt x="333" y="191"/>
                  </a:lnTo>
                  <a:lnTo>
                    <a:pt x="330" y="191"/>
                  </a:lnTo>
                  <a:lnTo>
                    <a:pt x="328" y="191"/>
                  </a:lnTo>
                  <a:lnTo>
                    <a:pt x="325" y="191"/>
                  </a:lnTo>
                  <a:lnTo>
                    <a:pt x="314" y="191"/>
                  </a:lnTo>
                  <a:lnTo>
                    <a:pt x="311" y="191"/>
                  </a:lnTo>
                  <a:lnTo>
                    <a:pt x="308" y="191"/>
                  </a:lnTo>
                  <a:lnTo>
                    <a:pt x="306" y="191"/>
                  </a:lnTo>
                  <a:lnTo>
                    <a:pt x="306" y="180"/>
                  </a:lnTo>
                  <a:lnTo>
                    <a:pt x="306" y="179"/>
                  </a:lnTo>
                  <a:lnTo>
                    <a:pt x="306" y="174"/>
                  </a:lnTo>
                  <a:lnTo>
                    <a:pt x="306" y="168"/>
                  </a:lnTo>
                  <a:lnTo>
                    <a:pt x="306" y="165"/>
                  </a:lnTo>
                  <a:lnTo>
                    <a:pt x="306" y="162"/>
                  </a:lnTo>
                  <a:lnTo>
                    <a:pt x="306" y="156"/>
                  </a:lnTo>
                  <a:lnTo>
                    <a:pt x="304" y="156"/>
                  </a:lnTo>
                  <a:lnTo>
                    <a:pt x="299" y="156"/>
                  </a:lnTo>
                  <a:lnTo>
                    <a:pt x="295" y="156"/>
                  </a:lnTo>
                  <a:lnTo>
                    <a:pt x="294" y="156"/>
                  </a:lnTo>
                  <a:lnTo>
                    <a:pt x="283" y="156"/>
                  </a:lnTo>
                  <a:lnTo>
                    <a:pt x="280" y="156"/>
                  </a:lnTo>
                  <a:lnTo>
                    <a:pt x="277" y="156"/>
                  </a:lnTo>
                  <a:lnTo>
                    <a:pt x="271" y="156"/>
                  </a:lnTo>
                  <a:lnTo>
                    <a:pt x="265" y="158"/>
                  </a:lnTo>
                  <a:lnTo>
                    <a:pt x="258" y="158"/>
                  </a:lnTo>
                  <a:lnTo>
                    <a:pt x="247" y="158"/>
                  </a:lnTo>
                  <a:lnTo>
                    <a:pt x="242" y="158"/>
                  </a:lnTo>
                  <a:lnTo>
                    <a:pt x="239" y="158"/>
                  </a:lnTo>
                  <a:lnTo>
                    <a:pt x="239" y="158"/>
                  </a:lnTo>
                  <a:lnTo>
                    <a:pt x="234" y="158"/>
                  </a:lnTo>
                  <a:lnTo>
                    <a:pt x="230" y="158"/>
                  </a:lnTo>
                  <a:lnTo>
                    <a:pt x="225" y="158"/>
                  </a:lnTo>
                  <a:lnTo>
                    <a:pt x="222" y="158"/>
                  </a:lnTo>
                  <a:lnTo>
                    <a:pt x="220" y="158"/>
                  </a:lnTo>
                  <a:lnTo>
                    <a:pt x="216" y="156"/>
                  </a:lnTo>
                  <a:lnTo>
                    <a:pt x="211" y="156"/>
                  </a:lnTo>
                  <a:lnTo>
                    <a:pt x="208" y="156"/>
                  </a:lnTo>
                  <a:lnTo>
                    <a:pt x="206" y="156"/>
                  </a:lnTo>
                  <a:lnTo>
                    <a:pt x="204" y="156"/>
                  </a:lnTo>
                  <a:lnTo>
                    <a:pt x="203" y="156"/>
                  </a:lnTo>
                  <a:lnTo>
                    <a:pt x="201" y="156"/>
                  </a:lnTo>
                  <a:lnTo>
                    <a:pt x="199" y="156"/>
                  </a:lnTo>
                  <a:lnTo>
                    <a:pt x="194" y="156"/>
                  </a:lnTo>
                  <a:lnTo>
                    <a:pt x="192" y="156"/>
                  </a:lnTo>
                  <a:lnTo>
                    <a:pt x="189" y="156"/>
                  </a:lnTo>
                  <a:lnTo>
                    <a:pt x="185" y="156"/>
                  </a:lnTo>
                  <a:lnTo>
                    <a:pt x="179" y="156"/>
                  </a:lnTo>
                  <a:lnTo>
                    <a:pt x="175" y="156"/>
                  </a:lnTo>
                  <a:lnTo>
                    <a:pt x="172" y="156"/>
                  </a:lnTo>
                  <a:lnTo>
                    <a:pt x="170" y="156"/>
                  </a:lnTo>
                  <a:lnTo>
                    <a:pt x="168" y="156"/>
                  </a:lnTo>
                  <a:lnTo>
                    <a:pt x="154" y="156"/>
                  </a:lnTo>
                  <a:lnTo>
                    <a:pt x="153" y="156"/>
                  </a:lnTo>
                  <a:lnTo>
                    <a:pt x="149" y="156"/>
                  </a:lnTo>
                  <a:lnTo>
                    <a:pt x="148" y="156"/>
                  </a:lnTo>
                  <a:lnTo>
                    <a:pt x="139" y="156"/>
                  </a:lnTo>
                  <a:lnTo>
                    <a:pt x="127" y="156"/>
                  </a:lnTo>
                  <a:lnTo>
                    <a:pt x="120" y="156"/>
                  </a:lnTo>
                  <a:lnTo>
                    <a:pt x="118" y="156"/>
                  </a:lnTo>
                  <a:lnTo>
                    <a:pt x="118" y="156"/>
                  </a:lnTo>
                  <a:lnTo>
                    <a:pt x="117" y="156"/>
                  </a:lnTo>
                  <a:lnTo>
                    <a:pt x="113" y="156"/>
                  </a:lnTo>
                  <a:lnTo>
                    <a:pt x="110" y="156"/>
                  </a:lnTo>
                  <a:lnTo>
                    <a:pt x="105" y="156"/>
                  </a:lnTo>
                  <a:lnTo>
                    <a:pt x="94" y="156"/>
                  </a:lnTo>
                  <a:lnTo>
                    <a:pt x="91" y="158"/>
                  </a:lnTo>
                  <a:lnTo>
                    <a:pt x="87" y="158"/>
                  </a:lnTo>
                  <a:lnTo>
                    <a:pt x="84" y="158"/>
                  </a:lnTo>
                  <a:lnTo>
                    <a:pt x="80" y="158"/>
                  </a:lnTo>
                  <a:lnTo>
                    <a:pt x="74" y="158"/>
                  </a:lnTo>
                  <a:lnTo>
                    <a:pt x="74" y="158"/>
                  </a:lnTo>
                  <a:lnTo>
                    <a:pt x="72" y="158"/>
                  </a:lnTo>
                  <a:lnTo>
                    <a:pt x="68" y="158"/>
                  </a:lnTo>
                  <a:lnTo>
                    <a:pt x="67" y="158"/>
                  </a:lnTo>
                  <a:lnTo>
                    <a:pt x="58" y="158"/>
                  </a:lnTo>
                  <a:lnTo>
                    <a:pt x="55" y="158"/>
                  </a:lnTo>
                  <a:lnTo>
                    <a:pt x="50" y="158"/>
                  </a:lnTo>
                  <a:lnTo>
                    <a:pt x="39" y="158"/>
                  </a:lnTo>
                  <a:lnTo>
                    <a:pt x="36" y="158"/>
                  </a:lnTo>
                  <a:lnTo>
                    <a:pt x="29" y="158"/>
                  </a:lnTo>
                  <a:lnTo>
                    <a:pt x="29" y="158"/>
                  </a:lnTo>
                  <a:lnTo>
                    <a:pt x="24" y="158"/>
                  </a:lnTo>
                  <a:lnTo>
                    <a:pt x="20" y="158"/>
                  </a:lnTo>
                  <a:lnTo>
                    <a:pt x="19" y="158"/>
                  </a:lnTo>
                  <a:lnTo>
                    <a:pt x="5" y="158"/>
                  </a:lnTo>
                  <a:lnTo>
                    <a:pt x="5" y="153"/>
                  </a:lnTo>
                  <a:lnTo>
                    <a:pt x="5" y="148"/>
                  </a:lnTo>
                  <a:lnTo>
                    <a:pt x="5" y="144"/>
                  </a:lnTo>
                  <a:lnTo>
                    <a:pt x="5" y="143"/>
                  </a:lnTo>
                  <a:lnTo>
                    <a:pt x="5" y="136"/>
                  </a:lnTo>
                  <a:lnTo>
                    <a:pt x="5" y="131"/>
                  </a:lnTo>
                  <a:lnTo>
                    <a:pt x="5" y="127"/>
                  </a:lnTo>
                  <a:lnTo>
                    <a:pt x="5" y="125"/>
                  </a:lnTo>
                  <a:lnTo>
                    <a:pt x="5" y="124"/>
                  </a:lnTo>
                  <a:lnTo>
                    <a:pt x="5" y="120"/>
                  </a:lnTo>
                  <a:lnTo>
                    <a:pt x="5" y="119"/>
                  </a:lnTo>
                  <a:lnTo>
                    <a:pt x="5" y="113"/>
                  </a:lnTo>
                  <a:lnTo>
                    <a:pt x="5" y="105"/>
                  </a:lnTo>
                  <a:lnTo>
                    <a:pt x="5" y="103"/>
                  </a:lnTo>
                  <a:lnTo>
                    <a:pt x="5" y="96"/>
                  </a:lnTo>
                  <a:lnTo>
                    <a:pt x="5" y="94"/>
                  </a:lnTo>
                  <a:lnTo>
                    <a:pt x="5" y="89"/>
                  </a:lnTo>
                  <a:lnTo>
                    <a:pt x="3" y="89"/>
                  </a:lnTo>
                  <a:lnTo>
                    <a:pt x="1" y="89"/>
                  </a:lnTo>
                  <a:lnTo>
                    <a:pt x="0" y="89"/>
                  </a:lnTo>
                  <a:lnTo>
                    <a:pt x="0" y="86"/>
                  </a:lnTo>
                  <a:lnTo>
                    <a:pt x="0" y="75"/>
                  </a:lnTo>
                  <a:lnTo>
                    <a:pt x="0" y="70"/>
                  </a:lnTo>
                  <a:lnTo>
                    <a:pt x="0" y="69"/>
                  </a:lnTo>
                  <a:lnTo>
                    <a:pt x="0" y="65"/>
                  </a:lnTo>
                  <a:lnTo>
                    <a:pt x="0" y="60"/>
                  </a:lnTo>
                  <a:lnTo>
                    <a:pt x="0" y="57"/>
                  </a:lnTo>
                  <a:lnTo>
                    <a:pt x="0" y="51"/>
                  </a:lnTo>
                  <a:lnTo>
                    <a:pt x="0" y="39"/>
                  </a:lnTo>
                  <a:lnTo>
                    <a:pt x="0" y="38"/>
                  </a:lnTo>
                  <a:lnTo>
                    <a:pt x="0" y="29"/>
                  </a:lnTo>
                  <a:lnTo>
                    <a:pt x="0" y="24"/>
                  </a:lnTo>
                  <a:lnTo>
                    <a:pt x="0" y="15"/>
                  </a:lnTo>
                  <a:lnTo>
                    <a:pt x="1" y="14"/>
                  </a:lnTo>
                  <a:lnTo>
                    <a:pt x="1" y="7"/>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2" name="Freeform 141"/>
            <p:cNvSpPr>
              <a:spLocks/>
            </p:cNvSpPr>
            <p:nvPr/>
          </p:nvSpPr>
          <p:spPr bwMode="auto">
            <a:xfrm>
              <a:off x="4409371" y="923719"/>
              <a:ext cx="379413" cy="384175"/>
            </a:xfrm>
            <a:custGeom>
              <a:avLst/>
              <a:gdLst/>
              <a:ahLst/>
              <a:cxnLst>
                <a:cxn ang="0">
                  <a:pos x="13" y="1"/>
                </a:cxn>
                <a:cxn ang="0">
                  <a:pos x="20" y="1"/>
                </a:cxn>
                <a:cxn ang="0">
                  <a:pos x="44" y="1"/>
                </a:cxn>
                <a:cxn ang="0">
                  <a:pos x="62" y="1"/>
                </a:cxn>
                <a:cxn ang="0">
                  <a:pos x="67" y="1"/>
                </a:cxn>
                <a:cxn ang="0">
                  <a:pos x="84" y="0"/>
                </a:cxn>
                <a:cxn ang="0">
                  <a:pos x="96" y="0"/>
                </a:cxn>
                <a:cxn ang="0">
                  <a:pos x="122" y="0"/>
                </a:cxn>
                <a:cxn ang="0">
                  <a:pos x="129" y="0"/>
                </a:cxn>
                <a:cxn ang="0">
                  <a:pos x="141" y="0"/>
                </a:cxn>
                <a:cxn ang="0">
                  <a:pos x="149" y="0"/>
                </a:cxn>
                <a:cxn ang="0">
                  <a:pos x="158" y="0"/>
                </a:cxn>
                <a:cxn ang="0">
                  <a:pos x="172" y="0"/>
                </a:cxn>
                <a:cxn ang="0">
                  <a:pos x="199" y="0"/>
                </a:cxn>
                <a:cxn ang="0">
                  <a:pos x="215" y="0"/>
                </a:cxn>
                <a:cxn ang="0">
                  <a:pos x="232" y="0"/>
                </a:cxn>
                <a:cxn ang="0">
                  <a:pos x="235" y="7"/>
                </a:cxn>
                <a:cxn ang="0">
                  <a:pos x="234" y="31"/>
                </a:cxn>
                <a:cxn ang="0">
                  <a:pos x="234" y="53"/>
                </a:cxn>
                <a:cxn ang="0">
                  <a:pos x="234" y="68"/>
                </a:cxn>
                <a:cxn ang="0">
                  <a:pos x="237" y="82"/>
                </a:cxn>
                <a:cxn ang="0">
                  <a:pos x="239" y="96"/>
                </a:cxn>
                <a:cxn ang="0">
                  <a:pos x="239" y="113"/>
                </a:cxn>
                <a:cxn ang="0">
                  <a:pos x="239" y="124"/>
                </a:cxn>
                <a:cxn ang="0">
                  <a:pos x="239" y="141"/>
                </a:cxn>
                <a:cxn ang="0">
                  <a:pos x="239" y="163"/>
                </a:cxn>
                <a:cxn ang="0">
                  <a:pos x="239" y="198"/>
                </a:cxn>
                <a:cxn ang="0">
                  <a:pos x="239" y="216"/>
                </a:cxn>
                <a:cxn ang="0">
                  <a:pos x="239" y="242"/>
                </a:cxn>
                <a:cxn ang="0">
                  <a:pos x="222" y="242"/>
                </a:cxn>
                <a:cxn ang="0">
                  <a:pos x="204" y="242"/>
                </a:cxn>
                <a:cxn ang="0">
                  <a:pos x="187" y="242"/>
                </a:cxn>
                <a:cxn ang="0">
                  <a:pos x="160" y="242"/>
                </a:cxn>
                <a:cxn ang="0">
                  <a:pos x="132" y="242"/>
                </a:cxn>
                <a:cxn ang="0">
                  <a:pos x="118" y="242"/>
                </a:cxn>
                <a:cxn ang="0">
                  <a:pos x="94" y="242"/>
                </a:cxn>
                <a:cxn ang="0">
                  <a:pos x="81" y="242"/>
                </a:cxn>
                <a:cxn ang="0">
                  <a:pos x="70" y="242"/>
                </a:cxn>
                <a:cxn ang="0">
                  <a:pos x="56" y="242"/>
                </a:cxn>
                <a:cxn ang="0">
                  <a:pos x="36" y="242"/>
                </a:cxn>
                <a:cxn ang="0">
                  <a:pos x="27" y="242"/>
                </a:cxn>
                <a:cxn ang="0">
                  <a:pos x="10" y="242"/>
                </a:cxn>
                <a:cxn ang="0">
                  <a:pos x="7" y="235"/>
                </a:cxn>
                <a:cxn ang="0">
                  <a:pos x="7" y="206"/>
                </a:cxn>
                <a:cxn ang="0">
                  <a:pos x="7" y="198"/>
                </a:cxn>
                <a:cxn ang="0">
                  <a:pos x="7" y="180"/>
                </a:cxn>
                <a:cxn ang="0">
                  <a:pos x="7" y="153"/>
                </a:cxn>
                <a:cxn ang="0">
                  <a:pos x="7" y="146"/>
                </a:cxn>
                <a:cxn ang="0">
                  <a:pos x="7" y="127"/>
                </a:cxn>
                <a:cxn ang="0">
                  <a:pos x="7" y="113"/>
                </a:cxn>
                <a:cxn ang="0">
                  <a:pos x="7" y="106"/>
                </a:cxn>
                <a:cxn ang="0">
                  <a:pos x="7" y="93"/>
                </a:cxn>
                <a:cxn ang="0">
                  <a:pos x="7" y="82"/>
                </a:cxn>
                <a:cxn ang="0">
                  <a:pos x="0" y="82"/>
                </a:cxn>
                <a:cxn ang="0">
                  <a:pos x="0" y="68"/>
                </a:cxn>
                <a:cxn ang="0">
                  <a:pos x="0" y="56"/>
                </a:cxn>
                <a:cxn ang="0">
                  <a:pos x="0" y="48"/>
                </a:cxn>
                <a:cxn ang="0">
                  <a:pos x="1" y="34"/>
                </a:cxn>
                <a:cxn ang="0">
                  <a:pos x="1" y="20"/>
                </a:cxn>
              </a:cxnLst>
              <a:rect l="0" t="0" r="r" b="b"/>
              <a:pathLst>
                <a:path w="239" h="242">
                  <a:moveTo>
                    <a:pt x="1" y="1"/>
                  </a:moveTo>
                  <a:lnTo>
                    <a:pt x="3" y="1"/>
                  </a:lnTo>
                  <a:lnTo>
                    <a:pt x="7" y="1"/>
                  </a:lnTo>
                  <a:lnTo>
                    <a:pt x="13" y="1"/>
                  </a:lnTo>
                  <a:lnTo>
                    <a:pt x="15" y="1"/>
                  </a:lnTo>
                  <a:lnTo>
                    <a:pt x="17" y="1"/>
                  </a:lnTo>
                  <a:lnTo>
                    <a:pt x="19" y="1"/>
                  </a:lnTo>
                  <a:lnTo>
                    <a:pt x="20" y="1"/>
                  </a:lnTo>
                  <a:lnTo>
                    <a:pt x="22" y="1"/>
                  </a:lnTo>
                  <a:lnTo>
                    <a:pt x="27" y="1"/>
                  </a:lnTo>
                  <a:lnTo>
                    <a:pt x="32" y="1"/>
                  </a:lnTo>
                  <a:lnTo>
                    <a:pt x="44" y="1"/>
                  </a:lnTo>
                  <a:lnTo>
                    <a:pt x="48" y="1"/>
                  </a:lnTo>
                  <a:lnTo>
                    <a:pt x="51" y="1"/>
                  </a:lnTo>
                  <a:lnTo>
                    <a:pt x="58" y="1"/>
                  </a:lnTo>
                  <a:lnTo>
                    <a:pt x="62" y="1"/>
                  </a:lnTo>
                  <a:lnTo>
                    <a:pt x="63" y="1"/>
                  </a:lnTo>
                  <a:lnTo>
                    <a:pt x="65" y="1"/>
                  </a:lnTo>
                  <a:lnTo>
                    <a:pt x="67" y="1"/>
                  </a:lnTo>
                  <a:lnTo>
                    <a:pt x="67" y="1"/>
                  </a:lnTo>
                  <a:lnTo>
                    <a:pt x="70" y="1"/>
                  </a:lnTo>
                  <a:lnTo>
                    <a:pt x="75" y="1"/>
                  </a:lnTo>
                  <a:lnTo>
                    <a:pt x="81" y="0"/>
                  </a:lnTo>
                  <a:lnTo>
                    <a:pt x="84" y="0"/>
                  </a:lnTo>
                  <a:lnTo>
                    <a:pt x="87" y="0"/>
                  </a:lnTo>
                  <a:lnTo>
                    <a:pt x="89" y="0"/>
                  </a:lnTo>
                  <a:lnTo>
                    <a:pt x="94" y="0"/>
                  </a:lnTo>
                  <a:lnTo>
                    <a:pt x="96" y="0"/>
                  </a:lnTo>
                  <a:lnTo>
                    <a:pt x="96" y="0"/>
                  </a:lnTo>
                  <a:lnTo>
                    <a:pt x="105" y="0"/>
                  </a:lnTo>
                  <a:lnTo>
                    <a:pt x="112" y="0"/>
                  </a:lnTo>
                  <a:lnTo>
                    <a:pt x="122" y="0"/>
                  </a:lnTo>
                  <a:lnTo>
                    <a:pt x="124" y="0"/>
                  </a:lnTo>
                  <a:lnTo>
                    <a:pt x="127" y="0"/>
                  </a:lnTo>
                  <a:lnTo>
                    <a:pt x="127" y="0"/>
                  </a:lnTo>
                  <a:lnTo>
                    <a:pt x="129" y="0"/>
                  </a:lnTo>
                  <a:lnTo>
                    <a:pt x="130" y="0"/>
                  </a:lnTo>
                  <a:lnTo>
                    <a:pt x="134" y="0"/>
                  </a:lnTo>
                  <a:lnTo>
                    <a:pt x="137" y="0"/>
                  </a:lnTo>
                  <a:lnTo>
                    <a:pt x="141" y="0"/>
                  </a:lnTo>
                  <a:lnTo>
                    <a:pt x="144" y="0"/>
                  </a:lnTo>
                  <a:lnTo>
                    <a:pt x="146" y="0"/>
                  </a:lnTo>
                  <a:lnTo>
                    <a:pt x="148" y="0"/>
                  </a:lnTo>
                  <a:lnTo>
                    <a:pt x="149" y="0"/>
                  </a:lnTo>
                  <a:lnTo>
                    <a:pt x="153" y="0"/>
                  </a:lnTo>
                  <a:lnTo>
                    <a:pt x="155" y="0"/>
                  </a:lnTo>
                  <a:lnTo>
                    <a:pt x="156" y="0"/>
                  </a:lnTo>
                  <a:lnTo>
                    <a:pt x="158" y="0"/>
                  </a:lnTo>
                  <a:lnTo>
                    <a:pt x="161" y="0"/>
                  </a:lnTo>
                  <a:lnTo>
                    <a:pt x="163" y="0"/>
                  </a:lnTo>
                  <a:lnTo>
                    <a:pt x="168" y="0"/>
                  </a:lnTo>
                  <a:lnTo>
                    <a:pt x="172" y="0"/>
                  </a:lnTo>
                  <a:lnTo>
                    <a:pt x="182" y="0"/>
                  </a:lnTo>
                  <a:lnTo>
                    <a:pt x="187" y="0"/>
                  </a:lnTo>
                  <a:lnTo>
                    <a:pt x="196" y="0"/>
                  </a:lnTo>
                  <a:lnTo>
                    <a:pt x="199" y="0"/>
                  </a:lnTo>
                  <a:lnTo>
                    <a:pt x="204" y="0"/>
                  </a:lnTo>
                  <a:lnTo>
                    <a:pt x="208" y="0"/>
                  </a:lnTo>
                  <a:lnTo>
                    <a:pt x="213" y="0"/>
                  </a:lnTo>
                  <a:lnTo>
                    <a:pt x="215" y="0"/>
                  </a:lnTo>
                  <a:lnTo>
                    <a:pt x="220" y="0"/>
                  </a:lnTo>
                  <a:lnTo>
                    <a:pt x="223" y="0"/>
                  </a:lnTo>
                  <a:lnTo>
                    <a:pt x="228" y="0"/>
                  </a:lnTo>
                  <a:lnTo>
                    <a:pt x="232" y="0"/>
                  </a:lnTo>
                  <a:lnTo>
                    <a:pt x="232" y="0"/>
                  </a:lnTo>
                  <a:lnTo>
                    <a:pt x="234" y="0"/>
                  </a:lnTo>
                  <a:lnTo>
                    <a:pt x="235" y="0"/>
                  </a:lnTo>
                  <a:lnTo>
                    <a:pt x="235" y="7"/>
                  </a:lnTo>
                  <a:lnTo>
                    <a:pt x="234" y="8"/>
                  </a:lnTo>
                  <a:lnTo>
                    <a:pt x="234" y="17"/>
                  </a:lnTo>
                  <a:lnTo>
                    <a:pt x="234" y="22"/>
                  </a:lnTo>
                  <a:lnTo>
                    <a:pt x="234" y="31"/>
                  </a:lnTo>
                  <a:lnTo>
                    <a:pt x="234" y="32"/>
                  </a:lnTo>
                  <a:lnTo>
                    <a:pt x="234" y="44"/>
                  </a:lnTo>
                  <a:lnTo>
                    <a:pt x="234" y="50"/>
                  </a:lnTo>
                  <a:lnTo>
                    <a:pt x="234" y="53"/>
                  </a:lnTo>
                  <a:lnTo>
                    <a:pt x="234" y="58"/>
                  </a:lnTo>
                  <a:lnTo>
                    <a:pt x="234" y="62"/>
                  </a:lnTo>
                  <a:lnTo>
                    <a:pt x="234" y="63"/>
                  </a:lnTo>
                  <a:lnTo>
                    <a:pt x="234" y="68"/>
                  </a:lnTo>
                  <a:lnTo>
                    <a:pt x="234" y="79"/>
                  </a:lnTo>
                  <a:lnTo>
                    <a:pt x="234" y="82"/>
                  </a:lnTo>
                  <a:lnTo>
                    <a:pt x="235" y="82"/>
                  </a:lnTo>
                  <a:lnTo>
                    <a:pt x="237" y="82"/>
                  </a:lnTo>
                  <a:lnTo>
                    <a:pt x="239" y="82"/>
                  </a:lnTo>
                  <a:lnTo>
                    <a:pt x="239" y="87"/>
                  </a:lnTo>
                  <a:lnTo>
                    <a:pt x="239" y="89"/>
                  </a:lnTo>
                  <a:lnTo>
                    <a:pt x="239" y="96"/>
                  </a:lnTo>
                  <a:lnTo>
                    <a:pt x="239" y="98"/>
                  </a:lnTo>
                  <a:lnTo>
                    <a:pt x="239" y="106"/>
                  </a:lnTo>
                  <a:lnTo>
                    <a:pt x="239" y="112"/>
                  </a:lnTo>
                  <a:lnTo>
                    <a:pt x="239" y="113"/>
                  </a:lnTo>
                  <a:lnTo>
                    <a:pt x="239" y="117"/>
                  </a:lnTo>
                  <a:lnTo>
                    <a:pt x="239" y="118"/>
                  </a:lnTo>
                  <a:lnTo>
                    <a:pt x="239" y="120"/>
                  </a:lnTo>
                  <a:lnTo>
                    <a:pt x="239" y="124"/>
                  </a:lnTo>
                  <a:lnTo>
                    <a:pt x="239" y="129"/>
                  </a:lnTo>
                  <a:lnTo>
                    <a:pt x="239" y="136"/>
                  </a:lnTo>
                  <a:lnTo>
                    <a:pt x="239" y="137"/>
                  </a:lnTo>
                  <a:lnTo>
                    <a:pt x="239" y="141"/>
                  </a:lnTo>
                  <a:lnTo>
                    <a:pt x="239" y="146"/>
                  </a:lnTo>
                  <a:lnTo>
                    <a:pt x="239" y="151"/>
                  </a:lnTo>
                  <a:lnTo>
                    <a:pt x="239" y="158"/>
                  </a:lnTo>
                  <a:lnTo>
                    <a:pt x="239" y="163"/>
                  </a:lnTo>
                  <a:lnTo>
                    <a:pt x="239" y="172"/>
                  </a:lnTo>
                  <a:lnTo>
                    <a:pt x="239" y="185"/>
                  </a:lnTo>
                  <a:lnTo>
                    <a:pt x="239" y="196"/>
                  </a:lnTo>
                  <a:lnTo>
                    <a:pt x="239" y="198"/>
                  </a:lnTo>
                  <a:lnTo>
                    <a:pt x="239" y="203"/>
                  </a:lnTo>
                  <a:lnTo>
                    <a:pt x="239" y="203"/>
                  </a:lnTo>
                  <a:lnTo>
                    <a:pt x="239" y="213"/>
                  </a:lnTo>
                  <a:lnTo>
                    <a:pt x="239" y="216"/>
                  </a:lnTo>
                  <a:lnTo>
                    <a:pt x="239" y="218"/>
                  </a:lnTo>
                  <a:lnTo>
                    <a:pt x="239" y="223"/>
                  </a:lnTo>
                  <a:lnTo>
                    <a:pt x="239" y="235"/>
                  </a:lnTo>
                  <a:lnTo>
                    <a:pt x="239" y="242"/>
                  </a:lnTo>
                  <a:lnTo>
                    <a:pt x="234" y="242"/>
                  </a:lnTo>
                  <a:lnTo>
                    <a:pt x="232" y="242"/>
                  </a:lnTo>
                  <a:lnTo>
                    <a:pt x="223" y="242"/>
                  </a:lnTo>
                  <a:lnTo>
                    <a:pt x="222" y="242"/>
                  </a:lnTo>
                  <a:lnTo>
                    <a:pt x="216" y="242"/>
                  </a:lnTo>
                  <a:lnTo>
                    <a:pt x="213" y="242"/>
                  </a:lnTo>
                  <a:lnTo>
                    <a:pt x="211" y="242"/>
                  </a:lnTo>
                  <a:lnTo>
                    <a:pt x="204" y="242"/>
                  </a:lnTo>
                  <a:lnTo>
                    <a:pt x="203" y="242"/>
                  </a:lnTo>
                  <a:lnTo>
                    <a:pt x="201" y="242"/>
                  </a:lnTo>
                  <a:lnTo>
                    <a:pt x="192" y="242"/>
                  </a:lnTo>
                  <a:lnTo>
                    <a:pt x="187" y="242"/>
                  </a:lnTo>
                  <a:lnTo>
                    <a:pt x="184" y="242"/>
                  </a:lnTo>
                  <a:lnTo>
                    <a:pt x="173" y="242"/>
                  </a:lnTo>
                  <a:lnTo>
                    <a:pt x="163" y="242"/>
                  </a:lnTo>
                  <a:lnTo>
                    <a:pt x="160" y="242"/>
                  </a:lnTo>
                  <a:lnTo>
                    <a:pt x="156" y="242"/>
                  </a:lnTo>
                  <a:lnTo>
                    <a:pt x="144" y="242"/>
                  </a:lnTo>
                  <a:lnTo>
                    <a:pt x="142" y="242"/>
                  </a:lnTo>
                  <a:lnTo>
                    <a:pt x="132" y="242"/>
                  </a:lnTo>
                  <a:lnTo>
                    <a:pt x="125" y="242"/>
                  </a:lnTo>
                  <a:lnTo>
                    <a:pt x="124" y="242"/>
                  </a:lnTo>
                  <a:lnTo>
                    <a:pt x="122" y="242"/>
                  </a:lnTo>
                  <a:lnTo>
                    <a:pt x="118" y="242"/>
                  </a:lnTo>
                  <a:lnTo>
                    <a:pt x="110" y="242"/>
                  </a:lnTo>
                  <a:lnTo>
                    <a:pt x="106" y="242"/>
                  </a:lnTo>
                  <a:lnTo>
                    <a:pt x="105" y="242"/>
                  </a:lnTo>
                  <a:lnTo>
                    <a:pt x="94" y="242"/>
                  </a:lnTo>
                  <a:lnTo>
                    <a:pt x="89" y="242"/>
                  </a:lnTo>
                  <a:lnTo>
                    <a:pt x="87" y="242"/>
                  </a:lnTo>
                  <a:lnTo>
                    <a:pt x="86" y="242"/>
                  </a:lnTo>
                  <a:lnTo>
                    <a:pt x="81" y="242"/>
                  </a:lnTo>
                  <a:lnTo>
                    <a:pt x="81" y="242"/>
                  </a:lnTo>
                  <a:lnTo>
                    <a:pt x="74" y="242"/>
                  </a:lnTo>
                  <a:lnTo>
                    <a:pt x="72" y="242"/>
                  </a:lnTo>
                  <a:lnTo>
                    <a:pt x="70" y="242"/>
                  </a:lnTo>
                  <a:lnTo>
                    <a:pt x="67" y="242"/>
                  </a:lnTo>
                  <a:lnTo>
                    <a:pt x="62" y="242"/>
                  </a:lnTo>
                  <a:lnTo>
                    <a:pt x="60" y="242"/>
                  </a:lnTo>
                  <a:lnTo>
                    <a:pt x="56" y="242"/>
                  </a:lnTo>
                  <a:lnTo>
                    <a:pt x="48" y="242"/>
                  </a:lnTo>
                  <a:lnTo>
                    <a:pt x="46" y="242"/>
                  </a:lnTo>
                  <a:lnTo>
                    <a:pt x="38" y="242"/>
                  </a:lnTo>
                  <a:lnTo>
                    <a:pt x="36" y="242"/>
                  </a:lnTo>
                  <a:lnTo>
                    <a:pt x="34" y="242"/>
                  </a:lnTo>
                  <a:lnTo>
                    <a:pt x="31" y="242"/>
                  </a:lnTo>
                  <a:lnTo>
                    <a:pt x="29" y="242"/>
                  </a:lnTo>
                  <a:lnTo>
                    <a:pt x="27" y="242"/>
                  </a:lnTo>
                  <a:lnTo>
                    <a:pt x="17" y="242"/>
                  </a:lnTo>
                  <a:lnTo>
                    <a:pt x="15" y="242"/>
                  </a:lnTo>
                  <a:lnTo>
                    <a:pt x="13" y="242"/>
                  </a:lnTo>
                  <a:lnTo>
                    <a:pt x="10" y="242"/>
                  </a:lnTo>
                  <a:lnTo>
                    <a:pt x="7" y="242"/>
                  </a:lnTo>
                  <a:lnTo>
                    <a:pt x="7" y="242"/>
                  </a:lnTo>
                  <a:lnTo>
                    <a:pt x="7" y="241"/>
                  </a:lnTo>
                  <a:lnTo>
                    <a:pt x="7" y="235"/>
                  </a:lnTo>
                  <a:lnTo>
                    <a:pt x="7" y="232"/>
                  </a:lnTo>
                  <a:lnTo>
                    <a:pt x="7" y="218"/>
                  </a:lnTo>
                  <a:lnTo>
                    <a:pt x="7" y="215"/>
                  </a:lnTo>
                  <a:lnTo>
                    <a:pt x="7" y="206"/>
                  </a:lnTo>
                  <a:lnTo>
                    <a:pt x="7" y="204"/>
                  </a:lnTo>
                  <a:lnTo>
                    <a:pt x="7" y="203"/>
                  </a:lnTo>
                  <a:lnTo>
                    <a:pt x="7" y="203"/>
                  </a:lnTo>
                  <a:lnTo>
                    <a:pt x="7" y="198"/>
                  </a:lnTo>
                  <a:lnTo>
                    <a:pt x="7" y="191"/>
                  </a:lnTo>
                  <a:lnTo>
                    <a:pt x="7" y="187"/>
                  </a:lnTo>
                  <a:lnTo>
                    <a:pt x="7" y="187"/>
                  </a:lnTo>
                  <a:lnTo>
                    <a:pt x="7" y="180"/>
                  </a:lnTo>
                  <a:lnTo>
                    <a:pt x="7" y="175"/>
                  </a:lnTo>
                  <a:lnTo>
                    <a:pt x="7" y="163"/>
                  </a:lnTo>
                  <a:lnTo>
                    <a:pt x="7" y="156"/>
                  </a:lnTo>
                  <a:lnTo>
                    <a:pt x="7" y="153"/>
                  </a:lnTo>
                  <a:lnTo>
                    <a:pt x="7" y="151"/>
                  </a:lnTo>
                  <a:lnTo>
                    <a:pt x="7" y="149"/>
                  </a:lnTo>
                  <a:lnTo>
                    <a:pt x="7" y="148"/>
                  </a:lnTo>
                  <a:lnTo>
                    <a:pt x="7" y="146"/>
                  </a:lnTo>
                  <a:lnTo>
                    <a:pt x="7" y="142"/>
                  </a:lnTo>
                  <a:lnTo>
                    <a:pt x="7" y="141"/>
                  </a:lnTo>
                  <a:lnTo>
                    <a:pt x="7" y="139"/>
                  </a:lnTo>
                  <a:lnTo>
                    <a:pt x="7" y="127"/>
                  </a:lnTo>
                  <a:lnTo>
                    <a:pt x="7" y="120"/>
                  </a:lnTo>
                  <a:lnTo>
                    <a:pt x="7" y="118"/>
                  </a:lnTo>
                  <a:lnTo>
                    <a:pt x="7" y="115"/>
                  </a:lnTo>
                  <a:lnTo>
                    <a:pt x="7" y="113"/>
                  </a:lnTo>
                  <a:lnTo>
                    <a:pt x="7" y="113"/>
                  </a:lnTo>
                  <a:lnTo>
                    <a:pt x="7" y="112"/>
                  </a:lnTo>
                  <a:lnTo>
                    <a:pt x="7" y="108"/>
                  </a:lnTo>
                  <a:lnTo>
                    <a:pt x="7" y="106"/>
                  </a:lnTo>
                  <a:lnTo>
                    <a:pt x="7" y="105"/>
                  </a:lnTo>
                  <a:lnTo>
                    <a:pt x="7" y="101"/>
                  </a:lnTo>
                  <a:lnTo>
                    <a:pt x="7" y="98"/>
                  </a:lnTo>
                  <a:lnTo>
                    <a:pt x="7" y="93"/>
                  </a:lnTo>
                  <a:lnTo>
                    <a:pt x="7" y="87"/>
                  </a:lnTo>
                  <a:lnTo>
                    <a:pt x="7" y="86"/>
                  </a:lnTo>
                  <a:lnTo>
                    <a:pt x="7" y="84"/>
                  </a:lnTo>
                  <a:lnTo>
                    <a:pt x="7" y="82"/>
                  </a:lnTo>
                  <a:lnTo>
                    <a:pt x="5" y="82"/>
                  </a:lnTo>
                  <a:lnTo>
                    <a:pt x="3" y="82"/>
                  </a:lnTo>
                  <a:lnTo>
                    <a:pt x="1" y="82"/>
                  </a:lnTo>
                  <a:lnTo>
                    <a:pt x="0" y="82"/>
                  </a:lnTo>
                  <a:lnTo>
                    <a:pt x="0" y="81"/>
                  </a:lnTo>
                  <a:lnTo>
                    <a:pt x="0" y="79"/>
                  </a:lnTo>
                  <a:lnTo>
                    <a:pt x="0" y="74"/>
                  </a:lnTo>
                  <a:lnTo>
                    <a:pt x="0" y="68"/>
                  </a:lnTo>
                  <a:lnTo>
                    <a:pt x="0" y="62"/>
                  </a:lnTo>
                  <a:lnTo>
                    <a:pt x="0" y="60"/>
                  </a:lnTo>
                  <a:lnTo>
                    <a:pt x="0" y="58"/>
                  </a:lnTo>
                  <a:lnTo>
                    <a:pt x="0" y="56"/>
                  </a:lnTo>
                  <a:lnTo>
                    <a:pt x="0" y="53"/>
                  </a:lnTo>
                  <a:lnTo>
                    <a:pt x="0" y="50"/>
                  </a:lnTo>
                  <a:lnTo>
                    <a:pt x="1" y="48"/>
                  </a:lnTo>
                  <a:lnTo>
                    <a:pt x="0" y="48"/>
                  </a:lnTo>
                  <a:lnTo>
                    <a:pt x="1" y="44"/>
                  </a:lnTo>
                  <a:lnTo>
                    <a:pt x="1" y="43"/>
                  </a:lnTo>
                  <a:lnTo>
                    <a:pt x="1" y="41"/>
                  </a:lnTo>
                  <a:lnTo>
                    <a:pt x="1" y="34"/>
                  </a:lnTo>
                  <a:lnTo>
                    <a:pt x="1" y="29"/>
                  </a:lnTo>
                  <a:lnTo>
                    <a:pt x="1" y="27"/>
                  </a:lnTo>
                  <a:lnTo>
                    <a:pt x="1" y="24"/>
                  </a:lnTo>
                  <a:lnTo>
                    <a:pt x="1" y="20"/>
                  </a:lnTo>
                  <a:lnTo>
                    <a:pt x="1" y="13"/>
                  </a:lnTo>
                  <a:lnTo>
                    <a:pt x="1" y="1"/>
                  </a:lnTo>
                  <a:lnTo>
                    <a:pt x="1" y="1"/>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3" name="Freeform 145"/>
            <p:cNvSpPr>
              <a:spLocks/>
            </p:cNvSpPr>
            <p:nvPr/>
          </p:nvSpPr>
          <p:spPr bwMode="auto">
            <a:xfrm>
              <a:off x="5266621" y="1207881"/>
              <a:ext cx="477838" cy="379413"/>
            </a:xfrm>
            <a:custGeom>
              <a:avLst/>
              <a:gdLst/>
              <a:ahLst/>
              <a:cxnLst>
                <a:cxn ang="0">
                  <a:pos x="296" y="27"/>
                </a:cxn>
                <a:cxn ang="0">
                  <a:pos x="297" y="53"/>
                </a:cxn>
                <a:cxn ang="0">
                  <a:pos x="297" y="75"/>
                </a:cxn>
                <a:cxn ang="0">
                  <a:pos x="297" y="99"/>
                </a:cxn>
                <a:cxn ang="0">
                  <a:pos x="299" y="120"/>
                </a:cxn>
                <a:cxn ang="0">
                  <a:pos x="301" y="151"/>
                </a:cxn>
                <a:cxn ang="0">
                  <a:pos x="301" y="172"/>
                </a:cxn>
                <a:cxn ang="0">
                  <a:pos x="301" y="199"/>
                </a:cxn>
                <a:cxn ang="0">
                  <a:pos x="301" y="216"/>
                </a:cxn>
                <a:cxn ang="0">
                  <a:pos x="301" y="232"/>
                </a:cxn>
                <a:cxn ang="0">
                  <a:pos x="291" y="237"/>
                </a:cxn>
                <a:cxn ang="0">
                  <a:pos x="270" y="237"/>
                </a:cxn>
                <a:cxn ang="0">
                  <a:pos x="249" y="237"/>
                </a:cxn>
                <a:cxn ang="0">
                  <a:pos x="234" y="237"/>
                </a:cxn>
                <a:cxn ang="0">
                  <a:pos x="218" y="237"/>
                </a:cxn>
                <a:cxn ang="0">
                  <a:pos x="205" y="237"/>
                </a:cxn>
                <a:cxn ang="0">
                  <a:pos x="187" y="237"/>
                </a:cxn>
                <a:cxn ang="0">
                  <a:pos x="168" y="237"/>
                </a:cxn>
                <a:cxn ang="0">
                  <a:pos x="149" y="237"/>
                </a:cxn>
                <a:cxn ang="0">
                  <a:pos x="136" y="237"/>
                </a:cxn>
                <a:cxn ang="0">
                  <a:pos x="119" y="237"/>
                </a:cxn>
                <a:cxn ang="0">
                  <a:pos x="105" y="237"/>
                </a:cxn>
                <a:cxn ang="0">
                  <a:pos x="84" y="237"/>
                </a:cxn>
                <a:cxn ang="0">
                  <a:pos x="63" y="237"/>
                </a:cxn>
                <a:cxn ang="0">
                  <a:pos x="48" y="237"/>
                </a:cxn>
                <a:cxn ang="0">
                  <a:pos x="26" y="239"/>
                </a:cxn>
                <a:cxn ang="0">
                  <a:pos x="5" y="239"/>
                </a:cxn>
                <a:cxn ang="0">
                  <a:pos x="0" y="220"/>
                </a:cxn>
                <a:cxn ang="0">
                  <a:pos x="0" y="199"/>
                </a:cxn>
                <a:cxn ang="0">
                  <a:pos x="0" y="179"/>
                </a:cxn>
                <a:cxn ang="0">
                  <a:pos x="0" y="165"/>
                </a:cxn>
                <a:cxn ang="0">
                  <a:pos x="0" y="141"/>
                </a:cxn>
                <a:cxn ang="0">
                  <a:pos x="0" y="111"/>
                </a:cxn>
                <a:cxn ang="0">
                  <a:pos x="0" y="75"/>
                </a:cxn>
                <a:cxn ang="0">
                  <a:pos x="0" y="43"/>
                </a:cxn>
                <a:cxn ang="0">
                  <a:pos x="0" y="22"/>
                </a:cxn>
                <a:cxn ang="0">
                  <a:pos x="19" y="5"/>
                </a:cxn>
                <a:cxn ang="0">
                  <a:pos x="43" y="5"/>
                </a:cxn>
                <a:cxn ang="0">
                  <a:pos x="65" y="5"/>
                </a:cxn>
                <a:cxn ang="0">
                  <a:pos x="79" y="5"/>
                </a:cxn>
                <a:cxn ang="0">
                  <a:pos x="100" y="3"/>
                </a:cxn>
                <a:cxn ang="0">
                  <a:pos x="122" y="3"/>
                </a:cxn>
                <a:cxn ang="0">
                  <a:pos x="137" y="3"/>
                </a:cxn>
                <a:cxn ang="0">
                  <a:pos x="163" y="3"/>
                </a:cxn>
                <a:cxn ang="0">
                  <a:pos x="172" y="3"/>
                </a:cxn>
                <a:cxn ang="0">
                  <a:pos x="182" y="1"/>
                </a:cxn>
                <a:cxn ang="0">
                  <a:pos x="205" y="1"/>
                </a:cxn>
                <a:cxn ang="0">
                  <a:pos x="220" y="1"/>
                </a:cxn>
                <a:cxn ang="0">
                  <a:pos x="246" y="1"/>
                </a:cxn>
                <a:cxn ang="0">
                  <a:pos x="263" y="0"/>
                </a:cxn>
                <a:cxn ang="0">
                  <a:pos x="289" y="0"/>
                </a:cxn>
              </a:cxnLst>
              <a:rect l="0" t="0" r="r" b="b"/>
              <a:pathLst>
                <a:path w="301" h="239">
                  <a:moveTo>
                    <a:pt x="296" y="0"/>
                  </a:moveTo>
                  <a:lnTo>
                    <a:pt x="296" y="10"/>
                  </a:lnTo>
                  <a:lnTo>
                    <a:pt x="296" y="12"/>
                  </a:lnTo>
                  <a:lnTo>
                    <a:pt x="296" y="20"/>
                  </a:lnTo>
                  <a:lnTo>
                    <a:pt x="296" y="27"/>
                  </a:lnTo>
                  <a:lnTo>
                    <a:pt x="297" y="34"/>
                  </a:lnTo>
                  <a:lnTo>
                    <a:pt x="297" y="39"/>
                  </a:lnTo>
                  <a:lnTo>
                    <a:pt x="297" y="44"/>
                  </a:lnTo>
                  <a:lnTo>
                    <a:pt x="297" y="46"/>
                  </a:lnTo>
                  <a:lnTo>
                    <a:pt x="297" y="53"/>
                  </a:lnTo>
                  <a:lnTo>
                    <a:pt x="297" y="55"/>
                  </a:lnTo>
                  <a:lnTo>
                    <a:pt x="297" y="62"/>
                  </a:lnTo>
                  <a:lnTo>
                    <a:pt x="297" y="72"/>
                  </a:lnTo>
                  <a:lnTo>
                    <a:pt x="297" y="74"/>
                  </a:lnTo>
                  <a:lnTo>
                    <a:pt x="297" y="75"/>
                  </a:lnTo>
                  <a:lnTo>
                    <a:pt x="297" y="84"/>
                  </a:lnTo>
                  <a:lnTo>
                    <a:pt x="297" y="84"/>
                  </a:lnTo>
                  <a:lnTo>
                    <a:pt x="297" y="87"/>
                  </a:lnTo>
                  <a:lnTo>
                    <a:pt x="297" y="99"/>
                  </a:lnTo>
                  <a:lnTo>
                    <a:pt x="297" y="99"/>
                  </a:lnTo>
                  <a:lnTo>
                    <a:pt x="299" y="99"/>
                  </a:lnTo>
                  <a:lnTo>
                    <a:pt x="299" y="103"/>
                  </a:lnTo>
                  <a:lnTo>
                    <a:pt x="299" y="106"/>
                  </a:lnTo>
                  <a:lnTo>
                    <a:pt x="299" y="113"/>
                  </a:lnTo>
                  <a:lnTo>
                    <a:pt x="299" y="120"/>
                  </a:lnTo>
                  <a:lnTo>
                    <a:pt x="299" y="137"/>
                  </a:lnTo>
                  <a:lnTo>
                    <a:pt x="299" y="142"/>
                  </a:lnTo>
                  <a:lnTo>
                    <a:pt x="301" y="142"/>
                  </a:lnTo>
                  <a:lnTo>
                    <a:pt x="301" y="148"/>
                  </a:lnTo>
                  <a:lnTo>
                    <a:pt x="301" y="151"/>
                  </a:lnTo>
                  <a:lnTo>
                    <a:pt x="301" y="153"/>
                  </a:lnTo>
                  <a:lnTo>
                    <a:pt x="301" y="158"/>
                  </a:lnTo>
                  <a:lnTo>
                    <a:pt x="301" y="160"/>
                  </a:lnTo>
                  <a:lnTo>
                    <a:pt x="301" y="170"/>
                  </a:lnTo>
                  <a:lnTo>
                    <a:pt x="301" y="172"/>
                  </a:lnTo>
                  <a:lnTo>
                    <a:pt x="301" y="175"/>
                  </a:lnTo>
                  <a:lnTo>
                    <a:pt x="301" y="182"/>
                  </a:lnTo>
                  <a:lnTo>
                    <a:pt x="301" y="192"/>
                  </a:lnTo>
                  <a:lnTo>
                    <a:pt x="301" y="196"/>
                  </a:lnTo>
                  <a:lnTo>
                    <a:pt x="301" y="199"/>
                  </a:lnTo>
                  <a:lnTo>
                    <a:pt x="301" y="203"/>
                  </a:lnTo>
                  <a:lnTo>
                    <a:pt x="301" y="204"/>
                  </a:lnTo>
                  <a:lnTo>
                    <a:pt x="301" y="206"/>
                  </a:lnTo>
                  <a:lnTo>
                    <a:pt x="301" y="209"/>
                  </a:lnTo>
                  <a:lnTo>
                    <a:pt x="301" y="216"/>
                  </a:lnTo>
                  <a:lnTo>
                    <a:pt x="301" y="220"/>
                  </a:lnTo>
                  <a:lnTo>
                    <a:pt x="301" y="223"/>
                  </a:lnTo>
                  <a:lnTo>
                    <a:pt x="301" y="227"/>
                  </a:lnTo>
                  <a:lnTo>
                    <a:pt x="301" y="230"/>
                  </a:lnTo>
                  <a:lnTo>
                    <a:pt x="301" y="232"/>
                  </a:lnTo>
                  <a:lnTo>
                    <a:pt x="301" y="235"/>
                  </a:lnTo>
                  <a:lnTo>
                    <a:pt x="301" y="235"/>
                  </a:lnTo>
                  <a:lnTo>
                    <a:pt x="301" y="237"/>
                  </a:lnTo>
                  <a:lnTo>
                    <a:pt x="297" y="237"/>
                  </a:lnTo>
                  <a:lnTo>
                    <a:pt x="291" y="237"/>
                  </a:lnTo>
                  <a:lnTo>
                    <a:pt x="284" y="237"/>
                  </a:lnTo>
                  <a:lnTo>
                    <a:pt x="280" y="237"/>
                  </a:lnTo>
                  <a:lnTo>
                    <a:pt x="278" y="237"/>
                  </a:lnTo>
                  <a:lnTo>
                    <a:pt x="273" y="237"/>
                  </a:lnTo>
                  <a:lnTo>
                    <a:pt x="270" y="237"/>
                  </a:lnTo>
                  <a:lnTo>
                    <a:pt x="266" y="237"/>
                  </a:lnTo>
                  <a:lnTo>
                    <a:pt x="260" y="237"/>
                  </a:lnTo>
                  <a:lnTo>
                    <a:pt x="256" y="237"/>
                  </a:lnTo>
                  <a:lnTo>
                    <a:pt x="254" y="237"/>
                  </a:lnTo>
                  <a:lnTo>
                    <a:pt x="249" y="237"/>
                  </a:lnTo>
                  <a:lnTo>
                    <a:pt x="242" y="237"/>
                  </a:lnTo>
                  <a:lnTo>
                    <a:pt x="241" y="237"/>
                  </a:lnTo>
                  <a:lnTo>
                    <a:pt x="235" y="237"/>
                  </a:lnTo>
                  <a:lnTo>
                    <a:pt x="235" y="237"/>
                  </a:lnTo>
                  <a:lnTo>
                    <a:pt x="234" y="237"/>
                  </a:lnTo>
                  <a:lnTo>
                    <a:pt x="229" y="237"/>
                  </a:lnTo>
                  <a:lnTo>
                    <a:pt x="225" y="237"/>
                  </a:lnTo>
                  <a:lnTo>
                    <a:pt x="223" y="237"/>
                  </a:lnTo>
                  <a:lnTo>
                    <a:pt x="222" y="237"/>
                  </a:lnTo>
                  <a:lnTo>
                    <a:pt x="218" y="237"/>
                  </a:lnTo>
                  <a:lnTo>
                    <a:pt x="217" y="237"/>
                  </a:lnTo>
                  <a:lnTo>
                    <a:pt x="215" y="237"/>
                  </a:lnTo>
                  <a:lnTo>
                    <a:pt x="210" y="237"/>
                  </a:lnTo>
                  <a:lnTo>
                    <a:pt x="208" y="237"/>
                  </a:lnTo>
                  <a:lnTo>
                    <a:pt x="205" y="237"/>
                  </a:lnTo>
                  <a:lnTo>
                    <a:pt x="205" y="237"/>
                  </a:lnTo>
                  <a:lnTo>
                    <a:pt x="201" y="237"/>
                  </a:lnTo>
                  <a:lnTo>
                    <a:pt x="192" y="237"/>
                  </a:lnTo>
                  <a:lnTo>
                    <a:pt x="189" y="237"/>
                  </a:lnTo>
                  <a:lnTo>
                    <a:pt x="187" y="237"/>
                  </a:lnTo>
                  <a:lnTo>
                    <a:pt x="182" y="237"/>
                  </a:lnTo>
                  <a:lnTo>
                    <a:pt x="179" y="237"/>
                  </a:lnTo>
                  <a:lnTo>
                    <a:pt x="172" y="237"/>
                  </a:lnTo>
                  <a:lnTo>
                    <a:pt x="170" y="237"/>
                  </a:lnTo>
                  <a:lnTo>
                    <a:pt x="168" y="237"/>
                  </a:lnTo>
                  <a:lnTo>
                    <a:pt x="160" y="237"/>
                  </a:lnTo>
                  <a:lnTo>
                    <a:pt x="160" y="237"/>
                  </a:lnTo>
                  <a:lnTo>
                    <a:pt x="156" y="237"/>
                  </a:lnTo>
                  <a:lnTo>
                    <a:pt x="155" y="237"/>
                  </a:lnTo>
                  <a:lnTo>
                    <a:pt x="149" y="237"/>
                  </a:lnTo>
                  <a:lnTo>
                    <a:pt x="148" y="237"/>
                  </a:lnTo>
                  <a:lnTo>
                    <a:pt x="144" y="237"/>
                  </a:lnTo>
                  <a:lnTo>
                    <a:pt x="141" y="237"/>
                  </a:lnTo>
                  <a:lnTo>
                    <a:pt x="137" y="237"/>
                  </a:lnTo>
                  <a:lnTo>
                    <a:pt x="136" y="237"/>
                  </a:lnTo>
                  <a:lnTo>
                    <a:pt x="134" y="237"/>
                  </a:lnTo>
                  <a:lnTo>
                    <a:pt x="132" y="237"/>
                  </a:lnTo>
                  <a:lnTo>
                    <a:pt x="131" y="237"/>
                  </a:lnTo>
                  <a:lnTo>
                    <a:pt x="124" y="237"/>
                  </a:lnTo>
                  <a:lnTo>
                    <a:pt x="119" y="237"/>
                  </a:lnTo>
                  <a:lnTo>
                    <a:pt x="115" y="237"/>
                  </a:lnTo>
                  <a:lnTo>
                    <a:pt x="113" y="237"/>
                  </a:lnTo>
                  <a:lnTo>
                    <a:pt x="108" y="237"/>
                  </a:lnTo>
                  <a:lnTo>
                    <a:pt x="106" y="237"/>
                  </a:lnTo>
                  <a:lnTo>
                    <a:pt x="105" y="237"/>
                  </a:lnTo>
                  <a:lnTo>
                    <a:pt x="103" y="237"/>
                  </a:lnTo>
                  <a:lnTo>
                    <a:pt x="100" y="237"/>
                  </a:lnTo>
                  <a:lnTo>
                    <a:pt x="98" y="237"/>
                  </a:lnTo>
                  <a:lnTo>
                    <a:pt x="91" y="237"/>
                  </a:lnTo>
                  <a:lnTo>
                    <a:pt x="84" y="237"/>
                  </a:lnTo>
                  <a:lnTo>
                    <a:pt x="75" y="237"/>
                  </a:lnTo>
                  <a:lnTo>
                    <a:pt x="74" y="237"/>
                  </a:lnTo>
                  <a:lnTo>
                    <a:pt x="72" y="237"/>
                  </a:lnTo>
                  <a:lnTo>
                    <a:pt x="67" y="237"/>
                  </a:lnTo>
                  <a:lnTo>
                    <a:pt x="63" y="237"/>
                  </a:lnTo>
                  <a:lnTo>
                    <a:pt x="62" y="237"/>
                  </a:lnTo>
                  <a:lnTo>
                    <a:pt x="60" y="237"/>
                  </a:lnTo>
                  <a:lnTo>
                    <a:pt x="57" y="237"/>
                  </a:lnTo>
                  <a:lnTo>
                    <a:pt x="55" y="237"/>
                  </a:lnTo>
                  <a:lnTo>
                    <a:pt x="48" y="237"/>
                  </a:lnTo>
                  <a:lnTo>
                    <a:pt x="46" y="237"/>
                  </a:lnTo>
                  <a:lnTo>
                    <a:pt x="43" y="239"/>
                  </a:lnTo>
                  <a:lnTo>
                    <a:pt x="41" y="239"/>
                  </a:lnTo>
                  <a:lnTo>
                    <a:pt x="39" y="239"/>
                  </a:lnTo>
                  <a:lnTo>
                    <a:pt x="26" y="239"/>
                  </a:lnTo>
                  <a:lnTo>
                    <a:pt x="24" y="239"/>
                  </a:lnTo>
                  <a:lnTo>
                    <a:pt x="15" y="239"/>
                  </a:lnTo>
                  <a:lnTo>
                    <a:pt x="12" y="239"/>
                  </a:lnTo>
                  <a:lnTo>
                    <a:pt x="8" y="239"/>
                  </a:lnTo>
                  <a:lnTo>
                    <a:pt x="5" y="239"/>
                  </a:lnTo>
                  <a:lnTo>
                    <a:pt x="0" y="239"/>
                  </a:lnTo>
                  <a:lnTo>
                    <a:pt x="0" y="235"/>
                  </a:lnTo>
                  <a:lnTo>
                    <a:pt x="0" y="228"/>
                  </a:lnTo>
                  <a:lnTo>
                    <a:pt x="0" y="223"/>
                  </a:lnTo>
                  <a:lnTo>
                    <a:pt x="0" y="220"/>
                  </a:lnTo>
                  <a:lnTo>
                    <a:pt x="0" y="220"/>
                  </a:lnTo>
                  <a:lnTo>
                    <a:pt x="0" y="218"/>
                  </a:lnTo>
                  <a:lnTo>
                    <a:pt x="0" y="215"/>
                  </a:lnTo>
                  <a:lnTo>
                    <a:pt x="0" y="204"/>
                  </a:lnTo>
                  <a:lnTo>
                    <a:pt x="0" y="199"/>
                  </a:lnTo>
                  <a:lnTo>
                    <a:pt x="0" y="191"/>
                  </a:lnTo>
                  <a:lnTo>
                    <a:pt x="0" y="189"/>
                  </a:lnTo>
                  <a:lnTo>
                    <a:pt x="0" y="182"/>
                  </a:lnTo>
                  <a:lnTo>
                    <a:pt x="0" y="180"/>
                  </a:lnTo>
                  <a:lnTo>
                    <a:pt x="0" y="179"/>
                  </a:lnTo>
                  <a:lnTo>
                    <a:pt x="0" y="175"/>
                  </a:lnTo>
                  <a:lnTo>
                    <a:pt x="0" y="175"/>
                  </a:lnTo>
                  <a:lnTo>
                    <a:pt x="0" y="172"/>
                  </a:lnTo>
                  <a:lnTo>
                    <a:pt x="0" y="166"/>
                  </a:lnTo>
                  <a:lnTo>
                    <a:pt x="0" y="165"/>
                  </a:lnTo>
                  <a:lnTo>
                    <a:pt x="0" y="160"/>
                  </a:lnTo>
                  <a:lnTo>
                    <a:pt x="0" y="160"/>
                  </a:lnTo>
                  <a:lnTo>
                    <a:pt x="0" y="149"/>
                  </a:lnTo>
                  <a:lnTo>
                    <a:pt x="0" y="148"/>
                  </a:lnTo>
                  <a:lnTo>
                    <a:pt x="0" y="141"/>
                  </a:lnTo>
                  <a:lnTo>
                    <a:pt x="0" y="139"/>
                  </a:lnTo>
                  <a:lnTo>
                    <a:pt x="0" y="136"/>
                  </a:lnTo>
                  <a:lnTo>
                    <a:pt x="0" y="127"/>
                  </a:lnTo>
                  <a:lnTo>
                    <a:pt x="0" y="115"/>
                  </a:lnTo>
                  <a:lnTo>
                    <a:pt x="0" y="111"/>
                  </a:lnTo>
                  <a:lnTo>
                    <a:pt x="0" y="105"/>
                  </a:lnTo>
                  <a:lnTo>
                    <a:pt x="0" y="91"/>
                  </a:lnTo>
                  <a:lnTo>
                    <a:pt x="0" y="87"/>
                  </a:lnTo>
                  <a:lnTo>
                    <a:pt x="0" y="77"/>
                  </a:lnTo>
                  <a:lnTo>
                    <a:pt x="0" y="75"/>
                  </a:lnTo>
                  <a:lnTo>
                    <a:pt x="0" y="68"/>
                  </a:lnTo>
                  <a:lnTo>
                    <a:pt x="0" y="68"/>
                  </a:lnTo>
                  <a:lnTo>
                    <a:pt x="0" y="60"/>
                  </a:lnTo>
                  <a:lnTo>
                    <a:pt x="0" y="49"/>
                  </a:lnTo>
                  <a:lnTo>
                    <a:pt x="0" y="43"/>
                  </a:lnTo>
                  <a:lnTo>
                    <a:pt x="0" y="37"/>
                  </a:lnTo>
                  <a:lnTo>
                    <a:pt x="0" y="34"/>
                  </a:lnTo>
                  <a:lnTo>
                    <a:pt x="0" y="27"/>
                  </a:lnTo>
                  <a:lnTo>
                    <a:pt x="0" y="24"/>
                  </a:lnTo>
                  <a:lnTo>
                    <a:pt x="0" y="22"/>
                  </a:lnTo>
                  <a:lnTo>
                    <a:pt x="0" y="5"/>
                  </a:lnTo>
                  <a:lnTo>
                    <a:pt x="2" y="5"/>
                  </a:lnTo>
                  <a:lnTo>
                    <a:pt x="5" y="5"/>
                  </a:lnTo>
                  <a:lnTo>
                    <a:pt x="8" y="5"/>
                  </a:lnTo>
                  <a:lnTo>
                    <a:pt x="19" y="5"/>
                  </a:lnTo>
                  <a:lnTo>
                    <a:pt x="22" y="5"/>
                  </a:lnTo>
                  <a:lnTo>
                    <a:pt x="24" y="5"/>
                  </a:lnTo>
                  <a:lnTo>
                    <a:pt x="27" y="5"/>
                  </a:lnTo>
                  <a:lnTo>
                    <a:pt x="32" y="5"/>
                  </a:lnTo>
                  <a:lnTo>
                    <a:pt x="43" y="5"/>
                  </a:lnTo>
                  <a:lnTo>
                    <a:pt x="46" y="5"/>
                  </a:lnTo>
                  <a:lnTo>
                    <a:pt x="55" y="5"/>
                  </a:lnTo>
                  <a:lnTo>
                    <a:pt x="62" y="5"/>
                  </a:lnTo>
                  <a:lnTo>
                    <a:pt x="63" y="5"/>
                  </a:lnTo>
                  <a:lnTo>
                    <a:pt x="65" y="5"/>
                  </a:lnTo>
                  <a:lnTo>
                    <a:pt x="70" y="5"/>
                  </a:lnTo>
                  <a:lnTo>
                    <a:pt x="74" y="5"/>
                  </a:lnTo>
                  <a:lnTo>
                    <a:pt x="75" y="5"/>
                  </a:lnTo>
                  <a:lnTo>
                    <a:pt x="77" y="5"/>
                  </a:lnTo>
                  <a:lnTo>
                    <a:pt x="79" y="5"/>
                  </a:lnTo>
                  <a:lnTo>
                    <a:pt x="82" y="5"/>
                  </a:lnTo>
                  <a:lnTo>
                    <a:pt x="84" y="3"/>
                  </a:lnTo>
                  <a:lnTo>
                    <a:pt x="94" y="3"/>
                  </a:lnTo>
                  <a:lnTo>
                    <a:pt x="96" y="3"/>
                  </a:lnTo>
                  <a:lnTo>
                    <a:pt x="100" y="3"/>
                  </a:lnTo>
                  <a:lnTo>
                    <a:pt x="100" y="3"/>
                  </a:lnTo>
                  <a:lnTo>
                    <a:pt x="108" y="3"/>
                  </a:lnTo>
                  <a:lnTo>
                    <a:pt x="115" y="3"/>
                  </a:lnTo>
                  <a:lnTo>
                    <a:pt x="117" y="3"/>
                  </a:lnTo>
                  <a:lnTo>
                    <a:pt x="122" y="3"/>
                  </a:lnTo>
                  <a:lnTo>
                    <a:pt x="127" y="3"/>
                  </a:lnTo>
                  <a:lnTo>
                    <a:pt x="132" y="3"/>
                  </a:lnTo>
                  <a:lnTo>
                    <a:pt x="134" y="3"/>
                  </a:lnTo>
                  <a:lnTo>
                    <a:pt x="136" y="3"/>
                  </a:lnTo>
                  <a:lnTo>
                    <a:pt x="137" y="3"/>
                  </a:lnTo>
                  <a:lnTo>
                    <a:pt x="144" y="3"/>
                  </a:lnTo>
                  <a:lnTo>
                    <a:pt x="148" y="3"/>
                  </a:lnTo>
                  <a:lnTo>
                    <a:pt x="155" y="3"/>
                  </a:lnTo>
                  <a:lnTo>
                    <a:pt x="160" y="3"/>
                  </a:lnTo>
                  <a:lnTo>
                    <a:pt x="163" y="3"/>
                  </a:lnTo>
                  <a:lnTo>
                    <a:pt x="165" y="3"/>
                  </a:lnTo>
                  <a:lnTo>
                    <a:pt x="167" y="3"/>
                  </a:lnTo>
                  <a:lnTo>
                    <a:pt x="168" y="3"/>
                  </a:lnTo>
                  <a:lnTo>
                    <a:pt x="170" y="3"/>
                  </a:lnTo>
                  <a:lnTo>
                    <a:pt x="172" y="3"/>
                  </a:lnTo>
                  <a:lnTo>
                    <a:pt x="175" y="3"/>
                  </a:lnTo>
                  <a:lnTo>
                    <a:pt x="175" y="1"/>
                  </a:lnTo>
                  <a:lnTo>
                    <a:pt x="177" y="1"/>
                  </a:lnTo>
                  <a:lnTo>
                    <a:pt x="179" y="1"/>
                  </a:lnTo>
                  <a:lnTo>
                    <a:pt x="182" y="1"/>
                  </a:lnTo>
                  <a:lnTo>
                    <a:pt x="184" y="1"/>
                  </a:lnTo>
                  <a:lnTo>
                    <a:pt x="191" y="1"/>
                  </a:lnTo>
                  <a:lnTo>
                    <a:pt x="194" y="1"/>
                  </a:lnTo>
                  <a:lnTo>
                    <a:pt x="199" y="1"/>
                  </a:lnTo>
                  <a:lnTo>
                    <a:pt x="205" y="1"/>
                  </a:lnTo>
                  <a:lnTo>
                    <a:pt x="205" y="1"/>
                  </a:lnTo>
                  <a:lnTo>
                    <a:pt x="208" y="1"/>
                  </a:lnTo>
                  <a:lnTo>
                    <a:pt x="210" y="1"/>
                  </a:lnTo>
                  <a:lnTo>
                    <a:pt x="215" y="1"/>
                  </a:lnTo>
                  <a:lnTo>
                    <a:pt x="220" y="1"/>
                  </a:lnTo>
                  <a:lnTo>
                    <a:pt x="223" y="1"/>
                  </a:lnTo>
                  <a:lnTo>
                    <a:pt x="229" y="1"/>
                  </a:lnTo>
                  <a:lnTo>
                    <a:pt x="232" y="1"/>
                  </a:lnTo>
                  <a:lnTo>
                    <a:pt x="237" y="1"/>
                  </a:lnTo>
                  <a:lnTo>
                    <a:pt x="246" y="1"/>
                  </a:lnTo>
                  <a:lnTo>
                    <a:pt x="249" y="1"/>
                  </a:lnTo>
                  <a:lnTo>
                    <a:pt x="254" y="0"/>
                  </a:lnTo>
                  <a:lnTo>
                    <a:pt x="258" y="0"/>
                  </a:lnTo>
                  <a:lnTo>
                    <a:pt x="260" y="0"/>
                  </a:lnTo>
                  <a:lnTo>
                    <a:pt x="263" y="0"/>
                  </a:lnTo>
                  <a:lnTo>
                    <a:pt x="265" y="0"/>
                  </a:lnTo>
                  <a:lnTo>
                    <a:pt x="270" y="0"/>
                  </a:lnTo>
                  <a:lnTo>
                    <a:pt x="273" y="0"/>
                  </a:lnTo>
                  <a:lnTo>
                    <a:pt x="282" y="0"/>
                  </a:lnTo>
                  <a:lnTo>
                    <a:pt x="289" y="0"/>
                  </a:lnTo>
                  <a:lnTo>
                    <a:pt x="296" y="0"/>
                  </a:lnTo>
                  <a:lnTo>
                    <a:pt x="296" y="0"/>
                  </a:lnTo>
                  <a:lnTo>
                    <a:pt x="296" y="0"/>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4" name="Freeform 148"/>
            <p:cNvSpPr>
              <a:spLocks/>
            </p:cNvSpPr>
            <p:nvPr/>
          </p:nvSpPr>
          <p:spPr bwMode="auto">
            <a:xfrm>
              <a:off x="4414134" y="1307894"/>
              <a:ext cx="377825" cy="368300"/>
            </a:xfrm>
            <a:custGeom>
              <a:avLst/>
              <a:gdLst/>
              <a:ahLst/>
              <a:cxnLst>
                <a:cxn ang="0">
                  <a:pos x="236" y="21"/>
                </a:cxn>
                <a:cxn ang="0">
                  <a:pos x="236" y="45"/>
                </a:cxn>
                <a:cxn ang="0">
                  <a:pos x="236" y="62"/>
                </a:cxn>
                <a:cxn ang="0">
                  <a:pos x="236" y="83"/>
                </a:cxn>
                <a:cxn ang="0">
                  <a:pos x="236" y="95"/>
                </a:cxn>
                <a:cxn ang="0">
                  <a:pos x="236" y="109"/>
                </a:cxn>
                <a:cxn ang="0">
                  <a:pos x="236" y="126"/>
                </a:cxn>
                <a:cxn ang="0">
                  <a:pos x="236" y="157"/>
                </a:cxn>
                <a:cxn ang="0">
                  <a:pos x="234" y="172"/>
                </a:cxn>
                <a:cxn ang="0">
                  <a:pos x="238" y="181"/>
                </a:cxn>
                <a:cxn ang="0">
                  <a:pos x="238" y="196"/>
                </a:cxn>
                <a:cxn ang="0">
                  <a:pos x="238" y="212"/>
                </a:cxn>
                <a:cxn ang="0">
                  <a:pos x="232" y="229"/>
                </a:cxn>
                <a:cxn ang="0">
                  <a:pos x="212" y="231"/>
                </a:cxn>
                <a:cxn ang="0">
                  <a:pos x="184" y="231"/>
                </a:cxn>
                <a:cxn ang="0">
                  <a:pos x="170" y="231"/>
                </a:cxn>
                <a:cxn ang="0">
                  <a:pos x="155" y="231"/>
                </a:cxn>
                <a:cxn ang="0">
                  <a:pos x="138" y="231"/>
                </a:cxn>
                <a:cxn ang="0">
                  <a:pos x="126" y="231"/>
                </a:cxn>
                <a:cxn ang="0">
                  <a:pos x="114" y="232"/>
                </a:cxn>
                <a:cxn ang="0">
                  <a:pos x="90" y="232"/>
                </a:cxn>
                <a:cxn ang="0">
                  <a:pos x="81" y="232"/>
                </a:cxn>
                <a:cxn ang="0">
                  <a:pos x="67" y="232"/>
                </a:cxn>
                <a:cxn ang="0">
                  <a:pos x="53" y="232"/>
                </a:cxn>
                <a:cxn ang="0">
                  <a:pos x="36" y="232"/>
                </a:cxn>
                <a:cxn ang="0">
                  <a:pos x="24" y="232"/>
                </a:cxn>
                <a:cxn ang="0">
                  <a:pos x="7" y="232"/>
                </a:cxn>
                <a:cxn ang="0">
                  <a:pos x="2" y="215"/>
                </a:cxn>
                <a:cxn ang="0">
                  <a:pos x="2" y="202"/>
                </a:cxn>
                <a:cxn ang="0">
                  <a:pos x="2" y="181"/>
                </a:cxn>
                <a:cxn ang="0">
                  <a:pos x="0" y="172"/>
                </a:cxn>
                <a:cxn ang="0">
                  <a:pos x="0" y="157"/>
                </a:cxn>
                <a:cxn ang="0">
                  <a:pos x="0" y="133"/>
                </a:cxn>
                <a:cxn ang="0">
                  <a:pos x="2" y="117"/>
                </a:cxn>
                <a:cxn ang="0">
                  <a:pos x="2" y="103"/>
                </a:cxn>
                <a:cxn ang="0">
                  <a:pos x="2" y="81"/>
                </a:cxn>
                <a:cxn ang="0">
                  <a:pos x="2" y="69"/>
                </a:cxn>
                <a:cxn ang="0">
                  <a:pos x="2" y="45"/>
                </a:cxn>
                <a:cxn ang="0">
                  <a:pos x="2" y="29"/>
                </a:cxn>
                <a:cxn ang="0">
                  <a:pos x="4" y="11"/>
                </a:cxn>
                <a:cxn ang="0">
                  <a:pos x="7" y="0"/>
                </a:cxn>
                <a:cxn ang="0">
                  <a:pos x="24" y="0"/>
                </a:cxn>
                <a:cxn ang="0">
                  <a:pos x="33" y="0"/>
                </a:cxn>
                <a:cxn ang="0">
                  <a:pos x="53" y="0"/>
                </a:cxn>
                <a:cxn ang="0">
                  <a:pos x="67" y="0"/>
                </a:cxn>
                <a:cxn ang="0">
                  <a:pos x="78" y="0"/>
                </a:cxn>
                <a:cxn ang="0">
                  <a:pos x="91" y="0"/>
                </a:cxn>
                <a:cxn ang="0">
                  <a:pos x="115" y="0"/>
                </a:cxn>
                <a:cxn ang="0">
                  <a:pos x="129" y="0"/>
                </a:cxn>
                <a:cxn ang="0">
                  <a:pos x="157" y="0"/>
                </a:cxn>
                <a:cxn ang="0">
                  <a:pos x="184" y="0"/>
                </a:cxn>
                <a:cxn ang="0">
                  <a:pos x="201" y="0"/>
                </a:cxn>
                <a:cxn ang="0">
                  <a:pos x="219" y="0"/>
                </a:cxn>
                <a:cxn ang="0">
                  <a:pos x="236" y="0"/>
                </a:cxn>
              </a:cxnLst>
              <a:rect l="0" t="0" r="r" b="b"/>
              <a:pathLst>
                <a:path w="238" h="232">
                  <a:moveTo>
                    <a:pt x="236" y="0"/>
                  </a:moveTo>
                  <a:lnTo>
                    <a:pt x="236" y="12"/>
                  </a:lnTo>
                  <a:lnTo>
                    <a:pt x="236" y="14"/>
                  </a:lnTo>
                  <a:lnTo>
                    <a:pt x="236" y="21"/>
                  </a:lnTo>
                  <a:lnTo>
                    <a:pt x="236" y="23"/>
                  </a:lnTo>
                  <a:lnTo>
                    <a:pt x="236" y="31"/>
                  </a:lnTo>
                  <a:lnTo>
                    <a:pt x="236" y="43"/>
                  </a:lnTo>
                  <a:lnTo>
                    <a:pt x="236" y="45"/>
                  </a:lnTo>
                  <a:lnTo>
                    <a:pt x="236" y="50"/>
                  </a:lnTo>
                  <a:lnTo>
                    <a:pt x="236" y="52"/>
                  </a:lnTo>
                  <a:lnTo>
                    <a:pt x="236" y="55"/>
                  </a:lnTo>
                  <a:lnTo>
                    <a:pt x="236" y="62"/>
                  </a:lnTo>
                  <a:lnTo>
                    <a:pt x="236" y="69"/>
                  </a:lnTo>
                  <a:lnTo>
                    <a:pt x="236" y="73"/>
                  </a:lnTo>
                  <a:lnTo>
                    <a:pt x="236" y="74"/>
                  </a:lnTo>
                  <a:lnTo>
                    <a:pt x="236" y="83"/>
                  </a:lnTo>
                  <a:lnTo>
                    <a:pt x="236" y="86"/>
                  </a:lnTo>
                  <a:lnTo>
                    <a:pt x="236" y="91"/>
                  </a:lnTo>
                  <a:lnTo>
                    <a:pt x="236" y="93"/>
                  </a:lnTo>
                  <a:lnTo>
                    <a:pt x="236" y="95"/>
                  </a:lnTo>
                  <a:lnTo>
                    <a:pt x="236" y="103"/>
                  </a:lnTo>
                  <a:lnTo>
                    <a:pt x="236" y="105"/>
                  </a:lnTo>
                  <a:lnTo>
                    <a:pt x="236" y="107"/>
                  </a:lnTo>
                  <a:lnTo>
                    <a:pt x="236" y="109"/>
                  </a:lnTo>
                  <a:lnTo>
                    <a:pt x="236" y="112"/>
                  </a:lnTo>
                  <a:lnTo>
                    <a:pt x="236" y="112"/>
                  </a:lnTo>
                  <a:lnTo>
                    <a:pt x="236" y="124"/>
                  </a:lnTo>
                  <a:lnTo>
                    <a:pt x="236" y="126"/>
                  </a:lnTo>
                  <a:lnTo>
                    <a:pt x="236" y="141"/>
                  </a:lnTo>
                  <a:lnTo>
                    <a:pt x="236" y="141"/>
                  </a:lnTo>
                  <a:lnTo>
                    <a:pt x="236" y="153"/>
                  </a:lnTo>
                  <a:lnTo>
                    <a:pt x="236" y="157"/>
                  </a:lnTo>
                  <a:lnTo>
                    <a:pt x="236" y="159"/>
                  </a:lnTo>
                  <a:lnTo>
                    <a:pt x="234" y="165"/>
                  </a:lnTo>
                  <a:lnTo>
                    <a:pt x="236" y="172"/>
                  </a:lnTo>
                  <a:lnTo>
                    <a:pt x="234" y="172"/>
                  </a:lnTo>
                  <a:lnTo>
                    <a:pt x="234" y="174"/>
                  </a:lnTo>
                  <a:lnTo>
                    <a:pt x="234" y="179"/>
                  </a:lnTo>
                  <a:lnTo>
                    <a:pt x="238" y="179"/>
                  </a:lnTo>
                  <a:lnTo>
                    <a:pt x="238" y="181"/>
                  </a:lnTo>
                  <a:lnTo>
                    <a:pt x="238" y="184"/>
                  </a:lnTo>
                  <a:lnTo>
                    <a:pt x="238" y="189"/>
                  </a:lnTo>
                  <a:lnTo>
                    <a:pt x="238" y="195"/>
                  </a:lnTo>
                  <a:lnTo>
                    <a:pt x="238" y="196"/>
                  </a:lnTo>
                  <a:lnTo>
                    <a:pt x="238" y="202"/>
                  </a:lnTo>
                  <a:lnTo>
                    <a:pt x="238" y="202"/>
                  </a:lnTo>
                  <a:lnTo>
                    <a:pt x="238" y="203"/>
                  </a:lnTo>
                  <a:lnTo>
                    <a:pt x="238" y="212"/>
                  </a:lnTo>
                  <a:lnTo>
                    <a:pt x="238" y="217"/>
                  </a:lnTo>
                  <a:lnTo>
                    <a:pt x="238" y="220"/>
                  </a:lnTo>
                  <a:lnTo>
                    <a:pt x="238" y="229"/>
                  </a:lnTo>
                  <a:lnTo>
                    <a:pt x="232" y="229"/>
                  </a:lnTo>
                  <a:lnTo>
                    <a:pt x="229" y="229"/>
                  </a:lnTo>
                  <a:lnTo>
                    <a:pt x="227" y="229"/>
                  </a:lnTo>
                  <a:lnTo>
                    <a:pt x="215" y="229"/>
                  </a:lnTo>
                  <a:lnTo>
                    <a:pt x="212" y="231"/>
                  </a:lnTo>
                  <a:lnTo>
                    <a:pt x="203" y="231"/>
                  </a:lnTo>
                  <a:lnTo>
                    <a:pt x="195" y="231"/>
                  </a:lnTo>
                  <a:lnTo>
                    <a:pt x="188" y="231"/>
                  </a:lnTo>
                  <a:lnTo>
                    <a:pt x="184" y="231"/>
                  </a:lnTo>
                  <a:lnTo>
                    <a:pt x="182" y="231"/>
                  </a:lnTo>
                  <a:lnTo>
                    <a:pt x="179" y="231"/>
                  </a:lnTo>
                  <a:lnTo>
                    <a:pt x="176" y="231"/>
                  </a:lnTo>
                  <a:lnTo>
                    <a:pt x="170" y="231"/>
                  </a:lnTo>
                  <a:lnTo>
                    <a:pt x="167" y="231"/>
                  </a:lnTo>
                  <a:lnTo>
                    <a:pt x="165" y="231"/>
                  </a:lnTo>
                  <a:lnTo>
                    <a:pt x="158" y="231"/>
                  </a:lnTo>
                  <a:lnTo>
                    <a:pt x="155" y="231"/>
                  </a:lnTo>
                  <a:lnTo>
                    <a:pt x="153" y="231"/>
                  </a:lnTo>
                  <a:lnTo>
                    <a:pt x="148" y="231"/>
                  </a:lnTo>
                  <a:lnTo>
                    <a:pt x="143" y="231"/>
                  </a:lnTo>
                  <a:lnTo>
                    <a:pt x="138" y="231"/>
                  </a:lnTo>
                  <a:lnTo>
                    <a:pt x="138" y="231"/>
                  </a:lnTo>
                  <a:lnTo>
                    <a:pt x="134" y="231"/>
                  </a:lnTo>
                  <a:lnTo>
                    <a:pt x="131" y="231"/>
                  </a:lnTo>
                  <a:lnTo>
                    <a:pt x="126" y="231"/>
                  </a:lnTo>
                  <a:lnTo>
                    <a:pt x="122" y="232"/>
                  </a:lnTo>
                  <a:lnTo>
                    <a:pt x="121" y="232"/>
                  </a:lnTo>
                  <a:lnTo>
                    <a:pt x="115" y="232"/>
                  </a:lnTo>
                  <a:lnTo>
                    <a:pt x="114" y="232"/>
                  </a:lnTo>
                  <a:lnTo>
                    <a:pt x="112" y="232"/>
                  </a:lnTo>
                  <a:lnTo>
                    <a:pt x="109" y="232"/>
                  </a:lnTo>
                  <a:lnTo>
                    <a:pt x="91" y="232"/>
                  </a:lnTo>
                  <a:lnTo>
                    <a:pt x="90" y="232"/>
                  </a:lnTo>
                  <a:lnTo>
                    <a:pt x="88" y="232"/>
                  </a:lnTo>
                  <a:lnTo>
                    <a:pt x="86" y="232"/>
                  </a:lnTo>
                  <a:lnTo>
                    <a:pt x="83" y="232"/>
                  </a:lnTo>
                  <a:lnTo>
                    <a:pt x="81" y="232"/>
                  </a:lnTo>
                  <a:lnTo>
                    <a:pt x="78" y="232"/>
                  </a:lnTo>
                  <a:lnTo>
                    <a:pt x="76" y="232"/>
                  </a:lnTo>
                  <a:lnTo>
                    <a:pt x="72" y="232"/>
                  </a:lnTo>
                  <a:lnTo>
                    <a:pt x="67" y="232"/>
                  </a:lnTo>
                  <a:lnTo>
                    <a:pt x="64" y="232"/>
                  </a:lnTo>
                  <a:lnTo>
                    <a:pt x="62" y="232"/>
                  </a:lnTo>
                  <a:lnTo>
                    <a:pt x="55" y="232"/>
                  </a:lnTo>
                  <a:lnTo>
                    <a:pt x="53" y="232"/>
                  </a:lnTo>
                  <a:lnTo>
                    <a:pt x="48" y="232"/>
                  </a:lnTo>
                  <a:lnTo>
                    <a:pt x="48" y="232"/>
                  </a:lnTo>
                  <a:lnTo>
                    <a:pt x="41" y="232"/>
                  </a:lnTo>
                  <a:lnTo>
                    <a:pt x="36" y="232"/>
                  </a:lnTo>
                  <a:lnTo>
                    <a:pt x="33" y="232"/>
                  </a:lnTo>
                  <a:lnTo>
                    <a:pt x="28" y="232"/>
                  </a:lnTo>
                  <a:lnTo>
                    <a:pt x="26" y="232"/>
                  </a:lnTo>
                  <a:lnTo>
                    <a:pt x="24" y="232"/>
                  </a:lnTo>
                  <a:lnTo>
                    <a:pt x="16" y="232"/>
                  </a:lnTo>
                  <a:lnTo>
                    <a:pt x="14" y="232"/>
                  </a:lnTo>
                  <a:lnTo>
                    <a:pt x="12" y="232"/>
                  </a:lnTo>
                  <a:lnTo>
                    <a:pt x="7" y="232"/>
                  </a:lnTo>
                  <a:lnTo>
                    <a:pt x="2" y="232"/>
                  </a:lnTo>
                  <a:lnTo>
                    <a:pt x="2" y="227"/>
                  </a:lnTo>
                  <a:lnTo>
                    <a:pt x="2" y="222"/>
                  </a:lnTo>
                  <a:lnTo>
                    <a:pt x="2" y="215"/>
                  </a:lnTo>
                  <a:lnTo>
                    <a:pt x="2" y="212"/>
                  </a:lnTo>
                  <a:lnTo>
                    <a:pt x="2" y="205"/>
                  </a:lnTo>
                  <a:lnTo>
                    <a:pt x="2" y="202"/>
                  </a:lnTo>
                  <a:lnTo>
                    <a:pt x="2" y="202"/>
                  </a:lnTo>
                  <a:lnTo>
                    <a:pt x="2" y="195"/>
                  </a:lnTo>
                  <a:lnTo>
                    <a:pt x="2" y="188"/>
                  </a:lnTo>
                  <a:lnTo>
                    <a:pt x="2" y="184"/>
                  </a:lnTo>
                  <a:lnTo>
                    <a:pt x="2" y="181"/>
                  </a:lnTo>
                  <a:lnTo>
                    <a:pt x="2" y="179"/>
                  </a:lnTo>
                  <a:lnTo>
                    <a:pt x="0" y="179"/>
                  </a:lnTo>
                  <a:lnTo>
                    <a:pt x="0" y="177"/>
                  </a:lnTo>
                  <a:lnTo>
                    <a:pt x="0" y="172"/>
                  </a:lnTo>
                  <a:lnTo>
                    <a:pt x="0" y="169"/>
                  </a:lnTo>
                  <a:lnTo>
                    <a:pt x="0" y="167"/>
                  </a:lnTo>
                  <a:lnTo>
                    <a:pt x="0" y="160"/>
                  </a:lnTo>
                  <a:lnTo>
                    <a:pt x="0" y="157"/>
                  </a:lnTo>
                  <a:lnTo>
                    <a:pt x="0" y="152"/>
                  </a:lnTo>
                  <a:lnTo>
                    <a:pt x="0" y="145"/>
                  </a:lnTo>
                  <a:lnTo>
                    <a:pt x="0" y="143"/>
                  </a:lnTo>
                  <a:lnTo>
                    <a:pt x="0" y="133"/>
                  </a:lnTo>
                  <a:lnTo>
                    <a:pt x="0" y="129"/>
                  </a:lnTo>
                  <a:lnTo>
                    <a:pt x="0" y="128"/>
                  </a:lnTo>
                  <a:lnTo>
                    <a:pt x="0" y="124"/>
                  </a:lnTo>
                  <a:lnTo>
                    <a:pt x="2" y="117"/>
                  </a:lnTo>
                  <a:lnTo>
                    <a:pt x="2" y="116"/>
                  </a:lnTo>
                  <a:lnTo>
                    <a:pt x="2" y="112"/>
                  </a:lnTo>
                  <a:lnTo>
                    <a:pt x="2" y="107"/>
                  </a:lnTo>
                  <a:lnTo>
                    <a:pt x="2" y="103"/>
                  </a:lnTo>
                  <a:lnTo>
                    <a:pt x="2" y="100"/>
                  </a:lnTo>
                  <a:lnTo>
                    <a:pt x="2" y="95"/>
                  </a:lnTo>
                  <a:lnTo>
                    <a:pt x="2" y="90"/>
                  </a:lnTo>
                  <a:lnTo>
                    <a:pt x="2" y="81"/>
                  </a:lnTo>
                  <a:lnTo>
                    <a:pt x="2" y="79"/>
                  </a:lnTo>
                  <a:lnTo>
                    <a:pt x="2" y="74"/>
                  </a:lnTo>
                  <a:lnTo>
                    <a:pt x="2" y="73"/>
                  </a:lnTo>
                  <a:lnTo>
                    <a:pt x="2" y="69"/>
                  </a:lnTo>
                  <a:lnTo>
                    <a:pt x="2" y="67"/>
                  </a:lnTo>
                  <a:lnTo>
                    <a:pt x="2" y="59"/>
                  </a:lnTo>
                  <a:lnTo>
                    <a:pt x="2" y="52"/>
                  </a:lnTo>
                  <a:lnTo>
                    <a:pt x="2" y="45"/>
                  </a:lnTo>
                  <a:lnTo>
                    <a:pt x="2" y="40"/>
                  </a:lnTo>
                  <a:lnTo>
                    <a:pt x="2" y="35"/>
                  </a:lnTo>
                  <a:lnTo>
                    <a:pt x="2" y="31"/>
                  </a:lnTo>
                  <a:lnTo>
                    <a:pt x="2" y="29"/>
                  </a:lnTo>
                  <a:lnTo>
                    <a:pt x="4" y="23"/>
                  </a:lnTo>
                  <a:lnTo>
                    <a:pt x="4" y="14"/>
                  </a:lnTo>
                  <a:lnTo>
                    <a:pt x="4" y="12"/>
                  </a:lnTo>
                  <a:lnTo>
                    <a:pt x="4" y="11"/>
                  </a:lnTo>
                  <a:lnTo>
                    <a:pt x="4" y="5"/>
                  </a:lnTo>
                  <a:lnTo>
                    <a:pt x="4" y="0"/>
                  </a:lnTo>
                  <a:lnTo>
                    <a:pt x="4" y="0"/>
                  </a:lnTo>
                  <a:lnTo>
                    <a:pt x="7" y="0"/>
                  </a:lnTo>
                  <a:lnTo>
                    <a:pt x="10" y="0"/>
                  </a:lnTo>
                  <a:lnTo>
                    <a:pt x="12" y="0"/>
                  </a:lnTo>
                  <a:lnTo>
                    <a:pt x="14" y="0"/>
                  </a:lnTo>
                  <a:lnTo>
                    <a:pt x="24" y="0"/>
                  </a:lnTo>
                  <a:lnTo>
                    <a:pt x="26" y="0"/>
                  </a:lnTo>
                  <a:lnTo>
                    <a:pt x="28" y="0"/>
                  </a:lnTo>
                  <a:lnTo>
                    <a:pt x="31" y="0"/>
                  </a:lnTo>
                  <a:lnTo>
                    <a:pt x="33" y="0"/>
                  </a:lnTo>
                  <a:lnTo>
                    <a:pt x="35" y="0"/>
                  </a:lnTo>
                  <a:lnTo>
                    <a:pt x="43" y="0"/>
                  </a:lnTo>
                  <a:lnTo>
                    <a:pt x="45" y="0"/>
                  </a:lnTo>
                  <a:lnTo>
                    <a:pt x="53" y="0"/>
                  </a:lnTo>
                  <a:lnTo>
                    <a:pt x="57" y="0"/>
                  </a:lnTo>
                  <a:lnTo>
                    <a:pt x="59" y="0"/>
                  </a:lnTo>
                  <a:lnTo>
                    <a:pt x="64" y="0"/>
                  </a:lnTo>
                  <a:lnTo>
                    <a:pt x="67" y="0"/>
                  </a:lnTo>
                  <a:lnTo>
                    <a:pt x="69" y="0"/>
                  </a:lnTo>
                  <a:lnTo>
                    <a:pt x="71" y="0"/>
                  </a:lnTo>
                  <a:lnTo>
                    <a:pt x="78" y="0"/>
                  </a:lnTo>
                  <a:lnTo>
                    <a:pt x="78" y="0"/>
                  </a:lnTo>
                  <a:lnTo>
                    <a:pt x="83" y="0"/>
                  </a:lnTo>
                  <a:lnTo>
                    <a:pt x="84" y="0"/>
                  </a:lnTo>
                  <a:lnTo>
                    <a:pt x="86" y="0"/>
                  </a:lnTo>
                  <a:lnTo>
                    <a:pt x="91" y="0"/>
                  </a:lnTo>
                  <a:lnTo>
                    <a:pt x="102" y="0"/>
                  </a:lnTo>
                  <a:lnTo>
                    <a:pt x="103" y="0"/>
                  </a:lnTo>
                  <a:lnTo>
                    <a:pt x="107" y="0"/>
                  </a:lnTo>
                  <a:lnTo>
                    <a:pt x="115" y="0"/>
                  </a:lnTo>
                  <a:lnTo>
                    <a:pt x="119" y="0"/>
                  </a:lnTo>
                  <a:lnTo>
                    <a:pt x="121" y="0"/>
                  </a:lnTo>
                  <a:lnTo>
                    <a:pt x="122" y="0"/>
                  </a:lnTo>
                  <a:lnTo>
                    <a:pt x="129" y="0"/>
                  </a:lnTo>
                  <a:lnTo>
                    <a:pt x="139" y="0"/>
                  </a:lnTo>
                  <a:lnTo>
                    <a:pt x="141" y="0"/>
                  </a:lnTo>
                  <a:lnTo>
                    <a:pt x="153" y="0"/>
                  </a:lnTo>
                  <a:lnTo>
                    <a:pt x="157" y="0"/>
                  </a:lnTo>
                  <a:lnTo>
                    <a:pt x="160" y="0"/>
                  </a:lnTo>
                  <a:lnTo>
                    <a:pt x="170" y="0"/>
                  </a:lnTo>
                  <a:lnTo>
                    <a:pt x="181" y="0"/>
                  </a:lnTo>
                  <a:lnTo>
                    <a:pt x="184" y="0"/>
                  </a:lnTo>
                  <a:lnTo>
                    <a:pt x="189" y="0"/>
                  </a:lnTo>
                  <a:lnTo>
                    <a:pt x="198" y="0"/>
                  </a:lnTo>
                  <a:lnTo>
                    <a:pt x="200" y="0"/>
                  </a:lnTo>
                  <a:lnTo>
                    <a:pt x="201" y="0"/>
                  </a:lnTo>
                  <a:lnTo>
                    <a:pt x="208" y="0"/>
                  </a:lnTo>
                  <a:lnTo>
                    <a:pt x="210" y="0"/>
                  </a:lnTo>
                  <a:lnTo>
                    <a:pt x="213" y="0"/>
                  </a:lnTo>
                  <a:lnTo>
                    <a:pt x="219" y="0"/>
                  </a:lnTo>
                  <a:lnTo>
                    <a:pt x="220" y="0"/>
                  </a:lnTo>
                  <a:lnTo>
                    <a:pt x="229" y="0"/>
                  </a:lnTo>
                  <a:lnTo>
                    <a:pt x="231" y="0"/>
                  </a:lnTo>
                  <a:lnTo>
                    <a:pt x="236" y="0"/>
                  </a:lnTo>
                </a:path>
              </a:pathLst>
            </a:custGeom>
            <a:solidFill>
              <a:srgbClr val="FFCCCC"/>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5" name="Freeform 154"/>
            <p:cNvSpPr>
              <a:spLocks/>
            </p:cNvSpPr>
            <p:nvPr/>
          </p:nvSpPr>
          <p:spPr bwMode="auto">
            <a:xfrm>
              <a:off x="4785609" y="1587294"/>
              <a:ext cx="488950" cy="411163"/>
            </a:xfrm>
            <a:custGeom>
              <a:avLst/>
              <a:gdLst/>
              <a:ahLst/>
              <a:cxnLst>
                <a:cxn ang="0">
                  <a:pos x="308" y="12"/>
                </a:cxn>
                <a:cxn ang="0">
                  <a:pos x="306" y="51"/>
                </a:cxn>
                <a:cxn ang="0">
                  <a:pos x="306" y="70"/>
                </a:cxn>
                <a:cxn ang="0">
                  <a:pos x="306" y="93"/>
                </a:cxn>
                <a:cxn ang="0">
                  <a:pos x="305" y="113"/>
                </a:cxn>
                <a:cxn ang="0">
                  <a:pos x="305" y="146"/>
                </a:cxn>
                <a:cxn ang="0">
                  <a:pos x="303" y="163"/>
                </a:cxn>
                <a:cxn ang="0">
                  <a:pos x="303" y="187"/>
                </a:cxn>
                <a:cxn ang="0">
                  <a:pos x="303" y="208"/>
                </a:cxn>
                <a:cxn ang="0">
                  <a:pos x="303" y="225"/>
                </a:cxn>
                <a:cxn ang="0">
                  <a:pos x="303" y="237"/>
                </a:cxn>
                <a:cxn ang="0">
                  <a:pos x="301" y="249"/>
                </a:cxn>
                <a:cxn ang="0">
                  <a:pos x="294" y="259"/>
                </a:cxn>
                <a:cxn ang="0">
                  <a:pos x="282" y="258"/>
                </a:cxn>
                <a:cxn ang="0">
                  <a:pos x="265" y="258"/>
                </a:cxn>
                <a:cxn ang="0">
                  <a:pos x="251" y="258"/>
                </a:cxn>
                <a:cxn ang="0">
                  <a:pos x="241" y="258"/>
                </a:cxn>
                <a:cxn ang="0">
                  <a:pos x="222" y="256"/>
                </a:cxn>
                <a:cxn ang="0">
                  <a:pos x="212" y="256"/>
                </a:cxn>
                <a:cxn ang="0">
                  <a:pos x="201" y="254"/>
                </a:cxn>
                <a:cxn ang="0">
                  <a:pos x="191" y="254"/>
                </a:cxn>
                <a:cxn ang="0">
                  <a:pos x="169" y="253"/>
                </a:cxn>
                <a:cxn ang="0">
                  <a:pos x="146" y="254"/>
                </a:cxn>
                <a:cxn ang="0">
                  <a:pos x="129" y="254"/>
                </a:cxn>
                <a:cxn ang="0">
                  <a:pos x="105" y="254"/>
                </a:cxn>
                <a:cxn ang="0">
                  <a:pos x="90" y="254"/>
                </a:cxn>
                <a:cxn ang="0">
                  <a:pos x="74" y="256"/>
                </a:cxn>
                <a:cxn ang="0">
                  <a:pos x="64" y="256"/>
                </a:cxn>
                <a:cxn ang="0">
                  <a:pos x="47" y="256"/>
                </a:cxn>
                <a:cxn ang="0">
                  <a:pos x="26" y="256"/>
                </a:cxn>
                <a:cxn ang="0">
                  <a:pos x="10" y="256"/>
                </a:cxn>
                <a:cxn ang="0">
                  <a:pos x="2" y="242"/>
                </a:cxn>
                <a:cxn ang="0">
                  <a:pos x="2" y="223"/>
                </a:cxn>
                <a:cxn ang="0">
                  <a:pos x="2" y="199"/>
                </a:cxn>
                <a:cxn ang="0">
                  <a:pos x="2" y="175"/>
                </a:cxn>
                <a:cxn ang="0">
                  <a:pos x="2" y="161"/>
                </a:cxn>
                <a:cxn ang="0">
                  <a:pos x="2" y="134"/>
                </a:cxn>
                <a:cxn ang="0">
                  <a:pos x="4" y="120"/>
                </a:cxn>
                <a:cxn ang="0">
                  <a:pos x="4" y="86"/>
                </a:cxn>
                <a:cxn ang="0">
                  <a:pos x="4" y="62"/>
                </a:cxn>
                <a:cxn ang="0">
                  <a:pos x="4" y="27"/>
                </a:cxn>
                <a:cxn ang="0">
                  <a:pos x="4" y="13"/>
                </a:cxn>
                <a:cxn ang="0">
                  <a:pos x="10" y="3"/>
                </a:cxn>
                <a:cxn ang="0">
                  <a:pos x="31" y="1"/>
                </a:cxn>
                <a:cxn ang="0">
                  <a:pos x="53" y="1"/>
                </a:cxn>
                <a:cxn ang="0">
                  <a:pos x="67" y="1"/>
                </a:cxn>
                <a:cxn ang="0">
                  <a:pos x="79" y="1"/>
                </a:cxn>
                <a:cxn ang="0">
                  <a:pos x="110" y="0"/>
                </a:cxn>
                <a:cxn ang="0">
                  <a:pos x="119" y="0"/>
                </a:cxn>
                <a:cxn ang="0">
                  <a:pos x="127" y="0"/>
                </a:cxn>
                <a:cxn ang="0">
                  <a:pos x="145" y="0"/>
                </a:cxn>
                <a:cxn ang="0">
                  <a:pos x="165" y="0"/>
                </a:cxn>
                <a:cxn ang="0">
                  <a:pos x="189" y="0"/>
                </a:cxn>
                <a:cxn ang="0">
                  <a:pos x="206" y="0"/>
                </a:cxn>
                <a:cxn ang="0">
                  <a:pos x="217" y="0"/>
                </a:cxn>
                <a:cxn ang="0">
                  <a:pos x="239" y="0"/>
                </a:cxn>
                <a:cxn ang="0">
                  <a:pos x="263" y="0"/>
                </a:cxn>
                <a:cxn ang="0">
                  <a:pos x="296" y="0"/>
                </a:cxn>
              </a:cxnLst>
              <a:rect l="0" t="0" r="r" b="b"/>
              <a:pathLst>
                <a:path w="308" h="259">
                  <a:moveTo>
                    <a:pt x="303" y="0"/>
                  </a:moveTo>
                  <a:lnTo>
                    <a:pt x="308" y="0"/>
                  </a:lnTo>
                  <a:lnTo>
                    <a:pt x="308" y="3"/>
                  </a:lnTo>
                  <a:lnTo>
                    <a:pt x="308" y="10"/>
                  </a:lnTo>
                  <a:lnTo>
                    <a:pt x="308" y="12"/>
                  </a:lnTo>
                  <a:lnTo>
                    <a:pt x="308" y="24"/>
                  </a:lnTo>
                  <a:lnTo>
                    <a:pt x="308" y="27"/>
                  </a:lnTo>
                  <a:lnTo>
                    <a:pt x="308" y="34"/>
                  </a:lnTo>
                  <a:lnTo>
                    <a:pt x="308" y="41"/>
                  </a:lnTo>
                  <a:lnTo>
                    <a:pt x="306" y="51"/>
                  </a:lnTo>
                  <a:lnTo>
                    <a:pt x="306" y="56"/>
                  </a:lnTo>
                  <a:lnTo>
                    <a:pt x="306" y="56"/>
                  </a:lnTo>
                  <a:lnTo>
                    <a:pt x="306" y="60"/>
                  </a:lnTo>
                  <a:lnTo>
                    <a:pt x="306" y="69"/>
                  </a:lnTo>
                  <a:lnTo>
                    <a:pt x="306" y="70"/>
                  </a:lnTo>
                  <a:lnTo>
                    <a:pt x="306" y="72"/>
                  </a:lnTo>
                  <a:lnTo>
                    <a:pt x="306" y="77"/>
                  </a:lnTo>
                  <a:lnTo>
                    <a:pt x="306" y="89"/>
                  </a:lnTo>
                  <a:lnTo>
                    <a:pt x="306" y="91"/>
                  </a:lnTo>
                  <a:lnTo>
                    <a:pt x="306" y="93"/>
                  </a:lnTo>
                  <a:lnTo>
                    <a:pt x="306" y="94"/>
                  </a:lnTo>
                  <a:lnTo>
                    <a:pt x="305" y="101"/>
                  </a:lnTo>
                  <a:lnTo>
                    <a:pt x="305" y="106"/>
                  </a:lnTo>
                  <a:lnTo>
                    <a:pt x="305" y="108"/>
                  </a:lnTo>
                  <a:lnTo>
                    <a:pt x="305" y="113"/>
                  </a:lnTo>
                  <a:lnTo>
                    <a:pt x="305" y="117"/>
                  </a:lnTo>
                  <a:lnTo>
                    <a:pt x="305" y="124"/>
                  </a:lnTo>
                  <a:lnTo>
                    <a:pt x="305" y="125"/>
                  </a:lnTo>
                  <a:lnTo>
                    <a:pt x="305" y="136"/>
                  </a:lnTo>
                  <a:lnTo>
                    <a:pt x="305" y="146"/>
                  </a:lnTo>
                  <a:lnTo>
                    <a:pt x="305" y="148"/>
                  </a:lnTo>
                  <a:lnTo>
                    <a:pt x="305" y="151"/>
                  </a:lnTo>
                  <a:lnTo>
                    <a:pt x="305" y="158"/>
                  </a:lnTo>
                  <a:lnTo>
                    <a:pt x="305" y="160"/>
                  </a:lnTo>
                  <a:lnTo>
                    <a:pt x="303" y="163"/>
                  </a:lnTo>
                  <a:lnTo>
                    <a:pt x="303" y="165"/>
                  </a:lnTo>
                  <a:lnTo>
                    <a:pt x="303" y="168"/>
                  </a:lnTo>
                  <a:lnTo>
                    <a:pt x="303" y="172"/>
                  </a:lnTo>
                  <a:lnTo>
                    <a:pt x="303" y="177"/>
                  </a:lnTo>
                  <a:lnTo>
                    <a:pt x="303" y="187"/>
                  </a:lnTo>
                  <a:lnTo>
                    <a:pt x="303" y="192"/>
                  </a:lnTo>
                  <a:lnTo>
                    <a:pt x="303" y="203"/>
                  </a:lnTo>
                  <a:lnTo>
                    <a:pt x="303" y="204"/>
                  </a:lnTo>
                  <a:lnTo>
                    <a:pt x="303" y="206"/>
                  </a:lnTo>
                  <a:lnTo>
                    <a:pt x="303" y="208"/>
                  </a:lnTo>
                  <a:lnTo>
                    <a:pt x="303" y="213"/>
                  </a:lnTo>
                  <a:lnTo>
                    <a:pt x="303" y="215"/>
                  </a:lnTo>
                  <a:lnTo>
                    <a:pt x="303" y="222"/>
                  </a:lnTo>
                  <a:lnTo>
                    <a:pt x="303" y="223"/>
                  </a:lnTo>
                  <a:lnTo>
                    <a:pt x="303" y="225"/>
                  </a:lnTo>
                  <a:lnTo>
                    <a:pt x="303" y="227"/>
                  </a:lnTo>
                  <a:lnTo>
                    <a:pt x="303" y="234"/>
                  </a:lnTo>
                  <a:lnTo>
                    <a:pt x="303" y="235"/>
                  </a:lnTo>
                  <a:lnTo>
                    <a:pt x="303" y="237"/>
                  </a:lnTo>
                  <a:lnTo>
                    <a:pt x="303" y="237"/>
                  </a:lnTo>
                  <a:lnTo>
                    <a:pt x="303" y="241"/>
                  </a:lnTo>
                  <a:lnTo>
                    <a:pt x="303" y="244"/>
                  </a:lnTo>
                  <a:lnTo>
                    <a:pt x="303" y="246"/>
                  </a:lnTo>
                  <a:lnTo>
                    <a:pt x="301" y="246"/>
                  </a:lnTo>
                  <a:lnTo>
                    <a:pt x="301" y="249"/>
                  </a:lnTo>
                  <a:lnTo>
                    <a:pt x="301" y="251"/>
                  </a:lnTo>
                  <a:lnTo>
                    <a:pt x="301" y="254"/>
                  </a:lnTo>
                  <a:lnTo>
                    <a:pt x="301" y="259"/>
                  </a:lnTo>
                  <a:lnTo>
                    <a:pt x="299" y="259"/>
                  </a:lnTo>
                  <a:lnTo>
                    <a:pt x="294" y="259"/>
                  </a:lnTo>
                  <a:lnTo>
                    <a:pt x="292" y="258"/>
                  </a:lnTo>
                  <a:lnTo>
                    <a:pt x="289" y="258"/>
                  </a:lnTo>
                  <a:lnTo>
                    <a:pt x="287" y="258"/>
                  </a:lnTo>
                  <a:lnTo>
                    <a:pt x="286" y="258"/>
                  </a:lnTo>
                  <a:lnTo>
                    <a:pt x="282" y="258"/>
                  </a:lnTo>
                  <a:lnTo>
                    <a:pt x="282" y="258"/>
                  </a:lnTo>
                  <a:lnTo>
                    <a:pt x="274" y="258"/>
                  </a:lnTo>
                  <a:lnTo>
                    <a:pt x="268" y="258"/>
                  </a:lnTo>
                  <a:lnTo>
                    <a:pt x="267" y="258"/>
                  </a:lnTo>
                  <a:lnTo>
                    <a:pt x="265" y="258"/>
                  </a:lnTo>
                  <a:lnTo>
                    <a:pt x="263" y="258"/>
                  </a:lnTo>
                  <a:lnTo>
                    <a:pt x="258" y="258"/>
                  </a:lnTo>
                  <a:lnTo>
                    <a:pt x="256" y="258"/>
                  </a:lnTo>
                  <a:lnTo>
                    <a:pt x="255" y="258"/>
                  </a:lnTo>
                  <a:lnTo>
                    <a:pt x="251" y="258"/>
                  </a:lnTo>
                  <a:lnTo>
                    <a:pt x="249" y="258"/>
                  </a:lnTo>
                  <a:lnTo>
                    <a:pt x="246" y="258"/>
                  </a:lnTo>
                  <a:lnTo>
                    <a:pt x="244" y="258"/>
                  </a:lnTo>
                  <a:lnTo>
                    <a:pt x="243" y="258"/>
                  </a:lnTo>
                  <a:lnTo>
                    <a:pt x="241" y="258"/>
                  </a:lnTo>
                  <a:lnTo>
                    <a:pt x="236" y="258"/>
                  </a:lnTo>
                  <a:lnTo>
                    <a:pt x="236" y="258"/>
                  </a:lnTo>
                  <a:lnTo>
                    <a:pt x="232" y="258"/>
                  </a:lnTo>
                  <a:lnTo>
                    <a:pt x="224" y="256"/>
                  </a:lnTo>
                  <a:lnTo>
                    <a:pt x="222" y="256"/>
                  </a:lnTo>
                  <a:lnTo>
                    <a:pt x="219" y="256"/>
                  </a:lnTo>
                  <a:lnTo>
                    <a:pt x="217" y="256"/>
                  </a:lnTo>
                  <a:lnTo>
                    <a:pt x="215" y="256"/>
                  </a:lnTo>
                  <a:lnTo>
                    <a:pt x="213" y="256"/>
                  </a:lnTo>
                  <a:lnTo>
                    <a:pt x="212" y="256"/>
                  </a:lnTo>
                  <a:lnTo>
                    <a:pt x="210" y="256"/>
                  </a:lnTo>
                  <a:lnTo>
                    <a:pt x="208" y="256"/>
                  </a:lnTo>
                  <a:lnTo>
                    <a:pt x="206" y="256"/>
                  </a:lnTo>
                  <a:lnTo>
                    <a:pt x="203" y="254"/>
                  </a:lnTo>
                  <a:lnTo>
                    <a:pt x="201" y="254"/>
                  </a:lnTo>
                  <a:lnTo>
                    <a:pt x="198" y="254"/>
                  </a:lnTo>
                  <a:lnTo>
                    <a:pt x="194" y="254"/>
                  </a:lnTo>
                  <a:lnTo>
                    <a:pt x="193" y="254"/>
                  </a:lnTo>
                  <a:lnTo>
                    <a:pt x="191" y="254"/>
                  </a:lnTo>
                  <a:lnTo>
                    <a:pt x="191" y="254"/>
                  </a:lnTo>
                  <a:lnTo>
                    <a:pt x="184" y="254"/>
                  </a:lnTo>
                  <a:lnTo>
                    <a:pt x="177" y="254"/>
                  </a:lnTo>
                  <a:lnTo>
                    <a:pt x="172" y="253"/>
                  </a:lnTo>
                  <a:lnTo>
                    <a:pt x="170" y="253"/>
                  </a:lnTo>
                  <a:lnTo>
                    <a:pt x="169" y="253"/>
                  </a:lnTo>
                  <a:lnTo>
                    <a:pt x="167" y="253"/>
                  </a:lnTo>
                  <a:lnTo>
                    <a:pt x="165" y="253"/>
                  </a:lnTo>
                  <a:lnTo>
                    <a:pt x="158" y="254"/>
                  </a:lnTo>
                  <a:lnTo>
                    <a:pt x="150" y="254"/>
                  </a:lnTo>
                  <a:lnTo>
                    <a:pt x="146" y="254"/>
                  </a:lnTo>
                  <a:lnTo>
                    <a:pt x="145" y="254"/>
                  </a:lnTo>
                  <a:lnTo>
                    <a:pt x="141" y="254"/>
                  </a:lnTo>
                  <a:lnTo>
                    <a:pt x="138" y="254"/>
                  </a:lnTo>
                  <a:lnTo>
                    <a:pt x="134" y="254"/>
                  </a:lnTo>
                  <a:lnTo>
                    <a:pt x="129" y="254"/>
                  </a:lnTo>
                  <a:lnTo>
                    <a:pt x="124" y="254"/>
                  </a:lnTo>
                  <a:lnTo>
                    <a:pt x="117" y="254"/>
                  </a:lnTo>
                  <a:lnTo>
                    <a:pt x="112" y="254"/>
                  </a:lnTo>
                  <a:lnTo>
                    <a:pt x="110" y="254"/>
                  </a:lnTo>
                  <a:lnTo>
                    <a:pt x="105" y="254"/>
                  </a:lnTo>
                  <a:lnTo>
                    <a:pt x="103" y="254"/>
                  </a:lnTo>
                  <a:lnTo>
                    <a:pt x="102" y="254"/>
                  </a:lnTo>
                  <a:lnTo>
                    <a:pt x="96" y="254"/>
                  </a:lnTo>
                  <a:lnTo>
                    <a:pt x="95" y="254"/>
                  </a:lnTo>
                  <a:lnTo>
                    <a:pt x="90" y="254"/>
                  </a:lnTo>
                  <a:lnTo>
                    <a:pt x="84" y="256"/>
                  </a:lnTo>
                  <a:lnTo>
                    <a:pt x="81" y="256"/>
                  </a:lnTo>
                  <a:lnTo>
                    <a:pt x="79" y="256"/>
                  </a:lnTo>
                  <a:lnTo>
                    <a:pt x="77" y="256"/>
                  </a:lnTo>
                  <a:lnTo>
                    <a:pt x="74" y="256"/>
                  </a:lnTo>
                  <a:lnTo>
                    <a:pt x="71" y="256"/>
                  </a:lnTo>
                  <a:lnTo>
                    <a:pt x="69" y="256"/>
                  </a:lnTo>
                  <a:lnTo>
                    <a:pt x="67" y="256"/>
                  </a:lnTo>
                  <a:lnTo>
                    <a:pt x="65" y="256"/>
                  </a:lnTo>
                  <a:lnTo>
                    <a:pt x="64" y="256"/>
                  </a:lnTo>
                  <a:lnTo>
                    <a:pt x="62" y="256"/>
                  </a:lnTo>
                  <a:lnTo>
                    <a:pt x="59" y="256"/>
                  </a:lnTo>
                  <a:lnTo>
                    <a:pt x="53" y="256"/>
                  </a:lnTo>
                  <a:lnTo>
                    <a:pt x="52" y="256"/>
                  </a:lnTo>
                  <a:lnTo>
                    <a:pt x="47" y="256"/>
                  </a:lnTo>
                  <a:lnTo>
                    <a:pt x="40" y="256"/>
                  </a:lnTo>
                  <a:lnTo>
                    <a:pt x="36" y="256"/>
                  </a:lnTo>
                  <a:lnTo>
                    <a:pt x="34" y="256"/>
                  </a:lnTo>
                  <a:lnTo>
                    <a:pt x="33" y="256"/>
                  </a:lnTo>
                  <a:lnTo>
                    <a:pt x="26" y="256"/>
                  </a:lnTo>
                  <a:lnTo>
                    <a:pt x="26" y="256"/>
                  </a:lnTo>
                  <a:lnTo>
                    <a:pt x="24" y="256"/>
                  </a:lnTo>
                  <a:lnTo>
                    <a:pt x="22" y="256"/>
                  </a:lnTo>
                  <a:lnTo>
                    <a:pt x="12" y="256"/>
                  </a:lnTo>
                  <a:lnTo>
                    <a:pt x="10" y="256"/>
                  </a:lnTo>
                  <a:lnTo>
                    <a:pt x="4" y="256"/>
                  </a:lnTo>
                  <a:lnTo>
                    <a:pt x="2" y="256"/>
                  </a:lnTo>
                  <a:lnTo>
                    <a:pt x="0" y="256"/>
                  </a:lnTo>
                  <a:lnTo>
                    <a:pt x="2" y="246"/>
                  </a:lnTo>
                  <a:lnTo>
                    <a:pt x="2" y="242"/>
                  </a:lnTo>
                  <a:lnTo>
                    <a:pt x="2" y="237"/>
                  </a:lnTo>
                  <a:lnTo>
                    <a:pt x="2" y="235"/>
                  </a:lnTo>
                  <a:lnTo>
                    <a:pt x="2" y="234"/>
                  </a:lnTo>
                  <a:lnTo>
                    <a:pt x="2" y="229"/>
                  </a:lnTo>
                  <a:lnTo>
                    <a:pt x="2" y="223"/>
                  </a:lnTo>
                  <a:lnTo>
                    <a:pt x="2" y="222"/>
                  </a:lnTo>
                  <a:lnTo>
                    <a:pt x="2" y="222"/>
                  </a:lnTo>
                  <a:lnTo>
                    <a:pt x="2" y="211"/>
                  </a:lnTo>
                  <a:lnTo>
                    <a:pt x="2" y="203"/>
                  </a:lnTo>
                  <a:lnTo>
                    <a:pt x="2" y="199"/>
                  </a:lnTo>
                  <a:lnTo>
                    <a:pt x="2" y="196"/>
                  </a:lnTo>
                  <a:lnTo>
                    <a:pt x="2" y="192"/>
                  </a:lnTo>
                  <a:lnTo>
                    <a:pt x="2" y="187"/>
                  </a:lnTo>
                  <a:lnTo>
                    <a:pt x="2" y="177"/>
                  </a:lnTo>
                  <a:lnTo>
                    <a:pt x="2" y="175"/>
                  </a:lnTo>
                  <a:lnTo>
                    <a:pt x="2" y="172"/>
                  </a:lnTo>
                  <a:lnTo>
                    <a:pt x="2" y="170"/>
                  </a:lnTo>
                  <a:lnTo>
                    <a:pt x="2" y="165"/>
                  </a:lnTo>
                  <a:lnTo>
                    <a:pt x="2" y="161"/>
                  </a:lnTo>
                  <a:lnTo>
                    <a:pt x="2" y="161"/>
                  </a:lnTo>
                  <a:lnTo>
                    <a:pt x="2" y="153"/>
                  </a:lnTo>
                  <a:lnTo>
                    <a:pt x="2" y="148"/>
                  </a:lnTo>
                  <a:lnTo>
                    <a:pt x="2" y="143"/>
                  </a:lnTo>
                  <a:lnTo>
                    <a:pt x="2" y="139"/>
                  </a:lnTo>
                  <a:lnTo>
                    <a:pt x="2" y="134"/>
                  </a:lnTo>
                  <a:lnTo>
                    <a:pt x="2" y="132"/>
                  </a:lnTo>
                  <a:lnTo>
                    <a:pt x="2" y="129"/>
                  </a:lnTo>
                  <a:lnTo>
                    <a:pt x="2" y="124"/>
                  </a:lnTo>
                  <a:lnTo>
                    <a:pt x="2" y="120"/>
                  </a:lnTo>
                  <a:lnTo>
                    <a:pt x="4" y="120"/>
                  </a:lnTo>
                  <a:lnTo>
                    <a:pt x="4" y="103"/>
                  </a:lnTo>
                  <a:lnTo>
                    <a:pt x="4" y="98"/>
                  </a:lnTo>
                  <a:lnTo>
                    <a:pt x="4" y="93"/>
                  </a:lnTo>
                  <a:lnTo>
                    <a:pt x="4" y="89"/>
                  </a:lnTo>
                  <a:lnTo>
                    <a:pt x="4" y="86"/>
                  </a:lnTo>
                  <a:lnTo>
                    <a:pt x="4" y="84"/>
                  </a:lnTo>
                  <a:lnTo>
                    <a:pt x="4" y="75"/>
                  </a:lnTo>
                  <a:lnTo>
                    <a:pt x="4" y="72"/>
                  </a:lnTo>
                  <a:lnTo>
                    <a:pt x="4" y="65"/>
                  </a:lnTo>
                  <a:lnTo>
                    <a:pt x="4" y="62"/>
                  </a:lnTo>
                  <a:lnTo>
                    <a:pt x="4" y="53"/>
                  </a:lnTo>
                  <a:lnTo>
                    <a:pt x="4" y="44"/>
                  </a:lnTo>
                  <a:lnTo>
                    <a:pt x="4" y="41"/>
                  </a:lnTo>
                  <a:lnTo>
                    <a:pt x="4" y="36"/>
                  </a:lnTo>
                  <a:lnTo>
                    <a:pt x="4" y="27"/>
                  </a:lnTo>
                  <a:lnTo>
                    <a:pt x="4" y="26"/>
                  </a:lnTo>
                  <a:lnTo>
                    <a:pt x="4" y="26"/>
                  </a:lnTo>
                  <a:lnTo>
                    <a:pt x="4" y="20"/>
                  </a:lnTo>
                  <a:lnTo>
                    <a:pt x="4" y="19"/>
                  </a:lnTo>
                  <a:lnTo>
                    <a:pt x="4" y="13"/>
                  </a:lnTo>
                  <a:lnTo>
                    <a:pt x="4" y="8"/>
                  </a:lnTo>
                  <a:lnTo>
                    <a:pt x="4" y="5"/>
                  </a:lnTo>
                  <a:lnTo>
                    <a:pt x="4" y="3"/>
                  </a:lnTo>
                  <a:lnTo>
                    <a:pt x="9" y="3"/>
                  </a:lnTo>
                  <a:lnTo>
                    <a:pt x="10" y="3"/>
                  </a:lnTo>
                  <a:lnTo>
                    <a:pt x="16" y="1"/>
                  </a:lnTo>
                  <a:lnTo>
                    <a:pt x="17" y="1"/>
                  </a:lnTo>
                  <a:lnTo>
                    <a:pt x="21" y="1"/>
                  </a:lnTo>
                  <a:lnTo>
                    <a:pt x="26" y="1"/>
                  </a:lnTo>
                  <a:lnTo>
                    <a:pt x="31" y="1"/>
                  </a:lnTo>
                  <a:lnTo>
                    <a:pt x="34" y="1"/>
                  </a:lnTo>
                  <a:lnTo>
                    <a:pt x="41" y="1"/>
                  </a:lnTo>
                  <a:lnTo>
                    <a:pt x="48" y="1"/>
                  </a:lnTo>
                  <a:lnTo>
                    <a:pt x="50" y="1"/>
                  </a:lnTo>
                  <a:lnTo>
                    <a:pt x="53" y="1"/>
                  </a:lnTo>
                  <a:lnTo>
                    <a:pt x="55" y="1"/>
                  </a:lnTo>
                  <a:lnTo>
                    <a:pt x="57" y="1"/>
                  </a:lnTo>
                  <a:lnTo>
                    <a:pt x="59" y="1"/>
                  </a:lnTo>
                  <a:lnTo>
                    <a:pt x="62" y="1"/>
                  </a:lnTo>
                  <a:lnTo>
                    <a:pt x="67" y="1"/>
                  </a:lnTo>
                  <a:lnTo>
                    <a:pt x="69" y="1"/>
                  </a:lnTo>
                  <a:lnTo>
                    <a:pt x="71" y="1"/>
                  </a:lnTo>
                  <a:lnTo>
                    <a:pt x="71" y="1"/>
                  </a:lnTo>
                  <a:lnTo>
                    <a:pt x="76" y="1"/>
                  </a:lnTo>
                  <a:lnTo>
                    <a:pt x="79" y="1"/>
                  </a:lnTo>
                  <a:lnTo>
                    <a:pt x="84" y="1"/>
                  </a:lnTo>
                  <a:lnTo>
                    <a:pt x="86" y="1"/>
                  </a:lnTo>
                  <a:lnTo>
                    <a:pt x="96" y="1"/>
                  </a:lnTo>
                  <a:lnTo>
                    <a:pt x="103" y="0"/>
                  </a:lnTo>
                  <a:lnTo>
                    <a:pt x="110" y="0"/>
                  </a:lnTo>
                  <a:lnTo>
                    <a:pt x="112" y="0"/>
                  </a:lnTo>
                  <a:lnTo>
                    <a:pt x="114" y="0"/>
                  </a:lnTo>
                  <a:lnTo>
                    <a:pt x="115" y="0"/>
                  </a:lnTo>
                  <a:lnTo>
                    <a:pt x="117" y="0"/>
                  </a:lnTo>
                  <a:lnTo>
                    <a:pt x="119" y="0"/>
                  </a:lnTo>
                  <a:lnTo>
                    <a:pt x="120" y="0"/>
                  </a:lnTo>
                  <a:lnTo>
                    <a:pt x="122" y="0"/>
                  </a:lnTo>
                  <a:lnTo>
                    <a:pt x="124" y="0"/>
                  </a:lnTo>
                  <a:lnTo>
                    <a:pt x="126" y="0"/>
                  </a:lnTo>
                  <a:lnTo>
                    <a:pt x="127" y="0"/>
                  </a:lnTo>
                  <a:lnTo>
                    <a:pt x="129" y="0"/>
                  </a:lnTo>
                  <a:lnTo>
                    <a:pt x="131" y="0"/>
                  </a:lnTo>
                  <a:lnTo>
                    <a:pt x="133" y="0"/>
                  </a:lnTo>
                  <a:lnTo>
                    <a:pt x="138" y="0"/>
                  </a:lnTo>
                  <a:lnTo>
                    <a:pt x="145" y="0"/>
                  </a:lnTo>
                  <a:lnTo>
                    <a:pt x="146" y="0"/>
                  </a:lnTo>
                  <a:lnTo>
                    <a:pt x="151" y="0"/>
                  </a:lnTo>
                  <a:lnTo>
                    <a:pt x="153" y="0"/>
                  </a:lnTo>
                  <a:lnTo>
                    <a:pt x="162" y="0"/>
                  </a:lnTo>
                  <a:lnTo>
                    <a:pt x="165" y="0"/>
                  </a:lnTo>
                  <a:lnTo>
                    <a:pt x="169" y="0"/>
                  </a:lnTo>
                  <a:lnTo>
                    <a:pt x="174" y="0"/>
                  </a:lnTo>
                  <a:lnTo>
                    <a:pt x="177" y="0"/>
                  </a:lnTo>
                  <a:lnTo>
                    <a:pt x="179" y="0"/>
                  </a:lnTo>
                  <a:lnTo>
                    <a:pt x="189" y="0"/>
                  </a:lnTo>
                  <a:lnTo>
                    <a:pt x="191" y="0"/>
                  </a:lnTo>
                  <a:lnTo>
                    <a:pt x="191" y="0"/>
                  </a:lnTo>
                  <a:lnTo>
                    <a:pt x="194" y="0"/>
                  </a:lnTo>
                  <a:lnTo>
                    <a:pt x="205" y="0"/>
                  </a:lnTo>
                  <a:lnTo>
                    <a:pt x="206" y="0"/>
                  </a:lnTo>
                  <a:lnTo>
                    <a:pt x="208" y="0"/>
                  </a:lnTo>
                  <a:lnTo>
                    <a:pt x="210" y="0"/>
                  </a:lnTo>
                  <a:lnTo>
                    <a:pt x="212" y="0"/>
                  </a:lnTo>
                  <a:lnTo>
                    <a:pt x="213" y="0"/>
                  </a:lnTo>
                  <a:lnTo>
                    <a:pt x="217" y="0"/>
                  </a:lnTo>
                  <a:lnTo>
                    <a:pt x="219" y="0"/>
                  </a:lnTo>
                  <a:lnTo>
                    <a:pt x="229" y="0"/>
                  </a:lnTo>
                  <a:lnTo>
                    <a:pt x="232" y="0"/>
                  </a:lnTo>
                  <a:lnTo>
                    <a:pt x="236" y="0"/>
                  </a:lnTo>
                  <a:lnTo>
                    <a:pt x="239" y="0"/>
                  </a:lnTo>
                  <a:lnTo>
                    <a:pt x="241" y="0"/>
                  </a:lnTo>
                  <a:lnTo>
                    <a:pt x="243" y="0"/>
                  </a:lnTo>
                  <a:lnTo>
                    <a:pt x="249" y="0"/>
                  </a:lnTo>
                  <a:lnTo>
                    <a:pt x="253" y="0"/>
                  </a:lnTo>
                  <a:lnTo>
                    <a:pt x="263" y="0"/>
                  </a:lnTo>
                  <a:lnTo>
                    <a:pt x="268" y="0"/>
                  </a:lnTo>
                  <a:lnTo>
                    <a:pt x="277" y="0"/>
                  </a:lnTo>
                  <a:lnTo>
                    <a:pt x="282" y="0"/>
                  </a:lnTo>
                  <a:lnTo>
                    <a:pt x="291" y="0"/>
                  </a:lnTo>
                  <a:lnTo>
                    <a:pt x="296" y="0"/>
                  </a:lnTo>
                  <a:lnTo>
                    <a:pt x="296" y="0"/>
                  </a:lnTo>
                  <a:lnTo>
                    <a:pt x="298" y="0"/>
                  </a:lnTo>
                  <a:lnTo>
                    <a:pt x="303" y="0"/>
                  </a:lnTo>
                </a:path>
              </a:pathLst>
            </a:custGeom>
            <a:solidFill>
              <a:schemeClr val="accent6"/>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6" name="Freeform 193"/>
            <p:cNvSpPr>
              <a:spLocks/>
            </p:cNvSpPr>
            <p:nvPr/>
          </p:nvSpPr>
          <p:spPr bwMode="auto">
            <a:xfrm>
              <a:off x="4098221" y="3376406"/>
              <a:ext cx="542925" cy="449263"/>
            </a:xfrm>
            <a:custGeom>
              <a:avLst/>
              <a:gdLst/>
              <a:ahLst/>
              <a:cxnLst>
                <a:cxn ang="0">
                  <a:pos x="342" y="20"/>
                </a:cxn>
                <a:cxn ang="0">
                  <a:pos x="342" y="29"/>
                </a:cxn>
                <a:cxn ang="0">
                  <a:pos x="340" y="37"/>
                </a:cxn>
                <a:cxn ang="0">
                  <a:pos x="340" y="51"/>
                </a:cxn>
                <a:cxn ang="0">
                  <a:pos x="338" y="75"/>
                </a:cxn>
                <a:cxn ang="0">
                  <a:pos x="340" y="89"/>
                </a:cxn>
                <a:cxn ang="0">
                  <a:pos x="340" y="108"/>
                </a:cxn>
                <a:cxn ang="0">
                  <a:pos x="340" y="122"/>
                </a:cxn>
                <a:cxn ang="0">
                  <a:pos x="338" y="147"/>
                </a:cxn>
                <a:cxn ang="0">
                  <a:pos x="337" y="173"/>
                </a:cxn>
                <a:cxn ang="0">
                  <a:pos x="337" y="194"/>
                </a:cxn>
                <a:cxn ang="0">
                  <a:pos x="337" y="220"/>
                </a:cxn>
                <a:cxn ang="0">
                  <a:pos x="335" y="232"/>
                </a:cxn>
                <a:cxn ang="0">
                  <a:pos x="335" y="256"/>
                </a:cxn>
                <a:cxn ang="0">
                  <a:pos x="333" y="278"/>
                </a:cxn>
                <a:cxn ang="0">
                  <a:pos x="313" y="270"/>
                </a:cxn>
                <a:cxn ang="0">
                  <a:pos x="308" y="270"/>
                </a:cxn>
                <a:cxn ang="0">
                  <a:pos x="304" y="283"/>
                </a:cxn>
                <a:cxn ang="0">
                  <a:pos x="278" y="282"/>
                </a:cxn>
                <a:cxn ang="0">
                  <a:pos x="263" y="282"/>
                </a:cxn>
                <a:cxn ang="0">
                  <a:pos x="247" y="280"/>
                </a:cxn>
                <a:cxn ang="0">
                  <a:pos x="223" y="280"/>
                </a:cxn>
                <a:cxn ang="0">
                  <a:pos x="203" y="278"/>
                </a:cxn>
                <a:cxn ang="0">
                  <a:pos x="192" y="278"/>
                </a:cxn>
                <a:cxn ang="0">
                  <a:pos x="175" y="278"/>
                </a:cxn>
                <a:cxn ang="0">
                  <a:pos x="149" y="277"/>
                </a:cxn>
                <a:cxn ang="0">
                  <a:pos x="132" y="275"/>
                </a:cxn>
                <a:cxn ang="0">
                  <a:pos x="103" y="273"/>
                </a:cxn>
                <a:cxn ang="0">
                  <a:pos x="86" y="273"/>
                </a:cxn>
                <a:cxn ang="0">
                  <a:pos x="58" y="271"/>
                </a:cxn>
                <a:cxn ang="0">
                  <a:pos x="43" y="271"/>
                </a:cxn>
                <a:cxn ang="0">
                  <a:pos x="31" y="270"/>
                </a:cxn>
                <a:cxn ang="0">
                  <a:pos x="10" y="270"/>
                </a:cxn>
                <a:cxn ang="0">
                  <a:pos x="0" y="256"/>
                </a:cxn>
                <a:cxn ang="0">
                  <a:pos x="1" y="234"/>
                </a:cxn>
                <a:cxn ang="0">
                  <a:pos x="1" y="206"/>
                </a:cxn>
                <a:cxn ang="0">
                  <a:pos x="3" y="191"/>
                </a:cxn>
                <a:cxn ang="0">
                  <a:pos x="5" y="149"/>
                </a:cxn>
                <a:cxn ang="0">
                  <a:pos x="5" y="135"/>
                </a:cxn>
                <a:cxn ang="0">
                  <a:pos x="7" y="120"/>
                </a:cxn>
                <a:cxn ang="0">
                  <a:pos x="7" y="89"/>
                </a:cxn>
                <a:cxn ang="0">
                  <a:pos x="7" y="65"/>
                </a:cxn>
                <a:cxn ang="0">
                  <a:pos x="7" y="49"/>
                </a:cxn>
                <a:cxn ang="0">
                  <a:pos x="7" y="27"/>
                </a:cxn>
                <a:cxn ang="0">
                  <a:pos x="20" y="0"/>
                </a:cxn>
                <a:cxn ang="0">
                  <a:pos x="48" y="0"/>
                </a:cxn>
                <a:cxn ang="0">
                  <a:pos x="70" y="1"/>
                </a:cxn>
                <a:cxn ang="0">
                  <a:pos x="96" y="1"/>
                </a:cxn>
                <a:cxn ang="0">
                  <a:pos x="111" y="1"/>
                </a:cxn>
                <a:cxn ang="0">
                  <a:pos x="139" y="3"/>
                </a:cxn>
                <a:cxn ang="0">
                  <a:pos x="161" y="3"/>
                </a:cxn>
                <a:cxn ang="0">
                  <a:pos x="175" y="5"/>
                </a:cxn>
                <a:cxn ang="0">
                  <a:pos x="189" y="5"/>
                </a:cxn>
                <a:cxn ang="0">
                  <a:pos x="201" y="5"/>
                </a:cxn>
                <a:cxn ang="0">
                  <a:pos x="220" y="5"/>
                </a:cxn>
                <a:cxn ang="0">
                  <a:pos x="237" y="6"/>
                </a:cxn>
                <a:cxn ang="0">
                  <a:pos x="273" y="8"/>
                </a:cxn>
                <a:cxn ang="0">
                  <a:pos x="285" y="8"/>
                </a:cxn>
                <a:cxn ang="0">
                  <a:pos x="304" y="8"/>
                </a:cxn>
                <a:cxn ang="0">
                  <a:pos x="321" y="10"/>
                </a:cxn>
                <a:cxn ang="0">
                  <a:pos x="342" y="10"/>
                </a:cxn>
              </a:cxnLst>
              <a:rect l="0" t="0" r="r" b="b"/>
              <a:pathLst>
                <a:path w="342" h="283">
                  <a:moveTo>
                    <a:pt x="342" y="10"/>
                  </a:moveTo>
                  <a:lnTo>
                    <a:pt x="342" y="12"/>
                  </a:lnTo>
                  <a:lnTo>
                    <a:pt x="342" y="13"/>
                  </a:lnTo>
                  <a:lnTo>
                    <a:pt x="342" y="15"/>
                  </a:lnTo>
                  <a:lnTo>
                    <a:pt x="342" y="17"/>
                  </a:lnTo>
                  <a:lnTo>
                    <a:pt x="342" y="20"/>
                  </a:lnTo>
                  <a:lnTo>
                    <a:pt x="342" y="22"/>
                  </a:lnTo>
                  <a:lnTo>
                    <a:pt x="342" y="24"/>
                  </a:lnTo>
                  <a:lnTo>
                    <a:pt x="342" y="25"/>
                  </a:lnTo>
                  <a:lnTo>
                    <a:pt x="342" y="27"/>
                  </a:lnTo>
                  <a:lnTo>
                    <a:pt x="342" y="29"/>
                  </a:lnTo>
                  <a:lnTo>
                    <a:pt x="342" y="29"/>
                  </a:lnTo>
                  <a:lnTo>
                    <a:pt x="340" y="29"/>
                  </a:lnTo>
                  <a:lnTo>
                    <a:pt x="340" y="31"/>
                  </a:lnTo>
                  <a:lnTo>
                    <a:pt x="340" y="32"/>
                  </a:lnTo>
                  <a:lnTo>
                    <a:pt x="340" y="34"/>
                  </a:lnTo>
                  <a:lnTo>
                    <a:pt x="340" y="36"/>
                  </a:lnTo>
                  <a:lnTo>
                    <a:pt x="340" y="37"/>
                  </a:lnTo>
                  <a:lnTo>
                    <a:pt x="340" y="41"/>
                  </a:lnTo>
                  <a:lnTo>
                    <a:pt x="340" y="43"/>
                  </a:lnTo>
                  <a:lnTo>
                    <a:pt x="340" y="44"/>
                  </a:lnTo>
                  <a:lnTo>
                    <a:pt x="340" y="46"/>
                  </a:lnTo>
                  <a:lnTo>
                    <a:pt x="340" y="49"/>
                  </a:lnTo>
                  <a:lnTo>
                    <a:pt x="340" y="51"/>
                  </a:lnTo>
                  <a:lnTo>
                    <a:pt x="340" y="53"/>
                  </a:lnTo>
                  <a:lnTo>
                    <a:pt x="340" y="55"/>
                  </a:lnTo>
                  <a:lnTo>
                    <a:pt x="340" y="60"/>
                  </a:lnTo>
                  <a:lnTo>
                    <a:pt x="340" y="65"/>
                  </a:lnTo>
                  <a:lnTo>
                    <a:pt x="340" y="72"/>
                  </a:lnTo>
                  <a:lnTo>
                    <a:pt x="338" y="75"/>
                  </a:lnTo>
                  <a:lnTo>
                    <a:pt x="338" y="79"/>
                  </a:lnTo>
                  <a:lnTo>
                    <a:pt x="338" y="82"/>
                  </a:lnTo>
                  <a:lnTo>
                    <a:pt x="338" y="86"/>
                  </a:lnTo>
                  <a:lnTo>
                    <a:pt x="338" y="87"/>
                  </a:lnTo>
                  <a:lnTo>
                    <a:pt x="338" y="89"/>
                  </a:lnTo>
                  <a:lnTo>
                    <a:pt x="340" y="89"/>
                  </a:lnTo>
                  <a:lnTo>
                    <a:pt x="340" y="92"/>
                  </a:lnTo>
                  <a:lnTo>
                    <a:pt x="340" y="94"/>
                  </a:lnTo>
                  <a:lnTo>
                    <a:pt x="340" y="103"/>
                  </a:lnTo>
                  <a:lnTo>
                    <a:pt x="340" y="104"/>
                  </a:lnTo>
                  <a:lnTo>
                    <a:pt x="340" y="106"/>
                  </a:lnTo>
                  <a:lnTo>
                    <a:pt x="340" y="108"/>
                  </a:lnTo>
                  <a:lnTo>
                    <a:pt x="340" y="110"/>
                  </a:lnTo>
                  <a:lnTo>
                    <a:pt x="340" y="111"/>
                  </a:lnTo>
                  <a:lnTo>
                    <a:pt x="340" y="113"/>
                  </a:lnTo>
                  <a:lnTo>
                    <a:pt x="340" y="117"/>
                  </a:lnTo>
                  <a:lnTo>
                    <a:pt x="340" y="118"/>
                  </a:lnTo>
                  <a:lnTo>
                    <a:pt x="340" y="122"/>
                  </a:lnTo>
                  <a:lnTo>
                    <a:pt x="340" y="123"/>
                  </a:lnTo>
                  <a:lnTo>
                    <a:pt x="338" y="125"/>
                  </a:lnTo>
                  <a:lnTo>
                    <a:pt x="338" y="127"/>
                  </a:lnTo>
                  <a:lnTo>
                    <a:pt x="338" y="135"/>
                  </a:lnTo>
                  <a:lnTo>
                    <a:pt x="338" y="135"/>
                  </a:lnTo>
                  <a:lnTo>
                    <a:pt x="338" y="147"/>
                  </a:lnTo>
                  <a:lnTo>
                    <a:pt x="338" y="149"/>
                  </a:lnTo>
                  <a:lnTo>
                    <a:pt x="338" y="149"/>
                  </a:lnTo>
                  <a:lnTo>
                    <a:pt x="338" y="151"/>
                  </a:lnTo>
                  <a:lnTo>
                    <a:pt x="337" y="161"/>
                  </a:lnTo>
                  <a:lnTo>
                    <a:pt x="337" y="172"/>
                  </a:lnTo>
                  <a:lnTo>
                    <a:pt x="337" y="173"/>
                  </a:lnTo>
                  <a:lnTo>
                    <a:pt x="337" y="175"/>
                  </a:lnTo>
                  <a:lnTo>
                    <a:pt x="337" y="180"/>
                  </a:lnTo>
                  <a:lnTo>
                    <a:pt x="337" y="182"/>
                  </a:lnTo>
                  <a:lnTo>
                    <a:pt x="337" y="187"/>
                  </a:lnTo>
                  <a:lnTo>
                    <a:pt x="337" y="191"/>
                  </a:lnTo>
                  <a:lnTo>
                    <a:pt x="337" y="194"/>
                  </a:lnTo>
                  <a:lnTo>
                    <a:pt x="337" y="203"/>
                  </a:lnTo>
                  <a:lnTo>
                    <a:pt x="337" y="209"/>
                  </a:lnTo>
                  <a:lnTo>
                    <a:pt x="337" y="211"/>
                  </a:lnTo>
                  <a:lnTo>
                    <a:pt x="337" y="213"/>
                  </a:lnTo>
                  <a:lnTo>
                    <a:pt x="337" y="218"/>
                  </a:lnTo>
                  <a:lnTo>
                    <a:pt x="337" y="220"/>
                  </a:lnTo>
                  <a:lnTo>
                    <a:pt x="337" y="223"/>
                  </a:lnTo>
                  <a:lnTo>
                    <a:pt x="337" y="225"/>
                  </a:lnTo>
                  <a:lnTo>
                    <a:pt x="337" y="225"/>
                  </a:lnTo>
                  <a:lnTo>
                    <a:pt x="337" y="227"/>
                  </a:lnTo>
                  <a:lnTo>
                    <a:pt x="335" y="227"/>
                  </a:lnTo>
                  <a:lnTo>
                    <a:pt x="335" y="232"/>
                  </a:lnTo>
                  <a:lnTo>
                    <a:pt x="335" y="237"/>
                  </a:lnTo>
                  <a:lnTo>
                    <a:pt x="335" y="240"/>
                  </a:lnTo>
                  <a:lnTo>
                    <a:pt x="335" y="242"/>
                  </a:lnTo>
                  <a:lnTo>
                    <a:pt x="335" y="246"/>
                  </a:lnTo>
                  <a:lnTo>
                    <a:pt x="335" y="249"/>
                  </a:lnTo>
                  <a:lnTo>
                    <a:pt x="335" y="256"/>
                  </a:lnTo>
                  <a:lnTo>
                    <a:pt x="335" y="258"/>
                  </a:lnTo>
                  <a:lnTo>
                    <a:pt x="335" y="259"/>
                  </a:lnTo>
                  <a:lnTo>
                    <a:pt x="335" y="263"/>
                  </a:lnTo>
                  <a:lnTo>
                    <a:pt x="333" y="271"/>
                  </a:lnTo>
                  <a:lnTo>
                    <a:pt x="333" y="273"/>
                  </a:lnTo>
                  <a:lnTo>
                    <a:pt x="333" y="278"/>
                  </a:lnTo>
                  <a:lnTo>
                    <a:pt x="332" y="278"/>
                  </a:lnTo>
                  <a:lnTo>
                    <a:pt x="330" y="278"/>
                  </a:lnTo>
                  <a:lnTo>
                    <a:pt x="326" y="278"/>
                  </a:lnTo>
                  <a:lnTo>
                    <a:pt x="325" y="278"/>
                  </a:lnTo>
                  <a:lnTo>
                    <a:pt x="323" y="278"/>
                  </a:lnTo>
                  <a:lnTo>
                    <a:pt x="313" y="270"/>
                  </a:lnTo>
                  <a:lnTo>
                    <a:pt x="311" y="270"/>
                  </a:lnTo>
                  <a:lnTo>
                    <a:pt x="311" y="268"/>
                  </a:lnTo>
                  <a:lnTo>
                    <a:pt x="309" y="268"/>
                  </a:lnTo>
                  <a:lnTo>
                    <a:pt x="308" y="270"/>
                  </a:lnTo>
                  <a:lnTo>
                    <a:pt x="308" y="270"/>
                  </a:lnTo>
                  <a:lnTo>
                    <a:pt x="308" y="270"/>
                  </a:lnTo>
                  <a:lnTo>
                    <a:pt x="306" y="270"/>
                  </a:lnTo>
                  <a:lnTo>
                    <a:pt x="306" y="271"/>
                  </a:lnTo>
                  <a:lnTo>
                    <a:pt x="313" y="283"/>
                  </a:lnTo>
                  <a:lnTo>
                    <a:pt x="308" y="283"/>
                  </a:lnTo>
                  <a:lnTo>
                    <a:pt x="308" y="283"/>
                  </a:lnTo>
                  <a:lnTo>
                    <a:pt x="304" y="283"/>
                  </a:lnTo>
                  <a:lnTo>
                    <a:pt x="302" y="283"/>
                  </a:lnTo>
                  <a:lnTo>
                    <a:pt x="290" y="283"/>
                  </a:lnTo>
                  <a:lnTo>
                    <a:pt x="289" y="282"/>
                  </a:lnTo>
                  <a:lnTo>
                    <a:pt x="282" y="282"/>
                  </a:lnTo>
                  <a:lnTo>
                    <a:pt x="280" y="282"/>
                  </a:lnTo>
                  <a:lnTo>
                    <a:pt x="278" y="282"/>
                  </a:lnTo>
                  <a:lnTo>
                    <a:pt x="277" y="282"/>
                  </a:lnTo>
                  <a:lnTo>
                    <a:pt x="271" y="282"/>
                  </a:lnTo>
                  <a:lnTo>
                    <a:pt x="266" y="282"/>
                  </a:lnTo>
                  <a:lnTo>
                    <a:pt x="265" y="282"/>
                  </a:lnTo>
                  <a:lnTo>
                    <a:pt x="263" y="282"/>
                  </a:lnTo>
                  <a:lnTo>
                    <a:pt x="263" y="282"/>
                  </a:lnTo>
                  <a:lnTo>
                    <a:pt x="261" y="282"/>
                  </a:lnTo>
                  <a:lnTo>
                    <a:pt x="258" y="282"/>
                  </a:lnTo>
                  <a:lnTo>
                    <a:pt x="256" y="282"/>
                  </a:lnTo>
                  <a:lnTo>
                    <a:pt x="254" y="282"/>
                  </a:lnTo>
                  <a:lnTo>
                    <a:pt x="249" y="280"/>
                  </a:lnTo>
                  <a:lnTo>
                    <a:pt x="247" y="280"/>
                  </a:lnTo>
                  <a:lnTo>
                    <a:pt x="242" y="280"/>
                  </a:lnTo>
                  <a:lnTo>
                    <a:pt x="240" y="280"/>
                  </a:lnTo>
                  <a:lnTo>
                    <a:pt x="237" y="280"/>
                  </a:lnTo>
                  <a:lnTo>
                    <a:pt x="228" y="280"/>
                  </a:lnTo>
                  <a:lnTo>
                    <a:pt x="227" y="280"/>
                  </a:lnTo>
                  <a:lnTo>
                    <a:pt x="223" y="280"/>
                  </a:lnTo>
                  <a:lnTo>
                    <a:pt x="220" y="280"/>
                  </a:lnTo>
                  <a:lnTo>
                    <a:pt x="218" y="280"/>
                  </a:lnTo>
                  <a:lnTo>
                    <a:pt x="215" y="280"/>
                  </a:lnTo>
                  <a:lnTo>
                    <a:pt x="213" y="280"/>
                  </a:lnTo>
                  <a:lnTo>
                    <a:pt x="204" y="278"/>
                  </a:lnTo>
                  <a:lnTo>
                    <a:pt x="203" y="278"/>
                  </a:lnTo>
                  <a:lnTo>
                    <a:pt x="201" y="278"/>
                  </a:lnTo>
                  <a:lnTo>
                    <a:pt x="199" y="278"/>
                  </a:lnTo>
                  <a:lnTo>
                    <a:pt x="197" y="278"/>
                  </a:lnTo>
                  <a:lnTo>
                    <a:pt x="196" y="278"/>
                  </a:lnTo>
                  <a:lnTo>
                    <a:pt x="194" y="278"/>
                  </a:lnTo>
                  <a:lnTo>
                    <a:pt x="192" y="278"/>
                  </a:lnTo>
                  <a:lnTo>
                    <a:pt x="191" y="278"/>
                  </a:lnTo>
                  <a:lnTo>
                    <a:pt x="187" y="278"/>
                  </a:lnTo>
                  <a:lnTo>
                    <a:pt x="185" y="278"/>
                  </a:lnTo>
                  <a:lnTo>
                    <a:pt x="184" y="278"/>
                  </a:lnTo>
                  <a:lnTo>
                    <a:pt x="180" y="278"/>
                  </a:lnTo>
                  <a:lnTo>
                    <a:pt x="175" y="278"/>
                  </a:lnTo>
                  <a:lnTo>
                    <a:pt x="173" y="278"/>
                  </a:lnTo>
                  <a:lnTo>
                    <a:pt x="172" y="277"/>
                  </a:lnTo>
                  <a:lnTo>
                    <a:pt x="170" y="277"/>
                  </a:lnTo>
                  <a:lnTo>
                    <a:pt x="166" y="277"/>
                  </a:lnTo>
                  <a:lnTo>
                    <a:pt x="165" y="277"/>
                  </a:lnTo>
                  <a:lnTo>
                    <a:pt x="149" y="277"/>
                  </a:lnTo>
                  <a:lnTo>
                    <a:pt x="148" y="277"/>
                  </a:lnTo>
                  <a:lnTo>
                    <a:pt x="142" y="275"/>
                  </a:lnTo>
                  <a:lnTo>
                    <a:pt x="142" y="275"/>
                  </a:lnTo>
                  <a:lnTo>
                    <a:pt x="137" y="275"/>
                  </a:lnTo>
                  <a:lnTo>
                    <a:pt x="136" y="275"/>
                  </a:lnTo>
                  <a:lnTo>
                    <a:pt x="132" y="275"/>
                  </a:lnTo>
                  <a:lnTo>
                    <a:pt x="120" y="275"/>
                  </a:lnTo>
                  <a:lnTo>
                    <a:pt x="117" y="275"/>
                  </a:lnTo>
                  <a:lnTo>
                    <a:pt x="113" y="275"/>
                  </a:lnTo>
                  <a:lnTo>
                    <a:pt x="110" y="275"/>
                  </a:lnTo>
                  <a:lnTo>
                    <a:pt x="108" y="273"/>
                  </a:lnTo>
                  <a:lnTo>
                    <a:pt x="103" y="273"/>
                  </a:lnTo>
                  <a:lnTo>
                    <a:pt x="101" y="273"/>
                  </a:lnTo>
                  <a:lnTo>
                    <a:pt x="99" y="273"/>
                  </a:lnTo>
                  <a:lnTo>
                    <a:pt x="96" y="273"/>
                  </a:lnTo>
                  <a:lnTo>
                    <a:pt x="93" y="273"/>
                  </a:lnTo>
                  <a:lnTo>
                    <a:pt x="87" y="273"/>
                  </a:lnTo>
                  <a:lnTo>
                    <a:pt x="86" y="273"/>
                  </a:lnTo>
                  <a:lnTo>
                    <a:pt x="80" y="273"/>
                  </a:lnTo>
                  <a:lnTo>
                    <a:pt x="80" y="273"/>
                  </a:lnTo>
                  <a:lnTo>
                    <a:pt x="68" y="271"/>
                  </a:lnTo>
                  <a:lnTo>
                    <a:pt x="67" y="271"/>
                  </a:lnTo>
                  <a:lnTo>
                    <a:pt x="65" y="271"/>
                  </a:lnTo>
                  <a:lnTo>
                    <a:pt x="58" y="271"/>
                  </a:lnTo>
                  <a:lnTo>
                    <a:pt x="55" y="271"/>
                  </a:lnTo>
                  <a:lnTo>
                    <a:pt x="53" y="271"/>
                  </a:lnTo>
                  <a:lnTo>
                    <a:pt x="51" y="271"/>
                  </a:lnTo>
                  <a:lnTo>
                    <a:pt x="50" y="271"/>
                  </a:lnTo>
                  <a:lnTo>
                    <a:pt x="44" y="271"/>
                  </a:lnTo>
                  <a:lnTo>
                    <a:pt x="43" y="271"/>
                  </a:lnTo>
                  <a:lnTo>
                    <a:pt x="41" y="271"/>
                  </a:lnTo>
                  <a:lnTo>
                    <a:pt x="39" y="271"/>
                  </a:lnTo>
                  <a:lnTo>
                    <a:pt x="37" y="271"/>
                  </a:lnTo>
                  <a:lnTo>
                    <a:pt x="36" y="270"/>
                  </a:lnTo>
                  <a:lnTo>
                    <a:pt x="32" y="270"/>
                  </a:lnTo>
                  <a:lnTo>
                    <a:pt x="31" y="270"/>
                  </a:lnTo>
                  <a:lnTo>
                    <a:pt x="25" y="270"/>
                  </a:lnTo>
                  <a:lnTo>
                    <a:pt x="24" y="270"/>
                  </a:lnTo>
                  <a:lnTo>
                    <a:pt x="17" y="270"/>
                  </a:lnTo>
                  <a:lnTo>
                    <a:pt x="15" y="270"/>
                  </a:lnTo>
                  <a:lnTo>
                    <a:pt x="13" y="270"/>
                  </a:lnTo>
                  <a:lnTo>
                    <a:pt x="10" y="270"/>
                  </a:lnTo>
                  <a:lnTo>
                    <a:pt x="7" y="270"/>
                  </a:lnTo>
                  <a:lnTo>
                    <a:pt x="3" y="270"/>
                  </a:lnTo>
                  <a:lnTo>
                    <a:pt x="0" y="270"/>
                  </a:lnTo>
                  <a:lnTo>
                    <a:pt x="0" y="268"/>
                  </a:lnTo>
                  <a:lnTo>
                    <a:pt x="0" y="258"/>
                  </a:lnTo>
                  <a:lnTo>
                    <a:pt x="0" y="256"/>
                  </a:lnTo>
                  <a:lnTo>
                    <a:pt x="0" y="247"/>
                  </a:lnTo>
                  <a:lnTo>
                    <a:pt x="0" y="242"/>
                  </a:lnTo>
                  <a:lnTo>
                    <a:pt x="0" y="240"/>
                  </a:lnTo>
                  <a:lnTo>
                    <a:pt x="0" y="239"/>
                  </a:lnTo>
                  <a:lnTo>
                    <a:pt x="0" y="237"/>
                  </a:lnTo>
                  <a:lnTo>
                    <a:pt x="1" y="234"/>
                  </a:lnTo>
                  <a:lnTo>
                    <a:pt x="1" y="232"/>
                  </a:lnTo>
                  <a:lnTo>
                    <a:pt x="1" y="230"/>
                  </a:lnTo>
                  <a:lnTo>
                    <a:pt x="1" y="225"/>
                  </a:lnTo>
                  <a:lnTo>
                    <a:pt x="1" y="213"/>
                  </a:lnTo>
                  <a:lnTo>
                    <a:pt x="1" y="209"/>
                  </a:lnTo>
                  <a:lnTo>
                    <a:pt x="1" y="206"/>
                  </a:lnTo>
                  <a:lnTo>
                    <a:pt x="1" y="203"/>
                  </a:lnTo>
                  <a:lnTo>
                    <a:pt x="3" y="197"/>
                  </a:lnTo>
                  <a:lnTo>
                    <a:pt x="3" y="196"/>
                  </a:lnTo>
                  <a:lnTo>
                    <a:pt x="3" y="196"/>
                  </a:lnTo>
                  <a:lnTo>
                    <a:pt x="3" y="192"/>
                  </a:lnTo>
                  <a:lnTo>
                    <a:pt x="3" y="191"/>
                  </a:lnTo>
                  <a:lnTo>
                    <a:pt x="3" y="184"/>
                  </a:lnTo>
                  <a:lnTo>
                    <a:pt x="3" y="180"/>
                  </a:lnTo>
                  <a:lnTo>
                    <a:pt x="3" y="170"/>
                  </a:lnTo>
                  <a:lnTo>
                    <a:pt x="5" y="165"/>
                  </a:lnTo>
                  <a:lnTo>
                    <a:pt x="5" y="158"/>
                  </a:lnTo>
                  <a:lnTo>
                    <a:pt x="5" y="149"/>
                  </a:lnTo>
                  <a:lnTo>
                    <a:pt x="5" y="147"/>
                  </a:lnTo>
                  <a:lnTo>
                    <a:pt x="5" y="146"/>
                  </a:lnTo>
                  <a:lnTo>
                    <a:pt x="5" y="142"/>
                  </a:lnTo>
                  <a:lnTo>
                    <a:pt x="5" y="141"/>
                  </a:lnTo>
                  <a:lnTo>
                    <a:pt x="5" y="139"/>
                  </a:lnTo>
                  <a:lnTo>
                    <a:pt x="5" y="135"/>
                  </a:lnTo>
                  <a:lnTo>
                    <a:pt x="7" y="130"/>
                  </a:lnTo>
                  <a:lnTo>
                    <a:pt x="7" y="129"/>
                  </a:lnTo>
                  <a:lnTo>
                    <a:pt x="7" y="125"/>
                  </a:lnTo>
                  <a:lnTo>
                    <a:pt x="7" y="123"/>
                  </a:lnTo>
                  <a:lnTo>
                    <a:pt x="7" y="120"/>
                  </a:lnTo>
                  <a:lnTo>
                    <a:pt x="7" y="120"/>
                  </a:lnTo>
                  <a:lnTo>
                    <a:pt x="7" y="111"/>
                  </a:lnTo>
                  <a:lnTo>
                    <a:pt x="7" y="103"/>
                  </a:lnTo>
                  <a:lnTo>
                    <a:pt x="7" y="98"/>
                  </a:lnTo>
                  <a:lnTo>
                    <a:pt x="7" y="92"/>
                  </a:lnTo>
                  <a:lnTo>
                    <a:pt x="7" y="91"/>
                  </a:lnTo>
                  <a:lnTo>
                    <a:pt x="7" y="89"/>
                  </a:lnTo>
                  <a:lnTo>
                    <a:pt x="7" y="87"/>
                  </a:lnTo>
                  <a:lnTo>
                    <a:pt x="7" y="84"/>
                  </a:lnTo>
                  <a:lnTo>
                    <a:pt x="7" y="75"/>
                  </a:lnTo>
                  <a:lnTo>
                    <a:pt x="7" y="75"/>
                  </a:lnTo>
                  <a:lnTo>
                    <a:pt x="7" y="72"/>
                  </a:lnTo>
                  <a:lnTo>
                    <a:pt x="7" y="65"/>
                  </a:lnTo>
                  <a:lnTo>
                    <a:pt x="7" y="61"/>
                  </a:lnTo>
                  <a:lnTo>
                    <a:pt x="7" y="58"/>
                  </a:lnTo>
                  <a:lnTo>
                    <a:pt x="7" y="56"/>
                  </a:lnTo>
                  <a:lnTo>
                    <a:pt x="7" y="55"/>
                  </a:lnTo>
                  <a:lnTo>
                    <a:pt x="7" y="51"/>
                  </a:lnTo>
                  <a:lnTo>
                    <a:pt x="7" y="49"/>
                  </a:lnTo>
                  <a:lnTo>
                    <a:pt x="7" y="46"/>
                  </a:lnTo>
                  <a:lnTo>
                    <a:pt x="7" y="41"/>
                  </a:lnTo>
                  <a:lnTo>
                    <a:pt x="7" y="32"/>
                  </a:lnTo>
                  <a:lnTo>
                    <a:pt x="7" y="29"/>
                  </a:lnTo>
                  <a:lnTo>
                    <a:pt x="7" y="29"/>
                  </a:lnTo>
                  <a:lnTo>
                    <a:pt x="7" y="27"/>
                  </a:lnTo>
                  <a:lnTo>
                    <a:pt x="8" y="10"/>
                  </a:lnTo>
                  <a:lnTo>
                    <a:pt x="8" y="5"/>
                  </a:lnTo>
                  <a:lnTo>
                    <a:pt x="8" y="0"/>
                  </a:lnTo>
                  <a:lnTo>
                    <a:pt x="8" y="0"/>
                  </a:lnTo>
                  <a:lnTo>
                    <a:pt x="13" y="0"/>
                  </a:lnTo>
                  <a:lnTo>
                    <a:pt x="20" y="0"/>
                  </a:lnTo>
                  <a:lnTo>
                    <a:pt x="25" y="0"/>
                  </a:lnTo>
                  <a:lnTo>
                    <a:pt x="29" y="0"/>
                  </a:lnTo>
                  <a:lnTo>
                    <a:pt x="36" y="0"/>
                  </a:lnTo>
                  <a:lnTo>
                    <a:pt x="39" y="0"/>
                  </a:lnTo>
                  <a:lnTo>
                    <a:pt x="43" y="0"/>
                  </a:lnTo>
                  <a:lnTo>
                    <a:pt x="48" y="0"/>
                  </a:lnTo>
                  <a:lnTo>
                    <a:pt x="51" y="0"/>
                  </a:lnTo>
                  <a:lnTo>
                    <a:pt x="60" y="0"/>
                  </a:lnTo>
                  <a:lnTo>
                    <a:pt x="65" y="0"/>
                  </a:lnTo>
                  <a:lnTo>
                    <a:pt x="67" y="1"/>
                  </a:lnTo>
                  <a:lnTo>
                    <a:pt x="68" y="1"/>
                  </a:lnTo>
                  <a:lnTo>
                    <a:pt x="70" y="1"/>
                  </a:lnTo>
                  <a:lnTo>
                    <a:pt x="74" y="1"/>
                  </a:lnTo>
                  <a:lnTo>
                    <a:pt x="75" y="1"/>
                  </a:lnTo>
                  <a:lnTo>
                    <a:pt x="77" y="1"/>
                  </a:lnTo>
                  <a:lnTo>
                    <a:pt x="80" y="1"/>
                  </a:lnTo>
                  <a:lnTo>
                    <a:pt x="89" y="1"/>
                  </a:lnTo>
                  <a:lnTo>
                    <a:pt x="96" y="1"/>
                  </a:lnTo>
                  <a:lnTo>
                    <a:pt x="96" y="1"/>
                  </a:lnTo>
                  <a:lnTo>
                    <a:pt x="99" y="1"/>
                  </a:lnTo>
                  <a:lnTo>
                    <a:pt x="101" y="1"/>
                  </a:lnTo>
                  <a:lnTo>
                    <a:pt x="103" y="1"/>
                  </a:lnTo>
                  <a:lnTo>
                    <a:pt x="105" y="1"/>
                  </a:lnTo>
                  <a:lnTo>
                    <a:pt x="111" y="1"/>
                  </a:lnTo>
                  <a:lnTo>
                    <a:pt x="123" y="3"/>
                  </a:lnTo>
                  <a:lnTo>
                    <a:pt x="127" y="3"/>
                  </a:lnTo>
                  <a:lnTo>
                    <a:pt x="130" y="3"/>
                  </a:lnTo>
                  <a:lnTo>
                    <a:pt x="132" y="3"/>
                  </a:lnTo>
                  <a:lnTo>
                    <a:pt x="137" y="3"/>
                  </a:lnTo>
                  <a:lnTo>
                    <a:pt x="139" y="3"/>
                  </a:lnTo>
                  <a:lnTo>
                    <a:pt x="142" y="3"/>
                  </a:lnTo>
                  <a:lnTo>
                    <a:pt x="144" y="3"/>
                  </a:lnTo>
                  <a:lnTo>
                    <a:pt x="148" y="3"/>
                  </a:lnTo>
                  <a:lnTo>
                    <a:pt x="149" y="3"/>
                  </a:lnTo>
                  <a:lnTo>
                    <a:pt x="156" y="3"/>
                  </a:lnTo>
                  <a:lnTo>
                    <a:pt x="161" y="3"/>
                  </a:lnTo>
                  <a:lnTo>
                    <a:pt x="163" y="3"/>
                  </a:lnTo>
                  <a:lnTo>
                    <a:pt x="163" y="5"/>
                  </a:lnTo>
                  <a:lnTo>
                    <a:pt x="165" y="3"/>
                  </a:lnTo>
                  <a:lnTo>
                    <a:pt x="166" y="5"/>
                  </a:lnTo>
                  <a:lnTo>
                    <a:pt x="172" y="5"/>
                  </a:lnTo>
                  <a:lnTo>
                    <a:pt x="175" y="5"/>
                  </a:lnTo>
                  <a:lnTo>
                    <a:pt x="177" y="5"/>
                  </a:lnTo>
                  <a:lnTo>
                    <a:pt x="179" y="5"/>
                  </a:lnTo>
                  <a:lnTo>
                    <a:pt x="180" y="5"/>
                  </a:lnTo>
                  <a:lnTo>
                    <a:pt x="182" y="5"/>
                  </a:lnTo>
                  <a:lnTo>
                    <a:pt x="187" y="5"/>
                  </a:lnTo>
                  <a:lnTo>
                    <a:pt x="189" y="5"/>
                  </a:lnTo>
                  <a:lnTo>
                    <a:pt x="192" y="5"/>
                  </a:lnTo>
                  <a:lnTo>
                    <a:pt x="194" y="5"/>
                  </a:lnTo>
                  <a:lnTo>
                    <a:pt x="196" y="5"/>
                  </a:lnTo>
                  <a:lnTo>
                    <a:pt x="197" y="5"/>
                  </a:lnTo>
                  <a:lnTo>
                    <a:pt x="199" y="5"/>
                  </a:lnTo>
                  <a:lnTo>
                    <a:pt x="201" y="5"/>
                  </a:lnTo>
                  <a:lnTo>
                    <a:pt x="204" y="5"/>
                  </a:lnTo>
                  <a:lnTo>
                    <a:pt x="208" y="5"/>
                  </a:lnTo>
                  <a:lnTo>
                    <a:pt x="209" y="5"/>
                  </a:lnTo>
                  <a:lnTo>
                    <a:pt x="215" y="5"/>
                  </a:lnTo>
                  <a:lnTo>
                    <a:pt x="216" y="5"/>
                  </a:lnTo>
                  <a:lnTo>
                    <a:pt x="220" y="5"/>
                  </a:lnTo>
                  <a:lnTo>
                    <a:pt x="222" y="6"/>
                  </a:lnTo>
                  <a:lnTo>
                    <a:pt x="228" y="6"/>
                  </a:lnTo>
                  <a:lnTo>
                    <a:pt x="230" y="6"/>
                  </a:lnTo>
                  <a:lnTo>
                    <a:pt x="232" y="6"/>
                  </a:lnTo>
                  <a:lnTo>
                    <a:pt x="234" y="6"/>
                  </a:lnTo>
                  <a:lnTo>
                    <a:pt x="237" y="6"/>
                  </a:lnTo>
                  <a:lnTo>
                    <a:pt x="242" y="6"/>
                  </a:lnTo>
                  <a:lnTo>
                    <a:pt x="244" y="6"/>
                  </a:lnTo>
                  <a:lnTo>
                    <a:pt x="252" y="6"/>
                  </a:lnTo>
                  <a:lnTo>
                    <a:pt x="265" y="6"/>
                  </a:lnTo>
                  <a:lnTo>
                    <a:pt x="270" y="8"/>
                  </a:lnTo>
                  <a:lnTo>
                    <a:pt x="273" y="8"/>
                  </a:lnTo>
                  <a:lnTo>
                    <a:pt x="275" y="8"/>
                  </a:lnTo>
                  <a:lnTo>
                    <a:pt x="277" y="8"/>
                  </a:lnTo>
                  <a:lnTo>
                    <a:pt x="278" y="8"/>
                  </a:lnTo>
                  <a:lnTo>
                    <a:pt x="280" y="8"/>
                  </a:lnTo>
                  <a:lnTo>
                    <a:pt x="283" y="8"/>
                  </a:lnTo>
                  <a:lnTo>
                    <a:pt x="285" y="8"/>
                  </a:lnTo>
                  <a:lnTo>
                    <a:pt x="287" y="8"/>
                  </a:lnTo>
                  <a:lnTo>
                    <a:pt x="289" y="8"/>
                  </a:lnTo>
                  <a:lnTo>
                    <a:pt x="292" y="8"/>
                  </a:lnTo>
                  <a:lnTo>
                    <a:pt x="294" y="8"/>
                  </a:lnTo>
                  <a:lnTo>
                    <a:pt x="302" y="8"/>
                  </a:lnTo>
                  <a:lnTo>
                    <a:pt x="304" y="8"/>
                  </a:lnTo>
                  <a:lnTo>
                    <a:pt x="308" y="10"/>
                  </a:lnTo>
                  <a:lnTo>
                    <a:pt x="309" y="10"/>
                  </a:lnTo>
                  <a:lnTo>
                    <a:pt x="311" y="10"/>
                  </a:lnTo>
                  <a:lnTo>
                    <a:pt x="316" y="10"/>
                  </a:lnTo>
                  <a:lnTo>
                    <a:pt x="318" y="10"/>
                  </a:lnTo>
                  <a:lnTo>
                    <a:pt x="321" y="10"/>
                  </a:lnTo>
                  <a:lnTo>
                    <a:pt x="323" y="10"/>
                  </a:lnTo>
                  <a:lnTo>
                    <a:pt x="326" y="10"/>
                  </a:lnTo>
                  <a:lnTo>
                    <a:pt x="328" y="10"/>
                  </a:lnTo>
                  <a:lnTo>
                    <a:pt x="335" y="10"/>
                  </a:lnTo>
                  <a:lnTo>
                    <a:pt x="340" y="10"/>
                  </a:lnTo>
                  <a:lnTo>
                    <a:pt x="342" y="1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7" name="Freeform 208"/>
            <p:cNvSpPr>
              <a:spLocks/>
            </p:cNvSpPr>
            <p:nvPr/>
          </p:nvSpPr>
          <p:spPr bwMode="auto">
            <a:xfrm>
              <a:off x="3563233" y="3984419"/>
              <a:ext cx="546100" cy="522288"/>
            </a:xfrm>
            <a:custGeom>
              <a:avLst/>
              <a:gdLst/>
              <a:ahLst/>
              <a:cxnLst>
                <a:cxn ang="0">
                  <a:pos x="32" y="2"/>
                </a:cxn>
                <a:cxn ang="0">
                  <a:pos x="61" y="4"/>
                </a:cxn>
                <a:cxn ang="0">
                  <a:pos x="86" y="4"/>
                </a:cxn>
                <a:cxn ang="0">
                  <a:pos x="130" y="7"/>
                </a:cxn>
                <a:cxn ang="0">
                  <a:pos x="165" y="9"/>
                </a:cxn>
                <a:cxn ang="0">
                  <a:pos x="221" y="10"/>
                </a:cxn>
                <a:cxn ang="0">
                  <a:pos x="235" y="17"/>
                </a:cxn>
                <a:cxn ang="0">
                  <a:pos x="239" y="17"/>
                </a:cxn>
                <a:cxn ang="0">
                  <a:pos x="237" y="23"/>
                </a:cxn>
                <a:cxn ang="0">
                  <a:pos x="232" y="26"/>
                </a:cxn>
                <a:cxn ang="0">
                  <a:pos x="240" y="29"/>
                </a:cxn>
                <a:cxn ang="0">
                  <a:pos x="242" y="23"/>
                </a:cxn>
                <a:cxn ang="0">
                  <a:pos x="251" y="24"/>
                </a:cxn>
                <a:cxn ang="0">
                  <a:pos x="252" y="14"/>
                </a:cxn>
                <a:cxn ang="0">
                  <a:pos x="259" y="9"/>
                </a:cxn>
                <a:cxn ang="0">
                  <a:pos x="258" y="16"/>
                </a:cxn>
                <a:cxn ang="0">
                  <a:pos x="261" y="23"/>
                </a:cxn>
                <a:cxn ang="0">
                  <a:pos x="264" y="16"/>
                </a:cxn>
                <a:cxn ang="0">
                  <a:pos x="276" y="12"/>
                </a:cxn>
                <a:cxn ang="0">
                  <a:pos x="287" y="9"/>
                </a:cxn>
                <a:cxn ang="0">
                  <a:pos x="297" y="7"/>
                </a:cxn>
                <a:cxn ang="0">
                  <a:pos x="306" y="12"/>
                </a:cxn>
                <a:cxn ang="0">
                  <a:pos x="307" y="17"/>
                </a:cxn>
                <a:cxn ang="0">
                  <a:pos x="313" y="23"/>
                </a:cxn>
                <a:cxn ang="0">
                  <a:pos x="318" y="14"/>
                </a:cxn>
                <a:cxn ang="0">
                  <a:pos x="325" y="21"/>
                </a:cxn>
                <a:cxn ang="0">
                  <a:pos x="328" y="24"/>
                </a:cxn>
                <a:cxn ang="0">
                  <a:pos x="337" y="23"/>
                </a:cxn>
                <a:cxn ang="0">
                  <a:pos x="344" y="26"/>
                </a:cxn>
                <a:cxn ang="0">
                  <a:pos x="344" y="43"/>
                </a:cxn>
                <a:cxn ang="0">
                  <a:pos x="342" y="81"/>
                </a:cxn>
                <a:cxn ang="0">
                  <a:pos x="342" y="103"/>
                </a:cxn>
                <a:cxn ang="0">
                  <a:pos x="338" y="138"/>
                </a:cxn>
                <a:cxn ang="0">
                  <a:pos x="337" y="155"/>
                </a:cxn>
                <a:cxn ang="0">
                  <a:pos x="337" y="181"/>
                </a:cxn>
                <a:cxn ang="0">
                  <a:pos x="335" y="198"/>
                </a:cxn>
                <a:cxn ang="0">
                  <a:pos x="333" y="229"/>
                </a:cxn>
                <a:cxn ang="0">
                  <a:pos x="335" y="250"/>
                </a:cxn>
                <a:cxn ang="0">
                  <a:pos x="333" y="281"/>
                </a:cxn>
                <a:cxn ang="0">
                  <a:pos x="333" y="303"/>
                </a:cxn>
                <a:cxn ang="0">
                  <a:pos x="326" y="327"/>
                </a:cxn>
                <a:cxn ang="0">
                  <a:pos x="309" y="327"/>
                </a:cxn>
                <a:cxn ang="0">
                  <a:pos x="275" y="325"/>
                </a:cxn>
                <a:cxn ang="0">
                  <a:pos x="235" y="324"/>
                </a:cxn>
                <a:cxn ang="0">
                  <a:pos x="201" y="322"/>
                </a:cxn>
                <a:cxn ang="0">
                  <a:pos x="184" y="320"/>
                </a:cxn>
                <a:cxn ang="0">
                  <a:pos x="154" y="320"/>
                </a:cxn>
                <a:cxn ang="0">
                  <a:pos x="132" y="318"/>
                </a:cxn>
                <a:cxn ang="0">
                  <a:pos x="84" y="317"/>
                </a:cxn>
                <a:cxn ang="0">
                  <a:pos x="44" y="315"/>
                </a:cxn>
                <a:cxn ang="0">
                  <a:pos x="8" y="313"/>
                </a:cxn>
                <a:cxn ang="0">
                  <a:pos x="0" y="284"/>
                </a:cxn>
                <a:cxn ang="0">
                  <a:pos x="0" y="255"/>
                </a:cxn>
                <a:cxn ang="0">
                  <a:pos x="1" y="222"/>
                </a:cxn>
                <a:cxn ang="0">
                  <a:pos x="1" y="196"/>
                </a:cxn>
                <a:cxn ang="0">
                  <a:pos x="3" y="165"/>
                </a:cxn>
                <a:cxn ang="0">
                  <a:pos x="5" y="134"/>
                </a:cxn>
                <a:cxn ang="0">
                  <a:pos x="5" y="95"/>
                </a:cxn>
                <a:cxn ang="0">
                  <a:pos x="6" y="69"/>
                </a:cxn>
                <a:cxn ang="0">
                  <a:pos x="6" y="54"/>
                </a:cxn>
                <a:cxn ang="0">
                  <a:pos x="6" y="29"/>
                </a:cxn>
                <a:cxn ang="0">
                  <a:pos x="8" y="4"/>
                </a:cxn>
              </a:cxnLst>
              <a:rect l="0" t="0" r="r" b="b"/>
              <a:pathLst>
                <a:path w="344" h="329">
                  <a:moveTo>
                    <a:pt x="8" y="0"/>
                  </a:moveTo>
                  <a:lnTo>
                    <a:pt x="12" y="0"/>
                  </a:lnTo>
                  <a:lnTo>
                    <a:pt x="15" y="2"/>
                  </a:lnTo>
                  <a:lnTo>
                    <a:pt x="20" y="2"/>
                  </a:lnTo>
                  <a:lnTo>
                    <a:pt x="22" y="2"/>
                  </a:lnTo>
                  <a:lnTo>
                    <a:pt x="25" y="2"/>
                  </a:lnTo>
                  <a:lnTo>
                    <a:pt x="27" y="2"/>
                  </a:lnTo>
                  <a:lnTo>
                    <a:pt x="32" y="2"/>
                  </a:lnTo>
                  <a:lnTo>
                    <a:pt x="37" y="2"/>
                  </a:lnTo>
                  <a:lnTo>
                    <a:pt x="43" y="2"/>
                  </a:lnTo>
                  <a:lnTo>
                    <a:pt x="49" y="2"/>
                  </a:lnTo>
                  <a:lnTo>
                    <a:pt x="55" y="4"/>
                  </a:lnTo>
                  <a:lnTo>
                    <a:pt x="56" y="4"/>
                  </a:lnTo>
                  <a:lnTo>
                    <a:pt x="58" y="4"/>
                  </a:lnTo>
                  <a:lnTo>
                    <a:pt x="60" y="4"/>
                  </a:lnTo>
                  <a:lnTo>
                    <a:pt x="61" y="4"/>
                  </a:lnTo>
                  <a:lnTo>
                    <a:pt x="67" y="4"/>
                  </a:lnTo>
                  <a:lnTo>
                    <a:pt x="72" y="4"/>
                  </a:lnTo>
                  <a:lnTo>
                    <a:pt x="73" y="4"/>
                  </a:lnTo>
                  <a:lnTo>
                    <a:pt x="75" y="4"/>
                  </a:lnTo>
                  <a:lnTo>
                    <a:pt x="77" y="4"/>
                  </a:lnTo>
                  <a:lnTo>
                    <a:pt x="79" y="4"/>
                  </a:lnTo>
                  <a:lnTo>
                    <a:pt x="82" y="4"/>
                  </a:lnTo>
                  <a:lnTo>
                    <a:pt x="86" y="4"/>
                  </a:lnTo>
                  <a:lnTo>
                    <a:pt x="87" y="5"/>
                  </a:lnTo>
                  <a:lnTo>
                    <a:pt x="99" y="5"/>
                  </a:lnTo>
                  <a:lnTo>
                    <a:pt x="108" y="5"/>
                  </a:lnTo>
                  <a:lnTo>
                    <a:pt x="110" y="5"/>
                  </a:lnTo>
                  <a:lnTo>
                    <a:pt x="116" y="5"/>
                  </a:lnTo>
                  <a:lnTo>
                    <a:pt x="116" y="7"/>
                  </a:lnTo>
                  <a:lnTo>
                    <a:pt x="122" y="7"/>
                  </a:lnTo>
                  <a:lnTo>
                    <a:pt x="130" y="7"/>
                  </a:lnTo>
                  <a:lnTo>
                    <a:pt x="132" y="7"/>
                  </a:lnTo>
                  <a:lnTo>
                    <a:pt x="135" y="7"/>
                  </a:lnTo>
                  <a:lnTo>
                    <a:pt x="144" y="7"/>
                  </a:lnTo>
                  <a:lnTo>
                    <a:pt x="153" y="7"/>
                  </a:lnTo>
                  <a:lnTo>
                    <a:pt x="153" y="9"/>
                  </a:lnTo>
                  <a:lnTo>
                    <a:pt x="156" y="9"/>
                  </a:lnTo>
                  <a:lnTo>
                    <a:pt x="158" y="9"/>
                  </a:lnTo>
                  <a:lnTo>
                    <a:pt x="165" y="9"/>
                  </a:lnTo>
                  <a:lnTo>
                    <a:pt x="177" y="9"/>
                  </a:lnTo>
                  <a:lnTo>
                    <a:pt x="189" y="9"/>
                  </a:lnTo>
                  <a:lnTo>
                    <a:pt x="204" y="9"/>
                  </a:lnTo>
                  <a:lnTo>
                    <a:pt x="206" y="9"/>
                  </a:lnTo>
                  <a:lnTo>
                    <a:pt x="208" y="9"/>
                  </a:lnTo>
                  <a:lnTo>
                    <a:pt x="209" y="9"/>
                  </a:lnTo>
                  <a:lnTo>
                    <a:pt x="218" y="10"/>
                  </a:lnTo>
                  <a:lnTo>
                    <a:pt x="221" y="10"/>
                  </a:lnTo>
                  <a:lnTo>
                    <a:pt x="227" y="10"/>
                  </a:lnTo>
                  <a:lnTo>
                    <a:pt x="228" y="10"/>
                  </a:lnTo>
                  <a:lnTo>
                    <a:pt x="232" y="10"/>
                  </a:lnTo>
                  <a:lnTo>
                    <a:pt x="235" y="10"/>
                  </a:lnTo>
                  <a:lnTo>
                    <a:pt x="235" y="12"/>
                  </a:lnTo>
                  <a:lnTo>
                    <a:pt x="235" y="14"/>
                  </a:lnTo>
                  <a:lnTo>
                    <a:pt x="235" y="16"/>
                  </a:lnTo>
                  <a:lnTo>
                    <a:pt x="235" y="17"/>
                  </a:lnTo>
                  <a:lnTo>
                    <a:pt x="237" y="17"/>
                  </a:lnTo>
                  <a:lnTo>
                    <a:pt x="237" y="16"/>
                  </a:lnTo>
                  <a:lnTo>
                    <a:pt x="237" y="14"/>
                  </a:lnTo>
                  <a:lnTo>
                    <a:pt x="239" y="14"/>
                  </a:lnTo>
                  <a:lnTo>
                    <a:pt x="240" y="14"/>
                  </a:lnTo>
                  <a:lnTo>
                    <a:pt x="240" y="16"/>
                  </a:lnTo>
                  <a:lnTo>
                    <a:pt x="240" y="17"/>
                  </a:lnTo>
                  <a:lnTo>
                    <a:pt x="239" y="17"/>
                  </a:lnTo>
                  <a:lnTo>
                    <a:pt x="239" y="19"/>
                  </a:lnTo>
                  <a:lnTo>
                    <a:pt x="237" y="19"/>
                  </a:lnTo>
                  <a:lnTo>
                    <a:pt x="237" y="19"/>
                  </a:lnTo>
                  <a:lnTo>
                    <a:pt x="235" y="19"/>
                  </a:lnTo>
                  <a:lnTo>
                    <a:pt x="235" y="21"/>
                  </a:lnTo>
                  <a:lnTo>
                    <a:pt x="235" y="23"/>
                  </a:lnTo>
                  <a:lnTo>
                    <a:pt x="235" y="23"/>
                  </a:lnTo>
                  <a:lnTo>
                    <a:pt x="237" y="23"/>
                  </a:lnTo>
                  <a:lnTo>
                    <a:pt x="237" y="23"/>
                  </a:lnTo>
                  <a:lnTo>
                    <a:pt x="237" y="24"/>
                  </a:lnTo>
                  <a:lnTo>
                    <a:pt x="237" y="26"/>
                  </a:lnTo>
                  <a:lnTo>
                    <a:pt x="237" y="26"/>
                  </a:lnTo>
                  <a:lnTo>
                    <a:pt x="235" y="24"/>
                  </a:lnTo>
                  <a:lnTo>
                    <a:pt x="233" y="24"/>
                  </a:lnTo>
                  <a:lnTo>
                    <a:pt x="232" y="24"/>
                  </a:lnTo>
                  <a:lnTo>
                    <a:pt x="232" y="26"/>
                  </a:lnTo>
                  <a:lnTo>
                    <a:pt x="232" y="28"/>
                  </a:lnTo>
                  <a:lnTo>
                    <a:pt x="232" y="29"/>
                  </a:lnTo>
                  <a:lnTo>
                    <a:pt x="233" y="29"/>
                  </a:lnTo>
                  <a:lnTo>
                    <a:pt x="235" y="29"/>
                  </a:lnTo>
                  <a:lnTo>
                    <a:pt x="237" y="29"/>
                  </a:lnTo>
                  <a:lnTo>
                    <a:pt x="237" y="29"/>
                  </a:lnTo>
                  <a:lnTo>
                    <a:pt x="239" y="29"/>
                  </a:lnTo>
                  <a:lnTo>
                    <a:pt x="240" y="29"/>
                  </a:lnTo>
                  <a:lnTo>
                    <a:pt x="242" y="29"/>
                  </a:lnTo>
                  <a:lnTo>
                    <a:pt x="244" y="29"/>
                  </a:lnTo>
                  <a:lnTo>
                    <a:pt x="244" y="28"/>
                  </a:lnTo>
                  <a:lnTo>
                    <a:pt x="242" y="28"/>
                  </a:lnTo>
                  <a:lnTo>
                    <a:pt x="242" y="26"/>
                  </a:lnTo>
                  <a:lnTo>
                    <a:pt x="242" y="24"/>
                  </a:lnTo>
                  <a:lnTo>
                    <a:pt x="242" y="23"/>
                  </a:lnTo>
                  <a:lnTo>
                    <a:pt x="242" y="23"/>
                  </a:lnTo>
                  <a:lnTo>
                    <a:pt x="242" y="21"/>
                  </a:lnTo>
                  <a:lnTo>
                    <a:pt x="244" y="21"/>
                  </a:lnTo>
                  <a:lnTo>
                    <a:pt x="245" y="21"/>
                  </a:lnTo>
                  <a:lnTo>
                    <a:pt x="247" y="21"/>
                  </a:lnTo>
                  <a:lnTo>
                    <a:pt x="247" y="23"/>
                  </a:lnTo>
                  <a:lnTo>
                    <a:pt x="247" y="23"/>
                  </a:lnTo>
                  <a:lnTo>
                    <a:pt x="249" y="24"/>
                  </a:lnTo>
                  <a:lnTo>
                    <a:pt x="251" y="24"/>
                  </a:lnTo>
                  <a:lnTo>
                    <a:pt x="251" y="23"/>
                  </a:lnTo>
                  <a:lnTo>
                    <a:pt x="251" y="23"/>
                  </a:lnTo>
                  <a:lnTo>
                    <a:pt x="251" y="21"/>
                  </a:lnTo>
                  <a:lnTo>
                    <a:pt x="252" y="19"/>
                  </a:lnTo>
                  <a:lnTo>
                    <a:pt x="252" y="17"/>
                  </a:lnTo>
                  <a:lnTo>
                    <a:pt x="252" y="16"/>
                  </a:lnTo>
                  <a:lnTo>
                    <a:pt x="252" y="14"/>
                  </a:lnTo>
                  <a:lnTo>
                    <a:pt x="252" y="14"/>
                  </a:lnTo>
                  <a:lnTo>
                    <a:pt x="252" y="12"/>
                  </a:lnTo>
                  <a:lnTo>
                    <a:pt x="252" y="10"/>
                  </a:lnTo>
                  <a:lnTo>
                    <a:pt x="252" y="10"/>
                  </a:lnTo>
                  <a:lnTo>
                    <a:pt x="254" y="9"/>
                  </a:lnTo>
                  <a:lnTo>
                    <a:pt x="256" y="9"/>
                  </a:lnTo>
                  <a:lnTo>
                    <a:pt x="258" y="9"/>
                  </a:lnTo>
                  <a:lnTo>
                    <a:pt x="258" y="9"/>
                  </a:lnTo>
                  <a:lnTo>
                    <a:pt x="259" y="9"/>
                  </a:lnTo>
                  <a:lnTo>
                    <a:pt x="261" y="9"/>
                  </a:lnTo>
                  <a:lnTo>
                    <a:pt x="263" y="9"/>
                  </a:lnTo>
                  <a:lnTo>
                    <a:pt x="263" y="10"/>
                  </a:lnTo>
                  <a:lnTo>
                    <a:pt x="261" y="10"/>
                  </a:lnTo>
                  <a:lnTo>
                    <a:pt x="261" y="12"/>
                  </a:lnTo>
                  <a:lnTo>
                    <a:pt x="259" y="12"/>
                  </a:lnTo>
                  <a:lnTo>
                    <a:pt x="258" y="14"/>
                  </a:lnTo>
                  <a:lnTo>
                    <a:pt x="258" y="16"/>
                  </a:lnTo>
                  <a:lnTo>
                    <a:pt x="258" y="17"/>
                  </a:lnTo>
                  <a:lnTo>
                    <a:pt x="259" y="17"/>
                  </a:lnTo>
                  <a:lnTo>
                    <a:pt x="259" y="19"/>
                  </a:lnTo>
                  <a:lnTo>
                    <a:pt x="259" y="21"/>
                  </a:lnTo>
                  <a:lnTo>
                    <a:pt x="259" y="23"/>
                  </a:lnTo>
                  <a:lnTo>
                    <a:pt x="259" y="23"/>
                  </a:lnTo>
                  <a:lnTo>
                    <a:pt x="261" y="24"/>
                  </a:lnTo>
                  <a:lnTo>
                    <a:pt x="261" y="23"/>
                  </a:lnTo>
                  <a:lnTo>
                    <a:pt x="263" y="23"/>
                  </a:lnTo>
                  <a:lnTo>
                    <a:pt x="261" y="23"/>
                  </a:lnTo>
                  <a:lnTo>
                    <a:pt x="261" y="23"/>
                  </a:lnTo>
                  <a:lnTo>
                    <a:pt x="261" y="21"/>
                  </a:lnTo>
                  <a:lnTo>
                    <a:pt x="261" y="19"/>
                  </a:lnTo>
                  <a:lnTo>
                    <a:pt x="263" y="19"/>
                  </a:lnTo>
                  <a:lnTo>
                    <a:pt x="263" y="17"/>
                  </a:lnTo>
                  <a:lnTo>
                    <a:pt x="264" y="16"/>
                  </a:lnTo>
                  <a:lnTo>
                    <a:pt x="266" y="16"/>
                  </a:lnTo>
                  <a:lnTo>
                    <a:pt x="268" y="16"/>
                  </a:lnTo>
                  <a:lnTo>
                    <a:pt x="268" y="16"/>
                  </a:lnTo>
                  <a:lnTo>
                    <a:pt x="270" y="16"/>
                  </a:lnTo>
                  <a:lnTo>
                    <a:pt x="271" y="14"/>
                  </a:lnTo>
                  <a:lnTo>
                    <a:pt x="273" y="14"/>
                  </a:lnTo>
                  <a:lnTo>
                    <a:pt x="275" y="14"/>
                  </a:lnTo>
                  <a:lnTo>
                    <a:pt x="276" y="12"/>
                  </a:lnTo>
                  <a:lnTo>
                    <a:pt x="278" y="12"/>
                  </a:lnTo>
                  <a:lnTo>
                    <a:pt x="280" y="10"/>
                  </a:lnTo>
                  <a:lnTo>
                    <a:pt x="282" y="10"/>
                  </a:lnTo>
                  <a:lnTo>
                    <a:pt x="283" y="9"/>
                  </a:lnTo>
                  <a:lnTo>
                    <a:pt x="283" y="9"/>
                  </a:lnTo>
                  <a:lnTo>
                    <a:pt x="283" y="9"/>
                  </a:lnTo>
                  <a:lnTo>
                    <a:pt x="285" y="9"/>
                  </a:lnTo>
                  <a:lnTo>
                    <a:pt x="287" y="9"/>
                  </a:lnTo>
                  <a:lnTo>
                    <a:pt x="287" y="9"/>
                  </a:lnTo>
                  <a:lnTo>
                    <a:pt x="288" y="9"/>
                  </a:lnTo>
                  <a:lnTo>
                    <a:pt x="290" y="9"/>
                  </a:lnTo>
                  <a:lnTo>
                    <a:pt x="292" y="9"/>
                  </a:lnTo>
                  <a:lnTo>
                    <a:pt x="294" y="9"/>
                  </a:lnTo>
                  <a:lnTo>
                    <a:pt x="295" y="9"/>
                  </a:lnTo>
                  <a:lnTo>
                    <a:pt x="297" y="9"/>
                  </a:lnTo>
                  <a:lnTo>
                    <a:pt x="297" y="7"/>
                  </a:lnTo>
                  <a:lnTo>
                    <a:pt x="297" y="7"/>
                  </a:lnTo>
                  <a:lnTo>
                    <a:pt x="299" y="7"/>
                  </a:lnTo>
                  <a:lnTo>
                    <a:pt x="301" y="9"/>
                  </a:lnTo>
                  <a:lnTo>
                    <a:pt x="302" y="9"/>
                  </a:lnTo>
                  <a:lnTo>
                    <a:pt x="302" y="9"/>
                  </a:lnTo>
                  <a:lnTo>
                    <a:pt x="302" y="10"/>
                  </a:lnTo>
                  <a:lnTo>
                    <a:pt x="304" y="12"/>
                  </a:lnTo>
                  <a:lnTo>
                    <a:pt x="306" y="12"/>
                  </a:lnTo>
                  <a:lnTo>
                    <a:pt x="306" y="14"/>
                  </a:lnTo>
                  <a:lnTo>
                    <a:pt x="307" y="14"/>
                  </a:lnTo>
                  <a:lnTo>
                    <a:pt x="309" y="14"/>
                  </a:lnTo>
                  <a:lnTo>
                    <a:pt x="311" y="14"/>
                  </a:lnTo>
                  <a:lnTo>
                    <a:pt x="311" y="16"/>
                  </a:lnTo>
                  <a:lnTo>
                    <a:pt x="309" y="16"/>
                  </a:lnTo>
                  <a:lnTo>
                    <a:pt x="309" y="17"/>
                  </a:lnTo>
                  <a:lnTo>
                    <a:pt x="307" y="17"/>
                  </a:lnTo>
                  <a:lnTo>
                    <a:pt x="307" y="19"/>
                  </a:lnTo>
                  <a:lnTo>
                    <a:pt x="309" y="19"/>
                  </a:lnTo>
                  <a:lnTo>
                    <a:pt x="309" y="21"/>
                  </a:lnTo>
                  <a:lnTo>
                    <a:pt x="311" y="21"/>
                  </a:lnTo>
                  <a:lnTo>
                    <a:pt x="313" y="21"/>
                  </a:lnTo>
                  <a:lnTo>
                    <a:pt x="313" y="23"/>
                  </a:lnTo>
                  <a:lnTo>
                    <a:pt x="313" y="23"/>
                  </a:lnTo>
                  <a:lnTo>
                    <a:pt x="313" y="23"/>
                  </a:lnTo>
                  <a:lnTo>
                    <a:pt x="314" y="23"/>
                  </a:lnTo>
                  <a:lnTo>
                    <a:pt x="316" y="23"/>
                  </a:lnTo>
                  <a:lnTo>
                    <a:pt x="316" y="21"/>
                  </a:lnTo>
                  <a:lnTo>
                    <a:pt x="316" y="19"/>
                  </a:lnTo>
                  <a:lnTo>
                    <a:pt x="316" y="17"/>
                  </a:lnTo>
                  <a:lnTo>
                    <a:pt x="316" y="16"/>
                  </a:lnTo>
                  <a:lnTo>
                    <a:pt x="316" y="14"/>
                  </a:lnTo>
                  <a:lnTo>
                    <a:pt x="318" y="14"/>
                  </a:lnTo>
                  <a:lnTo>
                    <a:pt x="319" y="14"/>
                  </a:lnTo>
                  <a:lnTo>
                    <a:pt x="319" y="16"/>
                  </a:lnTo>
                  <a:lnTo>
                    <a:pt x="321" y="16"/>
                  </a:lnTo>
                  <a:lnTo>
                    <a:pt x="321" y="17"/>
                  </a:lnTo>
                  <a:lnTo>
                    <a:pt x="321" y="19"/>
                  </a:lnTo>
                  <a:lnTo>
                    <a:pt x="323" y="19"/>
                  </a:lnTo>
                  <a:lnTo>
                    <a:pt x="323" y="21"/>
                  </a:lnTo>
                  <a:lnTo>
                    <a:pt x="325" y="21"/>
                  </a:lnTo>
                  <a:lnTo>
                    <a:pt x="326" y="21"/>
                  </a:lnTo>
                  <a:lnTo>
                    <a:pt x="326" y="19"/>
                  </a:lnTo>
                  <a:lnTo>
                    <a:pt x="328" y="19"/>
                  </a:lnTo>
                  <a:lnTo>
                    <a:pt x="328" y="21"/>
                  </a:lnTo>
                  <a:lnTo>
                    <a:pt x="328" y="23"/>
                  </a:lnTo>
                  <a:lnTo>
                    <a:pt x="326" y="23"/>
                  </a:lnTo>
                  <a:lnTo>
                    <a:pt x="326" y="24"/>
                  </a:lnTo>
                  <a:lnTo>
                    <a:pt x="328" y="24"/>
                  </a:lnTo>
                  <a:lnTo>
                    <a:pt x="328" y="26"/>
                  </a:lnTo>
                  <a:lnTo>
                    <a:pt x="328" y="26"/>
                  </a:lnTo>
                  <a:lnTo>
                    <a:pt x="330" y="26"/>
                  </a:lnTo>
                  <a:lnTo>
                    <a:pt x="331" y="26"/>
                  </a:lnTo>
                  <a:lnTo>
                    <a:pt x="333" y="26"/>
                  </a:lnTo>
                  <a:lnTo>
                    <a:pt x="335" y="24"/>
                  </a:lnTo>
                  <a:lnTo>
                    <a:pt x="337" y="24"/>
                  </a:lnTo>
                  <a:lnTo>
                    <a:pt x="337" y="23"/>
                  </a:lnTo>
                  <a:lnTo>
                    <a:pt x="338" y="23"/>
                  </a:lnTo>
                  <a:lnTo>
                    <a:pt x="340" y="23"/>
                  </a:lnTo>
                  <a:lnTo>
                    <a:pt x="340" y="24"/>
                  </a:lnTo>
                  <a:lnTo>
                    <a:pt x="340" y="26"/>
                  </a:lnTo>
                  <a:lnTo>
                    <a:pt x="342" y="26"/>
                  </a:lnTo>
                  <a:lnTo>
                    <a:pt x="342" y="28"/>
                  </a:lnTo>
                  <a:lnTo>
                    <a:pt x="344" y="28"/>
                  </a:lnTo>
                  <a:lnTo>
                    <a:pt x="344" y="26"/>
                  </a:lnTo>
                  <a:lnTo>
                    <a:pt x="344" y="24"/>
                  </a:lnTo>
                  <a:lnTo>
                    <a:pt x="344" y="23"/>
                  </a:lnTo>
                  <a:lnTo>
                    <a:pt x="344" y="31"/>
                  </a:lnTo>
                  <a:lnTo>
                    <a:pt x="344" y="36"/>
                  </a:lnTo>
                  <a:lnTo>
                    <a:pt x="344" y="38"/>
                  </a:lnTo>
                  <a:lnTo>
                    <a:pt x="344" y="38"/>
                  </a:lnTo>
                  <a:lnTo>
                    <a:pt x="344" y="41"/>
                  </a:lnTo>
                  <a:lnTo>
                    <a:pt x="344" y="43"/>
                  </a:lnTo>
                  <a:lnTo>
                    <a:pt x="344" y="45"/>
                  </a:lnTo>
                  <a:lnTo>
                    <a:pt x="344" y="50"/>
                  </a:lnTo>
                  <a:lnTo>
                    <a:pt x="344" y="52"/>
                  </a:lnTo>
                  <a:lnTo>
                    <a:pt x="344" y="55"/>
                  </a:lnTo>
                  <a:lnTo>
                    <a:pt x="344" y="60"/>
                  </a:lnTo>
                  <a:lnTo>
                    <a:pt x="344" y="72"/>
                  </a:lnTo>
                  <a:lnTo>
                    <a:pt x="342" y="78"/>
                  </a:lnTo>
                  <a:lnTo>
                    <a:pt x="342" y="81"/>
                  </a:lnTo>
                  <a:lnTo>
                    <a:pt x="342" y="83"/>
                  </a:lnTo>
                  <a:lnTo>
                    <a:pt x="342" y="83"/>
                  </a:lnTo>
                  <a:lnTo>
                    <a:pt x="342" y="86"/>
                  </a:lnTo>
                  <a:lnTo>
                    <a:pt x="342" y="90"/>
                  </a:lnTo>
                  <a:lnTo>
                    <a:pt x="342" y="97"/>
                  </a:lnTo>
                  <a:lnTo>
                    <a:pt x="342" y="98"/>
                  </a:lnTo>
                  <a:lnTo>
                    <a:pt x="342" y="102"/>
                  </a:lnTo>
                  <a:lnTo>
                    <a:pt x="342" y="103"/>
                  </a:lnTo>
                  <a:lnTo>
                    <a:pt x="340" y="105"/>
                  </a:lnTo>
                  <a:lnTo>
                    <a:pt x="340" y="107"/>
                  </a:lnTo>
                  <a:lnTo>
                    <a:pt x="340" y="109"/>
                  </a:lnTo>
                  <a:lnTo>
                    <a:pt x="340" y="114"/>
                  </a:lnTo>
                  <a:lnTo>
                    <a:pt x="340" y="115"/>
                  </a:lnTo>
                  <a:lnTo>
                    <a:pt x="340" y="126"/>
                  </a:lnTo>
                  <a:lnTo>
                    <a:pt x="340" y="129"/>
                  </a:lnTo>
                  <a:lnTo>
                    <a:pt x="338" y="138"/>
                  </a:lnTo>
                  <a:lnTo>
                    <a:pt x="338" y="140"/>
                  </a:lnTo>
                  <a:lnTo>
                    <a:pt x="338" y="143"/>
                  </a:lnTo>
                  <a:lnTo>
                    <a:pt x="338" y="146"/>
                  </a:lnTo>
                  <a:lnTo>
                    <a:pt x="338" y="148"/>
                  </a:lnTo>
                  <a:lnTo>
                    <a:pt x="338" y="150"/>
                  </a:lnTo>
                  <a:lnTo>
                    <a:pt x="338" y="152"/>
                  </a:lnTo>
                  <a:lnTo>
                    <a:pt x="338" y="153"/>
                  </a:lnTo>
                  <a:lnTo>
                    <a:pt x="337" y="155"/>
                  </a:lnTo>
                  <a:lnTo>
                    <a:pt x="337" y="157"/>
                  </a:lnTo>
                  <a:lnTo>
                    <a:pt x="337" y="158"/>
                  </a:lnTo>
                  <a:lnTo>
                    <a:pt x="337" y="160"/>
                  </a:lnTo>
                  <a:lnTo>
                    <a:pt x="337" y="164"/>
                  </a:lnTo>
                  <a:lnTo>
                    <a:pt x="337" y="167"/>
                  </a:lnTo>
                  <a:lnTo>
                    <a:pt x="337" y="174"/>
                  </a:lnTo>
                  <a:lnTo>
                    <a:pt x="337" y="177"/>
                  </a:lnTo>
                  <a:lnTo>
                    <a:pt x="337" y="181"/>
                  </a:lnTo>
                  <a:lnTo>
                    <a:pt x="337" y="183"/>
                  </a:lnTo>
                  <a:lnTo>
                    <a:pt x="337" y="184"/>
                  </a:lnTo>
                  <a:lnTo>
                    <a:pt x="335" y="189"/>
                  </a:lnTo>
                  <a:lnTo>
                    <a:pt x="335" y="189"/>
                  </a:lnTo>
                  <a:lnTo>
                    <a:pt x="335" y="191"/>
                  </a:lnTo>
                  <a:lnTo>
                    <a:pt x="335" y="193"/>
                  </a:lnTo>
                  <a:lnTo>
                    <a:pt x="335" y="196"/>
                  </a:lnTo>
                  <a:lnTo>
                    <a:pt x="335" y="198"/>
                  </a:lnTo>
                  <a:lnTo>
                    <a:pt x="335" y="200"/>
                  </a:lnTo>
                  <a:lnTo>
                    <a:pt x="335" y="201"/>
                  </a:lnTo>
                  <a:lnTo>
                    <a:pt x="335" y="203"/>
                  </a:lnTo>
                  <a:lnTo>
                    <a:pt x="335" y="205"/>
                  </a:lnTo>
                  <a:lnTo>
                    <a:pt x="335" y="212"/>
                  </a:lnTo>
                  <a:lnTo>
                    <a:pt x="333" y="217"/>
                  </a:lnTo>
                  <a:lnTo>
                    <a:pt x="333" y="222"/>
                  </a:lnTo>
                  <a:lnTo>
                    <a:pt x="333" y="229"/>
                  </a:lnTo>
                  <a:lnTo>
                    <a:pt x="333" y="231"/>
                  </a:lnTo>
                  <a:lnTo>
                    <a:pt x="333" y="234"/>
                  </a:lnTo>
                  <a:lnTo>
                    <a:pt x="333" y="234"/>
                  </a:lnTo>
                  <a:lnTo>
                    <a:pt x="333" y="239"/>
                  </a:lnTo>
                  <a:lnTo>
                    <a:pt x="337" y="239"/>
                  </a:lnTo>
                  <a:lnTo>
                    <a:pt x="335" y="243"/>
                  </a:lnTo>
                  <a:lnTo>
                    <a:pt x="335" y="244"/>
                  </a:lnTo>
                  <a:lnTo>
                    <a:pt x="335" y="250"/>
                  </a:lnTo>
                  <a:lnTo>
                    <a:pt x="335" y="257"/>
                  </a:lnTo>
                  <a:lnTo>
                    <a:pt x="335" y="258"/>
                  </a:lnTo>
                  <a:lnTo>
                    <a:pt x="335" y="260"/>
                  </a:lnTo>
                  <a:lnTo>
                    <a:pt x="335" y="262"/>
                  </a:lnTo>
                  <a:lnTo>
                    <a:pt x="335" y="272"/>
                  </a:lnTo>
                  <a:lnTo>
                    <a:pt x="333" y="279"/>
                  </a:lnTo>
                  <a:lnTo>
                    <a:pt x="333" y="279"/>
                  </a:lnTo>
                  <a:lnTo>
                    <a:pt x="333" y="281"/>
                  </a:lnTo>
                  <a:lnTo>
                    <a:pt x="333" y="286"/>
                  </a:lnTo>
                  <a:lnTo>
                    <a:pt x="333" y="287"/>
                  </a:lnTo>
                  <a:lnTo>
                    <a:pt x="333" y="289"/>
                  </a:lnTo>
                  <a:lnTo>
                    <a:pt x="333" y="293"/>
                  </a:lnTo>
                  <a:lnTo>
                    <a:pt x="333" y="294"/>
                  </a:lnTo>
                  <a:lnTo>
                    <a:pt x="333" y="298"/>
                  </a:lnTo>
                  <a:lnTo>
                    <a:pt x="333" y="300"/>
                  </a:lnTo>
                  <a:lnTo>
                    <a:pt x="333" y="303"/>
                  </a:lnTo>
                  <a:lnTo>
                    <a:pt x="333" y="306"/>
                  </a:lnTo>
                  <a:lnTo>
                    <a:pt x="331" y="315"/>
                  </a:lnTo>
                  <a:lnTo>
                    <a:pt x="331" y="317"/>
                  </a:lnTo>
                  <a:lnTo>
                    <a:pt x="331" y="322"/>
                  </a:lnTo>
                  <a:lnTo>
                    <a:pt x="331" y="325"/>
                  </a:lnTo>
                  <a:lnTo>
                    <a:pt x="331" y="329"/>
                  </a:lnTo>
                  <a:lnTo>
                    <a:pt x="328" y="327"/>
                  </a:lnTo>
                  <a:lnTo>
                    <a:pt x="326" y="327"/>
                  </a:lnTo>
                  <a:lnTo>
                    <a:pt x="325" y="327"/>
                  </a:lnTo>
                  <a:lnTo>
                    <a:pt x="321" y="327"/>
                  </a:lnTo>
                  <a:lnTo>
                    <a:pt x="319" y="327"/>
                  </a:lnTo>
                  <a:lnTo>
                    <a:pt x="318" y="327"/>
                  </a:lnTo>
                  <a:lnTo>
                    <a:pt x="316" y="327"/>
                  </a:lnTo>
                  <a:lnTo>
                    <a:pt x="314" y="327"/>
                  </a:lnTo>
                  <a:lnTo>
                    <a:pt x="313" y="327"/>
                  </a:lnTo>
                  <a:lnTo>
                    <a:pt x="309" y="327"/>
                  </a:lnTo>
                  <a:lnTo>
                    <a:pt x="307" y="327"/>
                  </a:lnTo>
                  <a:lnTo>
                    <a:pt x="307" y="325"/>
                  </a:lnTo>
                  <a:lnTo>
                    <a:pt x="306" y="325"/>
                  </a:lnTo>
                  <a:lnTo>
                    <a:pt x="301" y="325"/>
                  </a:lnTo>
                  <a:lnTo>
                    <a:pt x="290" y="325"/>
                  </a:lnTo>
                  <a:lnTo>
                    <a:pt x="287" y="325"/>
                  </a:lnTo>
                  <a:lnTo>
                    <a:pt x="276" y="325"/>
                  </a:lnTo>
                  <a:lnTo>
                    <a:pt x="275" y="325"/>
                  </a:lnTo>
                  <a:lnTo>
                    <a:pt x="273" y="325"/>
                  </a:lnTo>
                  <a:lnTo>
                    <a:pt x="266" y="325"/>
                  </a:lnTo>
                  <a:lnTo>
                    <a:pt x="256" y="325"/>
                  </a:lnTo>
                  <a:lnTo>
                    <a:pt x="244" y="324"/>
                  </a:lnTo>
                  <a:lnTo>
                    <a:pt x="239" y="324"/>
                  </a:lnTo>
                  <a:lnTo>
                    <a:pt x="237" y="324"/>
                  </a:lnTo>
                  <a:lnTo>
                    <a:pt x="237" y="324"/>
                  </a:lnTo>
                  <a:lnTo>
                    <a:pt x="235" y="324"/>
                  </a:lnTo>
                  <a:lnTo>
                    <a:pt x="232" y="324"/>
                  </a:lnTo>
                  <a:lnTo>
                    <a:pt x="223" y="322"/>
                  </a:lnTo>
                  <a:lnTo>
                    <a:pt x="223" y="322"/>
                  </a:lnTo>
                  <a:lnTo>
                    <a:pt x="221" y="322"/>
                  </a:lnTo>
                  <a:lnTo>
                    <a:pt x="209" y="322"/>
                  </a:lnTo>
                  <a:lnTo>
                    <a:pt x="206" y="322"/>
                  </a:lnTo>
                  <a:lnTo>
                    <a:pt x="204" y="322"/>
                  </a:lnTo>
                  <a:lnTo>
                    <a:pt x="201" y="322"/>
                  </a:lnTo>
                  <a:lnTo>
                    <a:pt x="199" y="322"/>
                  </a:lnTo>
                  <a:lnTo>
                    <a:pt x="196" y="322"/>
                  </a:lnTo>
                  <a:lnTo>
                    <a:pt x="192" y="322"/>
                  </a:lnTo>
                  <a:lnTo>
                    <a:pt x="192" y="322"/>
                  </a:lnTo>
                  <a:lnTo>
                    <a:pt x="190" y="320"/>
                  </a:lnTo>
                  <a:lnTo>
                    <a:pt x="189" y="320"/>
                  </a:lnTo>
                  <a:lnTo>
                    <a:pt x="187" y="320"/>
                  </a:lnTo>
                  <a:lnTo>
                    <a:pt x="184" y="320"/>
                  </a:lnTo>
                  <a:lnTo>
                    <a:pt x="182" y="320"/>
                  </a:lnTo>
                  <a:lnTo>
                    <a:pt x="177" y="320"/>
                  </a:lnTo>
                  <a:lnTo>
                    <a:pt x="177" y="320"/>
                  </a:lnTo>
                  <a:lnTo>
                    <a:pt x="168" y="320"/>
                  </a:lnTo>
                  <a:lnTo>
                    <a:pt x="165" y="320"/>
                  </a:lnTo>
                  <a:lnTo>
                    <a:pt x="158" y="320"/>
                  </a:lnTo>
                  <a:lnTo>
                    <a:pt x="156" y="320"/>
                  </a:lnTo>
                  <a:lnTo>
                    <a:pt x="154" y="320"/>
                  </a:lnTo>
                  <a:lnTo>
                    <a:pt x="151" y="318"/>
                  </a:lnTo>
                  <a:lnTo>
                    <a:pt x="147" y="318"/>
                  </a:lnTo>
                  <a:lnTo>
                    <a:pt x="146" y="318"/>
                  </a:lnTo>
                  <a:lnTo>
                    <a:pt x="144" y="318"/>
                  </a:lnTo>
                  <a:lnTo>
                    <a:pt x="139" y="318"/>
                  </a:lnTo>
                  <a:lnTo>
                    <a:pt x="137" y="318"/>
                  </a:lnTo>
                  <a:lnTo>
                    <a:pt x="134" y="318"/>
                  </a:lnTo>
                  <a:lnTo>
                    <a:pt x="132" y="318"/>
                  </a:lnTo>
                  <a:lnTo>
                    <a:pt x="123" y="318"/>
                  </a:lnTo>
                  <a:lnTo>
                    <a:pt x="116" y="318"/>
                  </a:lnTo>
                  <a:lnTo>
                    <a:pt x="115" y="318"/>
                  </a:lnTo>
                  <a:lnTo>
                    <a:pt x="110" y="317"/>
                  </a:lnTo>
                  <a:lnTo>
                    <a:pt x="99" y="317"/>
                  </a:lnTo>
                  <a:lnTo>
                    <a:pt x="87" y="317"/>
                  </a:lnTo>
                  <a:lnTo>
                    <a:pt x="87" y="317"/>
                  </a:lnTo>
                  <a:lnTo>
                    <a:pt x="84" y="317"/>
                  </a:lnTo>
                  <a:lnTo>
                    <a:pt x="82" y="317"/>
                  </a:lnTo>
                  <a:lnTo>
                    <a:pt x="80" y="317"/>
                  </a:lnTo>
                  <a:lnTo>
                    <a:pt x="75" y="317"/>
                  </a:lnTo>
                  <a:lnTo>
                    <a:pt x="72" y="315"/>
                  </a:lnTo>
                  <a:lnTo>
                    <a:pt x="65" y="315"/>
                  </a:lnTo>
                  <a:lnTo>
                    <a:pt x="55" y="315"/>
                  </a:lnTo>
                  <a:lnTo>
                    <a:pt x="48" y="315"/>
                  </a:lnTo>
                  <a:lnTo>
                    <a:pt x="44" y="315"/>
                  </a:lnTo>
                  <a:lnTo>
                    <a:pt x="41" y="315"/>
                  </a:lnTo>
                  <a:lnTo>
                    <a:pt x="37" y="313"/>
                  </a:lnTo>
                  <a:lnTo>
                    <a:pt x="34" y="313"/>
                  </a:lnTo>
                  <a:lnTo>
                    <a:pt x="30" y="313"/>
                  </a:lnTo>
                  <a:lnTo>
                    <a:pt x="27" y="313"/>
                  </a:lnTo>
                  <a:lnTo>
                    <a:pt x="15" y="313"/>
                  </a:lnTo>
                  <a:lnTo>
                    <a:pt x="13" y="313"/>
                  </a:lnTo>
                  <a:lnTo>
                    <a:pt x="8" y="313"/>
                  </a:lnTo>
                  <a:lnTo>
                    <a:pt x="0" y="312"/>
                  </a:lnTo>
                  <a:lnTo>
                    <a:pt x="0" y="310"/>
                  </a:lnTo>
                  <a:lnTo>
                    <a:pt x="0" y="301"/>
                  </a:lnTo>
                  <a:lnTo>
                    <a:pt x="0" y="298"/>
                  </a:lnTo>
                  <a:lnTo>
                    <a:pt x="0" y="294"/>
                  </a:lnTo>
                  <a:lnTo>
                    <a:pt x="0" y="291"/>
                  </a:lnTo>
                  <a:lnTo>
                    <a:pt x="0" y="287"/>
                  </a:lnTo>
                  <a:lnTo>
                    <a:pt x="0" y="284"/>
                  </a:lnTo>
                  <a:lnTo>
                    <a:pt x="0" y="281"/>
                  </a:lnTo>
                  <a:lnTo>
                    <a:pt x="0" y="279"/>
                  </a:lnTo>
                  <a:lnTo>
                    <a:pt x="0" y="275"/>
                  </a:lnTo>
                  <a:lnTo>
                    <a:pt x="0" y="269"/>
                  </a:lnTo>
                  <a:lnTo>
                    <a:pt x="0" y="265"/>
                  </a:lnTo>
                  <a:lnTo>
                    <a:pt x="0" y="260"/>
                  </a:lnTo>
                  <a:lnTo>
                    <a:pt x="0" y="257"/>
                  </a:lnTo>
                  <a:lnTo>
                    <a:pt x="0" y="255"/>
                  </a:lnTo>
                  <a:lnTo>
                    <a:pt x="0" y="253"/>
                  </a:lnTo>
                  <a:lnTo>
                    <a:pt x="0" y="246"/>
                  </a:lnTo>
                  <a:lnTo>
                    <a:pt x="1" y="246"/>
                  </a:lnTo>
                  <a:lnTo>
                    <a:pt x="1" y="243"/>
                  </a:lnTo>
                  <a:lnTo>
                    <a:pt x="1" y="239"/>
                  </a:lnTo>
                  <a:lnTo>
                    <a:pt x="1" y="234"/>
                  </a:lnTo>
                  <a:lnTo>
                    <a:pt x="1" y="231"/>
                  </a:lnTo>
                  <a:lnTo>
                    <a:pt x="1" y="222"/>
                  </a:lnTo>
                  <a:lnTo>
                    <a:pt x="1" y="220"/>
                  </a:lnTo>
                  <a:lnTo>
                    <a:pt x="1" y="219"/>
                  </a:lnTo>
                  <a:lnTo>
                    <a:pt x="1" y="215"/>
                  </a:lnTo>
                  <a:lnTo>
                    <a:pt x="1" y="213"/>
                  </a:lnTo>
                  <a:lnTo>
                    <a:pt x="1" y="210"/>
                  </a:lnTo>
                  <a:lnTo>
                    <a:pt x="1" y="207"/>
                  </a:lnTo>
                  <a:lnTo>
                    <a:pt x="1" y="200"/>
                  </a:lnTo>
                  <a:lnTo>
                    <a:pt x="1" y="196"/>
                  </a:lnTo>
                  <a:lnTo>
                    <a:pt x="1" y="191"/>
                  </a:lnTo>
                  <a:lnTo>
                    <a:pt x="3" y="189"/>
                  </a:lnTo>
                  <a:lnTo>
                    <a:pt x="3" y="188"/>
                  </a:lnTo>
                  <a:lnTo>
                    <a:pt x="3" y="186"/>
                  </a:lnTo>
                  <a:lnTo>
                    <a:pt x="3" y="172"/>
                  </a:lnTo>
                  <a:lnTo>
                    <a:pt x="3" y="169"/>
                  </a:lnTo>
                  <a:lnTo>
                    <a:pt x="3" y="167"/>
                  </a:lnTo>
                  <a:lnTo>
                    <a:pt x="3" y="165"/>
                  </a:lnTo>
                  <a:lnTo>
                    <a:pt x="3" y="164"/>
                  </a:lnTo>
                  <a:lnTo>
                    <a:pt x="3" y="160"/>
                  </a:lnTo>
                  <a:lnTo>
                    <a:pt x="3" y="157"/>
                  </a:lnTo>
                  <a:lnTo>
                    <a:pt x="3" y="152"/>
                  </a:lnTo>
                  <a:lnTo>
                    <a:pt x="3" y="145"/>
                  </a:lnTo>
                  <a:lnTo>
                    <a:pt x="3" y="143"/>
                  </a:lnTo>
                  <a:lnTo>
                    <a:pt x="3" y="141"/>
                  </a:lnTo>
                  <a:lnTo>
                    <a:pt x="5" y="134"/>
                  </a:lnTo>
                  <a:lnTo>
                    <a:pt x="5" y="133"/>
                  </a:lnTo>
                  <a:lnTo>
                    <a:pt x="5" y="129"/>
                  </a:lnTo>
                  <a:lnTo>
                    <a:pt x="5" y="122"/>
                  </a:lnTo>
                  <a:lnTo>
                    <a:pt x="5" y="119"/>
                  </a:lnTo>
                  <a:lnTo>
                    <a:pt x="5" y="112"/>
                  </a:lnTo>
                  <a:lnTo>
                    <a:pt x="5" y="98"/>
                  </a:lnTo>
                  <a:lnTo>
                    <a:pt x="5" y="97"/>
                  </a:lnTo>
                  <a:lnTo>
                    <a:pt x="5" y="95"/>
                  </a:lnTo>
                  <a:lnTo>
                    <a:pt x="5" y="93"/>
                  </a:lnTo>
                  <a:lnTo>
                    <a:pt x="5" y="90"/>
                  </a:lnTo>
                  <a:lnTo>
                    <a:pt x="6" y="86"/>
                  </a:lnTo>
                  <a:lnTo>
                    <a:pt x="6" y="84"/>
                  </a:lnTo>
                  <a:lnTo>
                    <a:pt x="6" y="83"/>
                  </a:lnTo>
                  <a:lnTo>
                    <a:pt x="6" y="74"/>
                  </a:lnTo>
                  <a:lnTo>
                    <a:pt x="6" y="72"/>
                  </a:lnTo>
                  <a:lnTo>
                    <a:pt x="6" y="69"/>
                  </a:lnTo>
                  <a:lnTo>
                    <a:pt x="6" y="67"/>
                  </a:lnTo>
                  <a:lnTo>
                    <a:pt x="6" y="66"/>
                  </a:lnTo>
                  <a:lnTo>
                    <a:pt x="6" y="64"/>
                  </a:lnTo>
                  <a:lnTo>
                    <a:pt x="6" y="62"/>
                  </a:lnTo>
                  <a:lnTo>
                    <a:pt x="6" y="57"/>
                  </a:lnTo>
                  <a:lnTo>
                    <a:pt x="6" y="55"/>
                  </a:lnTo>
                  <a:lnTo>
                    <a:pt x="6" y="54"/>
                  </a:lnTo>
                  <a:lnTo>
                    <a:pt x="6" y="54"/>
                  </a:lnTo>
                  <a:lnTo>
                    <a:pt x="6" y="47"/>
                  </a:lnTo>
                  <a:lnTo>
                    <a:pt x="6" y="40"/>
                  </a:lnTo>
                  <a:lnTo>
                    <a:pt x="6" y="38"/>
                  </a:lnTo>
                  <a:lnTo>
                    <a:pt x="6" y="38"/>
                  </a:lnTo>
                  <a:lnTo>
                    <a:pt x="6" y="36"/>
                  </a:lnTo>
                  <a:lnTo>
                    <a:pt x="6" y="35"/>
                  </a:lnTo>
                  <a:lnTo>
                    <a:pt x="6" y="33"/>
                  </a:lnTo>
                  <a:lnTo>
                    <a:pt x="6" y="29"/>
                  </a:lnTo>
                  <a:lnTo>
                    <a:pt x="6" y="28"/>
                  </a:lnTo>
                  <a:lnTo>
                    <a:pt x="8" y="23"/>
                  </a:lnTo>
                  <a:lnTo>
                    <a:pt x="6" y="23"/>
                  </a:lnTo>
                  <a:lnTo>
                    <a:pt x="8" y="19"/>
                  </a:lnTo>
                  <a:lnTo>
                    <a:pt x="8" y="12"/>
                  </a:lnTo>
                  <a:lnTo>
                    <a:pt x="8" y="10"/>
                  </a:lnTo>
                  <a:lnTo>
                    <a:pt x="8" y="9"/>
                  </a:lnTo>
                  <a:lnTo>
                    <a:pt x="8" y="4"/>
                  </a:lnTo>
                  <a:lnTo>
                    <a:pt x="8"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8" name="Freeform 213"/>
            <p:cNvSpPr>
              <a:spLocks/>
            </p:cNvSpPr>
            <p:nvPr/>
          </p:nvSpPr>
          <p:spPr bwMode="auto">
            <a:xfrm>
              <a:off x="5266621" y="4200319"/>
              <a:ext cx="592138" cy="514350"/>
            </a:xfrm>
            <a:custGeom>
              <a:avLst/>
              <a:gdLst/>
              <a:ahLst/>
              <a:cxnLst>
                <a:cxn ang="0">
                  <a:pos x="24" y="0"/>
                </a:cxn>
                <a:cxn ang="0">
                  <a:pos x="53" y="0"/>
                </a:cxn>
                <a:cxn ang="0">
                  <a:pos x="88" y="0"/>
                </a:cxn>
                <a:cxn ang="0">
                  <a:pos x="115" y="2"/>
                </a:cxn>
                <a:cxn ang="0">
                  <a:pos x="146" y="4"/>
                </a:cxn>
                <a:cxn ang="0">
                  <a:pos x="148" y="12"/>
                </a:cxn>
                <a:cxn ang="0">
                  <a:pos x="149" y="21"/>
                </a:cxn>
                <a:cxn ang="0">
                  <a:pos x="155" y="29"/>
                </a:cxn>
                <a:cxn ang="0">
                  <a:pos x="158" y="38"/>
                </a:cxn>
                <a:cxn ang="0">
                  <a:pos x="160" y="43"/>
                </a:cxn>
                <a:cxn ang="0">
                  <a:pos x="167" y="50"/>
                </a:cxn>
                <a:cxn ang="0">
                  <a:pos x="175" y="53"/>
                </a:cxn>
                <a:cxn ang="0">
                  <a:pos x="179" y="59"/>
                </a:cxn>
                <a:cxn ang="0">
                  <a:pos x="180" y="67"/>
                </a:cxn>
                <a:cxn ang="0">
                  <a:pos x="189" y="71"/>
                </a:cxn>
                <a:cxn ang="0">
                  <a:pos x="198" y="65"/>
                </a:cxn>
                <a:cxn ang="0">
                  <a:pos x="208" y="64"/>
                </a:cxn>
                <a:cxn ang="0">
                  <a:pos x="215" y="57"/>
                </a:cxn>
                <a:cxn ang="0">
                  <a:pos x="220" y="52"/>
                </a:cxn>
                <a:cxn ang="0">
                  <a:pos x="232" y="50"/>
                </a:cxn>
                <a:cxn ang="0">
                  <a:pos x="241" y="53"/>
                </a:cxn>
                <a:cxn ang="0">
                  <a:pos x="249" y="52"/>
                </a:cxn>
                <a:cxn ang="0">
                  <a:pos x="254" y="40"/>
                </a:cxn>
                <a:cxn ang="0">
                  <a:pos x="263" y="33"/>
                </a:cxn>
                <a:cxn ang="0">
                  <a:pos x="272" y="26"/>
                </a:cxn>
                <a:cxn ang="0">
                  <a:pos x="275" y="40"/>
                </a:cxn>
                <a:cxn ang="0">
                  <a:pos x="273" y="71"/>
                </a:cxn>
                <a:cxn ang="0">
                  <a:pos x="273" y="102"/>
                </a:cxn>
                <a:cxn ang="0">
                  <a:pos x="273" y="131"/>
                </a:cxn>
                <a:cxn ang="0">
                  <a:pos x="299" y="150"/>
                </a:cxn>
                <a:cxn ang="0">
                  <a:pos x="337" y="169"/>
                </a:cxn>
                <a:cxn ang="0">
                  <a:pos x="368" y="186"/>
                </a:cxn>
                <a:cxn ang="0">
                  <a:pos x="373" y="201"/>
                </a:cxn>
                <a:cxn ang="0">
                  <a:pos x="373" y="241"/>
                </a:cxn>
                <a:cxn ang="0">
                  <a:pos x="373" y="274"/>
                </a:cxn>
                <a:cxn ang="0">
                  <a:pos x="371" y="301"/>
                </a:cxn>
                <a:cxn ang="0">
                  <a:pos x="363" y="324"/>
                </a:cxn>
                <a:cxn ang="0">
                  <a:pos x="330" y="324"/>
                </a:cxn>
                <a:cxn ang="0">
                  <a:pos x="296" y="324"/>
                </a:cxn>
                <a:cxn ang="0">
                  <a:pos x="251" y="322"/>
                </a:cxn>
                <a:cxn ang="0">
                  <a:pos x="217" y="322"/>
                </a:cxn>
                <a:cxn ang="0">
                  <a:pos x="192" y="320"/>
                </a:cxn>
                <a:cxn ang="0">
                  <a:pos x="170" y="320"/>
                </a:cxn>
                <a:cxn ang="0">
                  <a:pos x="151" y="318"/>
                </a:cxn>
                <a:cxn ang="0">
                  <a:pos x="113" y="318"/>
                </a:cxn>
                <a:cxn ang="0">
                  <a:pos x="75" y="317"/>
                </a:cxn>
                <a:cxn ang="0">
                  <a:pos x="46" y="317"/>
                </a:cxn>
                <a:cxn ang="0">
                  <a:pos x="20" y="317"/>
                </a:cxn>
                <a:cxn ang="0">
                  <a:pos x="5" y="306"/>
                </a:cxn>
                <a:cxn ang="0">
                  <a:pos x="5" y="274"/>
                </a:cxn>
                <a:cxn ang="0">
                  <a:pos x="7" y="246"/>
                </a:cxn>
                <a:cxn ang="0">
                  <a:pos x="7" y="224"/>
                </a:cxn>
                <a:cxn ang="0">
                  <a:pos x="7" y="203"/>
                </a:cxn>
                <a:cxn ang="0">
                  <a:pos x="8" y="176"/>
                </a:cxn>
                <a:cxn ang="0">
                  <a:pos x="8" y="134"/>
                </a:cxn>
                <a:cxn ang="0">
                  <a:pos x="0" y="124"/>
                </a:cxn>
                <a:cxn ang="0">
                  <a:pos x="2" y="102"/>
                </a:cxn>
                <a:cxn ang="0">
                  <a:pos x="2" y="71"/>
                </a:cxn>
                <a:cxn ang="0">
                  <a:pos x="2" y="53"/>
                </a:cxn>
                <a:cxn ang="0">
                  <a:pos x="2" y="21"/>
                </a:cxn>
              </a:cxnLst>
              <a:rect l="0" t="0" r="r" b="b"/>
              <a:pathLst>
                <a:path w="373" h="324">
                  <a:moveTo>
                    <a:pt x="3" y="0"/>
                  </a:moveTo>
                  <a:lnTo>
                    <a:pt x="7" y="0"/>
                  </a:lnTo>
                  <a:lnTo>
                    <a:pt x="8" y="0"/>
                  </a:lnTo>
                  <a:lnTo>
                    <a:pt x="8" y="0"/>
                  </a:lnTo>
                  <a:lnTo>
                    <a:pt x="15" y="0"/>
                  </a:lnTo>
                  <a:lnTo>
                    <a:pt x="19" y="0"/>
                  </a:lnTo>
                  <a:lnTo>
                    <a:pt x="20" y="0"/>
                  </a:lnTo>
                  <a:lnTo>
                    <a:pt x="24" y="0"/>
                  </a:lnTo>
                  <a:lnTo>
                    <a:pt x="27" y="0"/>
                  </a:lnTo>
                  <a:lnTo>
                    <a:pt x="29" y="0"/>
                  </a:lnTo>
                  <a:lnTo>
                    <a:pt x="31" y="0"/>
                  </a:lnTo>
                  <a:lnTo>
                    <a:pt x="36" y="0"/>
                  </a:lnTo>
                  <a:lnTo>
                    <a:pt x="43" y="0"/>
                  </a:lnTo>
                  <a:lnTo>
                    <a:pt x="46" y="0"/>
                  </a:lnTo>
                  <a:lnTo>
                    <a:pt x="48" y="0"/>
                  </a:lnTo>
                  <a:lnTo>
                    <a:pt x="53" y="0"/>
                  </a:lnTo>
                  <a:lnTo>
                    <a:pt x="55" y="0"/>
                  </a:lnTo>
                  <a:lnTo>
                    <a:pt x="55" y="0"/>
                  </a:lnTo>
                  <a:lnTo>
                    <a:pt x="57" y="0"/>
                  </a:lnTo>
                  <a:lnTo>
                    <a:pt x="62" y="0"/>
                  </a:lnTo>
                  <a:lnTo>
                    <a:pt x="63" y="0"/>
                  </a:lnTo>
                  <a:lnTo>
                    <a:pt x="67" y="0"/>
                  </a:lnTo>
                  <a:lnTo>
                    <a:pt x="69" y="0"/>
                  </a:lnTo>
                  <a:lnTo>
                    <a:pt x="88" y="0"/>
                  </a:lnTo>
                  <a:lnTo>
                    <a:pt x="91" y="0"/>
                  </a:lnTo>
                  <a:lnTo>
                    <a:pt x="94" y="0"/>
                  </a:lnTo>
                  <a:lnTo>
                    <a:pt x="96" y="0"/>
                  </a:lnTo>
                  <a:lnTo>
                    <a:pt x="100" y="0"/>
                  </a:lnTo>
                  <a:lnTo>
                    <a:pt x="100" y="0"/>
                  </a:lnTo>
                  <a:lnTo>
                    <a:pt x="101" y="0"/>
                  </a:lnTo>
                  <a:lnTo>
                    <a:pt x="105" y="0"/>
                  </a:lnTo>
                  <a:lnTo>
                    <a:pt x="115" y="2"/>
                  </a:lnTo>
                  <a:lnTo>
                    <a:pt x="122" y="2"/>
                  </a:lnTo>
                  <a:lnTo>
                    <a:pt x="125" y="2"/>
                  </a:lnTo>
                  <a:lnTo>
                    <a:pt x="139" y="2"/>
                  </a:lnTo>
                  <a:lnTo>
                    <a:pt x="141" y="2"/>
                  </a:lnTo>
                  <a:lnTo>
                    <a:pt x="144" y="2"/>
                  </a:lnTo>
                  <a:lnTo>
                    <a:pt x="144" y="2"/>
                  </a:lnTo>
                  <a:lnTo>
                    <a:pt x="144" y="4"/>
                  </a:lnTo>
                  <a:lnTo>
                    <a:pt x="146" y="4"/>
                  </a:lnTo>
                  <a:lnTo>
                    <a:pt x="146" y="5"/>
                  </a:lnTo>
                  <a:lnTo>
                    <a:pt x="146" y="7"/>
                  </a:lnTo>
                  <a:lnTo>
                    <a:pt x="144" y="7"/>
                  </a:lnTo>
                  <a:lnTo>
                    <a:pt x="146" y="7"/>
                  </a:lnTo>
                  <a:lnTo>
                    <a:pt x="146" y="9"/>
                  </a:lnTo>
                  <a:lnTo>
                    <a:pt x="146" y="10"/>
                  </a:lnTo>
                  <a:lnTo>
                    <a:pt x="148" y="10"/>
                  </a:lnTo>
                  <a:lnTo>
                    <a:pt x="148" y="12"/>
                  </a:lnTo>
                  <a:lnTo>
                    <a:pt x="148" y="14"/>
                  </a:lnTo>
                  <a:lnTo>
                    <a:pt x="146" y="14"/>
                  </a:lnTo>
                  <a:lnTo>
                    <a:pt x="146" y="16"/>
                  </a:lnTo>
                  <a:lnTo>
                    <a:pt x="146" y="17"/>
                  </a:lnTo>
                  <a:lnTo>
                    <a:pt x="148" y="17"/>
                  </a:lnTo>
                  <a:lnTo>
                    <a:pt x="149" y="17"/>
                  </a:lnTo>
                  <a:lnTo>
                    <a:pt x="149" y="19"/>
                  </a:lnTo>
                  <a:lnTo>
                    <a:pt x="149" y="21"/>
                  </a:lnTo>
                  <a:lnTo>
                    <a:pt x="149" y="22"/>
                  </a:lnTo>
                  <a:lnTo>
                    <a:pt x="149" y="22"/>
                  </a:lnTo>
                  <a:lnTo>
                    <a:pt x="149" y="24"/>
                  </a:lnTo>
                  <a:lnTo>
                    <a:pt x="151" y="24"/>
                  </a:lnTo>
                  <a:lnTo>
                    <a:pt x="151" y="26"/>
                  </a:lnTo>
                  <a:lnTo>
                    <a:pt x="153" y="28"/>
                  </a:lnTo>
                  <a:lnTo>
                    <a:pt x="153" y="29"/>
                  </a:lnTo>
                  <a:lnTo>
                    <a:pt x="155" y="29"/>
                  </a:lnTo>
                  <a:lnTo>
                    <a:pt x="156" y="31"/>
                  </a:lnTo>
                  <a:lnTo>
                    <a:pt x="158" y="31"/>
                  </a:lnTo>
                  <a:lnTo>
                    <a:pt x="158" y="33"/>
                  </a:lnTo>
                  <a:lnTo>
                    <a:pt x="160" y="33"/>
                  </a:lnTo>
                  <a:lnTo>
                    <a:pt x="160" y="34"/>
                  </a:lnTo>
                  <a:lnTo>
                    <a:pt x="158" y="34"/>
                  </a:lnTo>
                  <a:lnTo>
                    <a:pt x="158" y="36"/>
                  </a:lnTo>
                  <a:lnTo>
                    <a:pt x="158" y="38"/>
                  </a:lnTo>
                  <a:lnTo>
                    <a:pt x="160" y="38"/>
                  </a:lnTo>
                  <a:lnTo>
                    <a:pt x="160" y="38"/>
                  </a:lnTo>
                  <a:lnTo>
                    <a:pt x="158" y="38"/>
                  </a:lnTo>
                  <a:lnTo>
                    <a:pt x="158" y="40"/>
                  </a:lnTo>
                  <a:lnTo>
                    <a:pt x="158" y="41"/>
                  </a:lnTo>
                  <a:lnTo>
                    <a:pt x="160" y="41"/>
                  </a:lnTo>
                  <a:lnTo>
                    <a:pt x="160" y="41"/>
                  </a:lnTo>
                  <a:lnTo>
                    <a:pt x="160" y="43"/>
                  </a:lnTo>
                  <a:lnTo>
                    <a:pt x="160" y="45"/>
                  </a:lnTo>
                  <a:lnTo>
                    <a:pt x="162" y="45"/>
                  </a:lnTo>
                  <a:lnTo>
                    <a:pt x="163" y="45"/>
                  </a:lnTo>
                  <a:lnTo>
                    <a:pt x="165" y="45"/>
                  </a:lnTo>
                  <a:lnTo>
                    <a:pt x="165" y="47"/>
                  </a:lnTo>
                  <a:lnTo>
                    <a:pt x="165" y="48"/>
                  </a:lnTo>
                  <a:lnTo>
                    <a:pt x="167" y="48"/>
                  </a:lnTo>
                  <a:lnTo>
                    <a:pt x="167" y="50"/>
                  </a:lnTo>
                  <a:lnTo>
                    <a:pt x="167" y="52"/>
                  </a:lnTo>
                  <a:lnTo>
                    <a:pt x="168" y="52"/>
                  </a:lnTo>
                  <a:lnTo>
                    <a:pt x="170" y="52"/>
                  </a:lnTo>
                  <a:lnTo>
                    <a:pt x="170" y="53"/>
                  </a:lnTo>
                  <a:lnTo>
                    <a:pt x="172" y="53"/>
                  </a:lnTo>
                  <a:lnTo>
                    <a:pt x="172" y="53"/>
                  </a:lnTo>
                  <a:lnTo>
                    <a:pt x="174" y="53"/>
                  </a:lnTo>
                  <a:lnTo>
                    <a:pt x="175" y="53"/>
                  </a:lnTo>
                  <a:lnTo>
                    <a:pt x="175" y="53"/>
                  </a:lnTo>
                  <a:lnTo>
                    <a:pt x="175" y="55"/>
                  </a:lnTo>
                  <a:lnTo>
                    <a:pt x="175" y="57"/>
                  </a:lnTo>
                  <a:lnTo>
                    <a:pt x="177" y="57"/>
                  </a:lnTo>
                  <a:lnTo>
                    <a:pt x="177" y="59"/>
                  </a:lnTo>
                  <a:lnTo>
                    <a:pt x="177" y="60"/>
                  </a:lnTo>
                  <a:lnTo>
                    <a:pt x="177" y="59"/>
                  </a:lnTo>
                  <a:lnTo>
                    <a:pt x="179" y="59"/>
                  </a:lnTo>
                  <a:lnTo>
                    <a:pt x="179" y="60"/>
                  </a:lnTo>
                  <a:lnTo>
                    <a:pt x="177" y="60"/>
                  </a:lnTo>
                  <a:lnTo>
                    <a:pt x="179" y="62"/>
                  </a:lnTo>
                  <a:lnTo>
                    <a:pt x="180" y="62"/>
                  </a:lnTo>
                  <a:lnTo>
                    <a:pt x="180" y="64"/>
                  </a:lnTo>
                  <a:lnTo>
                    <a:pt x="179" y="64"/>
                  </a:lnTo>
                  <a:lnTo>
                    <a:pt x="179" y="65"/>
                  </a:lnTo>
                  <a:lnTo>
                    <a:pt x="180" y="67"/>
                  </a:lnTo>
                  <a:lnTo>
                    <a:pt x="179" y="67"/>
                  </a:lnTo>
                  <a:lnTo>
                    <a:pt x="180" y="67"/>
                  </a:lnTo>
                  <a:lnTo>
                    <a:pt x="182" y="69"/>
                  </a:lnTo>
                  <a:lnTo>
                    <a:pt x="184" y="69"/>
                  </a:lnTo>
                  <a:lnTo>
                    <a:pt x="186" y="69"/>
                  </a:lnTo>
                  <a:lnTo>
                    <a:pt x="186" y="71"/>
                  </a:lnTo>
                  <a:lnTo>
                    <a:pt x="187" y="71"/>
                  </a:lnTo>
                  <a:lnTo>
                    <a:pt x="189" y="71"/>
                  </a:lnTo>
                  <a:lnTo>
                    <a:pt x="189" y="71"/>
                  </a:lnTo>
                  <a:lnTo>
                    <a:pt x="189" y="72"/>
                  </a:lnTo>
                  <a:lnTo>
                    <a:pt x="194" y="71"/>
                  </a:lnTo>
                  <a:lnTo>
                    <a:pt x="196" y="69"/>
                  </a:lnTo>
                  <a:lnTo>
                    <a:pt x="196" y="67"/>
                  </a:lnTo>
                  <a:lnTo>
                    <a:pt x="198" y="67"/>
                  </a:lnTo>
                  <a:lnTo>
                    <a:pt x="198" y="67"/>
                  </a:lnTo>
                  <a:lnTo>
                    <a:pt x="198" y="65"/>
                  </a:lnTo>
                  <a:lnTo>
                    <a:pt x="199" y="65"/>
                  </a:lnTo>
                  <a:lnTo>
                    <a:pt x="199" y="64"/>
                  </a:lnTo>
                  <a:lnTo>
                    <a:pt x="201" y="64"/>
                  </a:lnTo>
                  <a:lnTo>
                    <a:pt x="205" y="64"/>
                  </a:lnTo>
                  <a:lnTo>
                    <a:pt x="205" y="62"/>
                  </a:lnTo>
                  <a:lnTo>
                    <a:pt x="206" y="62"/>
                  </a:lnTo>
                  <a:lnTo>
                    <a:pt x="208" y="62"/>
                  </a:lnTo>
                  <a:lnTo>
                    <a:pt x="208" y="64"/>
                  </a:lnTo>
                  <a:lnTo>
                    <a:pt x="210" y="64"/>
                  </a:lnTo>
                  <a:lnTo>
                    <a:pt x="211" y="64"/>
                  </a:lnTo>
                  <a:lnTo>
                    <a:pt x="211" y="62"/>
                  </a:lnTo>
                  <a:lnTo>
                    <a:pt x="213" y="62"/>
                  </a:lnTo>
                  <a:lnTo>
                    <a:pt x="213" y="60"/>
                  </a:lnTo>
                  <a:lnTo>
                    <a:pt x="213" y="59"/>
                  </a:lnTo>
                  <a:lnTo>
                    <a:pt x="215" y="59"/>
                  </a:lnTo>
                  <a:lnTo>
                    <a:pt x="215" y="57"/>
                  </a:lnTo>
                  <a:lnTo>
                    <a:pt x="215" y="55"/>
                  </a:lnTo>
                  <a:lnTo>
                    <a:pt x="217" y="55"/>
                  </a:lnTo>
                  <a:lnTo>
                    <a:pt x="217" y="53"/>
                  </a:lnTo>
                  <a:lnTo>
                    <a:pt x="217" y="53"/>
                  </a:lnTo>
                  <a:lnTo>
                    <a:pt x="218" y="53"/>
                  </a:lnTo>
                  <a:lnTo>
                    <a:pt x="218" y="52"/>
                  </a:lnTo>
                  <a:lnTo>
                    <a:pt x="220" y="52"/>
                  </a:lnTo>
                  <a:lnTo>
                    <a:pt x="220" y="52"/>
                  </a:lnTo>
                  <a:lnTo>
                    <a:pt x="222" y="52"/>
                  </a:lnTo>
                  <a:lnTo>
                    <a:pt x="222" y="50"/>
                  </a:lnTo>
                  <a:lnTo>
                    <a:pt x="223" y="50"/>
                  </a:lnTo>
                  <a:lnTo>
                    <a:pt x="225" y="50"/>
                  </a:lnTo>
                  <a:lnTo>
                    <a:pt x="227" y="50"/>
                  </a:lnTo>
                  <a:lnTo>
                    <a:pt x="229" y="50"/>
                  </a:lnTo>
                  <a:lnTo>
                    <a:pt x="230" y="50"/>
                  </a:lnTo>
                  <a:lnTo>
                    <a:pt x="232" y="50"/>
                  </a:lnTo>
                  <a:lnTo>
                    <a:pt x="234" y="50"/>
                  </a:lnTo>
                  <a:lnTo>
                    <a:pt x="235" y="50"/>
                  </a:lnTo>
                  <a:lnTo>
                    <a:pt x="235" y="52"/>
                  </a:lnTo>
                  <a:lnTo>
                    <a:pt x="235" y="52"/>
                  </a:lnTo>
                  <a:lnTo>
                    <a:pt x="237" y="52"/>
                  </a:lnTo>
                  <a:lnTo>
                    <a:pt x="239" y="52"/>
                  </a:lnTo>
                  <a:lnTo>
                    <a:pt x="241" y="52"/>
                  </a:lnTo>
                  <a:lnTo>
                    <a:pt x="241" y="53"/>
                  </a:lnTo>
                  <a:lnTo>
                    <a:pt x="242" y="53"/>
                  </a:lnTo>
                  <a:lnTo>
                    <a:pt x="244" y="53"/>
                  </a:lnTo>
                  <a:lnTo>
                    <a:pt x="246" y="53"/>
                  </a:lnTo>
                  <a:lnTo>
                    <a:pt x="248" y="53"/>
                  </a:lnTo>
                  <a:lnTo>
                    <a:pt x="248" y="53"/>
                  </a:lnTo>
                  <a:lnTo>
                    <a:pt x="249" y="53"/>
                  </a:lnTo>
                  <a:lnTo>
                    <a:pt x="249" y="53"/>
                  </a:lnTo>
                  <a:lnTo>
                    <a:pt x="249" y="52"/>
                  </a:lnTo>
                  <a:lnTo>
                    <a:pt x="249" y="50"/>
                  </a:lnTo>
                  <a:lnTo>
                    <a:pt x="249" y="48"/>
                  </a:lnTo>
                  <a:lnTo>
                    <a:pt x="249" y="48"/>
                  </a:lnTo>
                  <a:lnTo>
                    <a:pt x="249" y="47"/>
                  </a:lnTo>
                  <a:lnTo>
                    <a:pt x="249" y="45"/>
                  </a:lnTo>
                  <a:lnTo>
                    <a:pt x="251" y="43"/>
                  </a:lnTo>
                  <a:lnTo>
                    <a:pt x="254" y="41"/>
                  </a:lnTo>
                  <a:lnTo>
                    <a:pt x="254" y="40"/>
                  </a:lnTo>
                  <a:lnTo>
                    <a:pt x="256" y="38"/>
                  </a:lnTo>
                  <a:lnTo>
                    <a:pt x="256" y="38"/>
                  </a:lnTo>
                  <a:lnTo>
                    <a:pt x="258" y="38"/>
                  </a:lnTo>
                  <a:lnTo>
                    <a:pt x="260" y="38"/>
                  </a:lnTo>
                  <a:lnTo>
                    <a:pt x="260" y="36"/>
                  </a:lnTo>
                  <a:lnTo>
                    <a:pt x="261" y="34"/>
                  </a:lnTo>
                  <a:lnTo>
                    <a:pt x="263" y="34"/>
                  </a:lnTo>
                  <a:lnTo>
                    <a:pt x="263" y="33"/>
                  </a:lnTo>
                  <a:lnTo>
                    <a:pt x="265" y="33"/>
                  </a:lnTo>
                  <a:lnTo>
                    <a:pt x="265" y="31"/>
                  </a:lnTo>
                  <a:lnTo>
                    <a:pt x="265" y="29"/>
                  </a:lnTo>
                  <a:lnTo>
                    <a:pt x="265" y="28"/>
                  </a:lnTo>
                  <a:lnTo>
                    <a:pt x="266" y="26"/>
                  </a:lnTo>
                  <a:lnTo>
                    <a:pt x="268" y="26"/>
                  </a:lnTo>
                  <a:lnTo>
                    <a:pt x="270" y="26"/>
                  </a:lnTo>
                  <a:lnTo>
                    <a:pt x="272" y="26"/>
                  </a:lnTo>
                  <a:lnTo>
                    <a:pt x="273" y="26"/>
                  </a:lnTo>
                  <a:lnTo>
                    <a:pt x="275" y="26"/>
                  </a:lnTo>
                  <a:lnTo>
                    <a:pt x="275" y="28"/>
                  </a:lnTo>
                  <a:lnTo>
                    <a:pt x="275" y="34"/>
                  </a:lnTo>
                  <a:lnTo>
                    <a:pt x="275" y="36"/>
                  </a:lnTo>
                  <a:lnTo>
                    <a:pt x="275" y="38"/>
                  </a:lnTo>
                  <a:lnTo>
                    <a:pt x="275" y="38"/>
                  </a:lnTo>
                  <a:lnTo>
                    <a:pt x="275" y="40"/>
                  </a:lnTo>
                  <a:lnTo>
                    <a:pt x="275" y="43"/>
                  </a:lnTo>
                  <a:lnTo>
                    <a:pt x="273" y="48"/>
                  </a:lnTo>
                  <a:lnTo>
                    <a:pt x="273" y="52"/>
                  </a:lnTo>
                  <a:lnTo>
                    <a:pt x="273" y="53"/>
                  </a:lnTo>
                  <a:lnTo>
                    <a:pt x="273" y="62"/>
                  </a:lnTo>
                  <a:lnTo>
                    <a:pt x="273" y="67"/>
                  </a:lnTo>
                  <a:lnTo>
                    <a:pt x="273" y="69"/>
                  </a:lnTo>
                  <a:lnTo>
                    <a:pt x="273" y="71"/>
                  </a:lnTo>
                  <a:lnTo>
                    <a:pt x="273" y="74"/>
                  </a:lnTo>
                  <a:lnTo>
                    <a:pt x="273" y="76"/>
                  </a:lnTo>
                  <a:lnTo>
                    <a:pt x="273" y="83"/>
                  </a:lnTo>
                  <a:lnTo>
                    <a:pt x="273" y="84"/>
                  </a:lnTo>
                  <a:lnTo>
                    <a:pt x="273" y="96"/>
                  </a:lnTo>
                  <a:lnTo>
                    <a:pt x="273" y="98"/>
                  </a:lnTo>
                  <a:lnTo>
                    <a:pt x="273" y="98"/>
                  </a:lnTo>
                  <a:lnTo>
                    <a:pt x="273" y="102"/>
                  </a:lnTo>
                  <a:lnTo>
                    <a:pt x="273" y="105"/>
                  </a:lnTo>
                  <a:lnTo>
                    <a:pt x="273" y="107"/>
                  </a:lnTo>
                  <a:lnTo>
                    <a:pt x="273" y="110"/>
                  </a:lnTo>
                  <a:lnTo>
                    <a:pt x="273" y="119"/>
                  </a:lnTo>
                  <a:lnTo>
                    <a:pt x="273" y="122"/>
                  </a:lnTo>
                  <a:lnTo>
                    <a:pt x="273" y="127"/>
                  </a:lnTo>
                  <a:lnTo>
                    <a:pt x="273" y="129"/>
                  </a:lnTo>
                  <a:lnTo>
                    <a:pt x="273" y="131"/>
                  </a:lnTo>
                  <a:lnTo>
                    <a:pt x="272" y="138"/>
                  </a:lnTo>
                  <a:lnTo>
                    <a:pt x="273" y="138"/>
                  </a:lnTo>
                  <a:lnTo>
                    <a:pt x="280" y="143"/>
                  </a:lnTo>
                  <a:lnTo>
                    <a:pt x="285" y="143"/>
                  </a:lnTo>
                  <a:lnTo>
                    <a:pt x="287" y="143"/>
                  </a:lnTo>
                  <a:lnTo>
                    <a:pt x="291" y="146"/>
                  </a:lnTo>
                  <a:lnTo>
                    <a:pt x="296" y="148"/>
                  </a:lnTo>
                  <a:lnTo>
                    <a:pt x="299" y="150"/>
                  </a:lnTo>
                  <a:lnTo>
                    <a:pt x="299" y="151"/>
                  </a:lnTo>
                  <a:lnTo>
                    <a:pt x="304" y="153"/>
                  </a:lnTo>
                  <a:lnTo>
                    <a:pt x="306" y="155"/>
                  </a:lnTo>
                  <a:lnTo>
                    <a:pt x="316" y="158"/>
                  </a:lnTo>
                  <a:lnTo>
                    <a:pt x="325" y="164"/>
                  </a:lnTo>
                  <a:lnTo>
                    <a:pt x="327" y="165"/>
                  </a:lnTo>
                  <a:lnTo>
                    <a:pt x="335" y="169"/>
                  </a:lnTo>
                  <a:lnTo>
                    <a:pt x="337" y="169"/>
                  </a:lnTo>
                  <a:lnTo>
                    <a:pt x="340" y="172"/>
                  </a:lnTo>
                  <a:lnTo>
                    <a:pt x="340" y="172"/>
                  </a:lnTo>
                  <a:lnTo>
                    <a:pt x="342" y="172"/>
                  </a:lnTo>
                  <a:lnTo>
                    <a:pt x="342" y="174"/>
                  </a:lnTo>
                  <a:lnTo>
                    <a:pt x="344" y="174"/>
                  </a:lnTo>
                  <a:lnTo>
                    <a:pt x="346" y="174"/>
                  </a:lnTo>
                  <a:lnTo>
                    <a:pt x="354" y="177"/>
                  </a:lnTo>
                  <a:lnTo>
                    <a:pt x="368" y="186"/>
                  </a:lnTo>
                  <a:lnTo>
                    <a:pt x="370" y="186"/>
                  </a:lnTo>
                  <a:lnTo>
                    <a:pt x="371" y="188"/>
                  </a:lnTo>
                  <a:lnTo>
                    <a:pt x="373" y="188"/>
                  </a:lnTo>
                  <a:lnTo>
                    <a:pt x="373" y="189"/>
                  </a:lnTo>
                  <a:lnTo>
                    <a:pt x="373" y="191"/>
                  </a:lnTo>
                  <a:lnTo>
                    <a:pt x="373" y="194"/>
                  </a:lnTo>
                  <a:lnTo>
                    <a:pt x="373" y="198"/>
                  </a:lnTo>
                  <a:lnTo>
                    <a:pt x="373" y="201"/>
                  </a:lnTo>
                  <a:lnTo>
                    <a:pt x="373" y="205"/>
                  </a:lnTo>
                  <a:lnTo>
                    <a:pt x="373" y="210"/>
                  </a:lnTo>
                  <a:lnTo>
                    <a:pt x="373" y="217"/>
                  </a:lnTo>
                  <a:lnTo>
                    <a:pt x="373" y="220"/>
                  </a:lnTo>
                  <a:lnTo>
                    <a:pt x="373" y="222"/>
                  </a:lnTo>
                  <a:lnTo>
                    <a:pt x="373" y="229"/>
                  </a:lnTo>
                  <a:lnTo>
                    <a:pt x="373" y="236"/>
                  </a:lnTo>
                  <a:lnTo>
                    <a:pt x="373" y="241"/>
                  </a:lnTo>
                  <a:lnTo>
                    <a:pt x="373" y="244"/>
                  </a:lnTo>
                  <a:lnTo>
                    <a:pt x="373" y="246"/>
                  </a:lnTo>
                  <a:lnTo>
                    <a:pt x="373" y="250"/>
                  </a:lnTo>
                  <a:lnTo>
                    <a:pt x="373" y="251"/>
                  </a:lnTo>
                  <a:lnTo>
                    <a:pt x="373" y="256"/>
                  </a:lnTo>
                  <a:lnTo>
                    <a:pt x="373" y="263"/>
                  </a:lnTo>
                  <a:lnTo>
                    <a:pt x="373" y="272"/>
                  </a:lnTo>
                  <a:lnTo>
                    <a:pt x="373" y="274"/>
                  </a:lnTo>
                  <a:lnTo>
                    <a:pt x="373" y="275"/>
                  </a:lnTo>
                  <a:lnTo>
                    <a:pt x="371" y="279"/>
                  </a:lnTo>
                  <a:lnTo>
                    <a:pt x="371" y="280"/>
                  </a:lnTo>
                  <a:lnTo>
                    <a:pt x="371" y="294"/>
                  </a:lnTo>
                  <a:lnTo>
                    <a:pt x="371" y="296"/>
                  </a:lnTo>
                  <a:lnTo>
                    <a:pt x="371" y="298"/>
                  </a:lnTo>
                  <a:lnTo>
                    <a:pt x="371" y="299"/>
                  </a:lnTo>
                  <a:lnTo>
                    <a:pt x="371" y="301"/>
                  </a:lnTo>
                  <a:lnTo>
                    <a:pt x="371" y="308"/>
                  </a:lnTo>
                  <a:lnTo>
                    <a:pt x="371" y="310"/>
                  </a:lnTo>
                  <a:lnTo>
                    <a:pt x="371" y="318"/>
                  </a:lnTo>
                  <a:lnTo>
                    <a:pt x="371" y="322"/>
                  </a:lnTo>
                  <a:lnTo>
                    <a:pt x="371" y="324"/>
                  </a:lnTo>
                  <a:lnTo>
                    <a:pt x="370" y="324"/>
                  </a:lnTo>
                  <a:lnTo>
                    <a:pt x="366" y="324"/>
                  </a:lnTo>
                  <a:lnTo>
                    <a:pt x="363" y="324"/>
                  </a:lnTo>
                  <a:lnTo>
                    <a:pt x="356" y="324"/>
                  </a:lnTo>
                  <a:lnTo>
                    <a:pt x="354" y="324"/>
                  </a:lnTo>
                  <a:lnTo>
                    <a:pt x="351" y="324"/>
                  </a:lnTo>
                  <a:lnTo>
                    <a:pt x="349" y="324"/>
                  </a:lnTo>
                  <a:lnTo>
                    <a:pt x="340" y="324"/>
                  </a:lnTo>
                  <a:lnTo>
                    <a:pt x="340" y="324"/>
                  </a:lnTo>
                  <a:lnTo>
                    <a:pt x="339" y="324"/>
                  </a:lnTo>
                  <a:lnTo>
                    <a:pt x="330" y="324"/>
                  </a:lnTo>
                  <a:lnTo>
                    <a:pt x="321" y="324"/>
                  </a:lnTo>
                  <a:lnTo>
                    <a:pt x="320" y="324"/>
                  </a:lnTo>
                  <a:lnTo>
                    <a:pt x="311" y="324"/>
                  </a:lnTo>
                  <a:lnTo>
                    <a:pt x="308" y="324"/>
                  </a:lnTo>
                  <a:lnTo>
                    <a:pt x="306" y="324"/>
                  </a:lnTo>
                  <a:lnTo>
                    <a:pt x="303" y="324"/>
                  </a:lnTo>
                  <a:lnTo>
                    <a:pt x="299" y="324"/>
                  </a:lnTo>
                  <a:lnTo>
                    <a:pt x="296" y="324"/>
                  </a:lnTo>
                  <a:lnTo>
                    <a:pt x="292" y="324"/>
                  </a:lnTo>
                  <a:lnTo>
                    <a:pt x="275" y="322"/>
                  </a:lnTo>
                  <a:lnTo>
                    <a:pt x="273" y="322"/>
                  </a:lnTo>
                  <a:lnTo>
                    <a:pt x="270" y="322"/>
                  </a:lnTo>
                  <a:lnTo>
                    <a:pt x="263" y="322"/>
                  </a:lnTo>
                  <a:lnTo>
                    <a:pt x="254" y="322"/>
                  </a:lnTo>
                  <a:lnTo>
                    <a:pt x="253" y="322"/>
                  </a:lnTo>
                  <a:lnTo>
                    <a:pt x="251" y="322"/>
                  </a:lnTo>
                  <a:lnTo>
                    <a:pt x="244" y="322"/>
                  </a:lnTo>
                  <a:lnTo>
                    <a:pt x="241" y="322"/>
                  </a:lnTo>
                  <a:lnTo>
                    <a:pt x="239" y="322"/>
                  </a:lnTo>
                  <a:lnTo>
                    <a:pt x="235" y="322"/>
                  </a:lnTo>
                  <a:lnTo>
                    <a:pt x="229" y="322"/>
                  </a:lnTo>
                  <a:lnTo>
                    <a:pt x="220" y="322"/>
                  </a:lnTo>
                  <a:lnTo>
                    <a:pt x="220" y="322"/>
                  </a:lnTo>
                  <a:lnTo>
                    <a:pt x="217" y="322"/>
                  </a:lnTo>
                  <a:lnTo>
                    <a:pt x="215" y="322"/>
                  </a:lnTo>
                  <a:lnTo>
                    <a:pt x="208" y="320"/>
                  </a:lnTo>
                  <a:lnTo>
                    <a:pt x="206" y="320"/>
                  </a:lnTo>
                  <a:lnTo>
                    <a:pt x="201" y="320"/>
                  </a:lnTo>
                  <a:lnTo>
                    <a:pt x="199" y="320"/>
                  </a:lnTo>
                  <a:lnTo>
                    <a:pt x="196" y="320"/>
                  </a:lnTo>
                  <a:lnTo>
                    <a:pt x="194" y="320"/>
                  </a:lnTo>
                  <a:lnTo>
                    <a:pt x="192" y="320"/>
                  </a:lnTo>
                  <a:lnTo>
                    <a:pt x="189" y="320"/>
                  </a:lnTo>
                  <a:lnTo>
                    <a:pt x="187" y="320"/>
                  </a:lnTo>
                  <a:lnTo>
                    <a:pt x="186" y="320"/>
                  </a:lnTo>
                  <a:lnTo>
                    <a:pt x="184" y="320"/>
                  </a:lnTo>
                  <a:lnTo>
                    <a:pt x="182" y="320"/>
                  </a:lnTo>
                  <a:lnTo>
                    <a:pt x="179" y="320"/>
                  </a:lnTo>
                  <a:lnTo>
                    <a:pt x="175" y="320"/>
                  </a:lnTo>
                  <a:lnTo>
                    <a:pt x="170" y="320"/>
                  </a:lnTo>
                  <a:lnTo>
                    <a:pt x="168" y="318"/>
                  </a:lnTo>
                  <a:lnTo>
                    <a:pt x="168" y="320"/>
                  </a:lnTo>
                  <a:lnTo>
                    <a:pt x="167" y="318"/>
                  </a:lnTo>
                  <a:lnTo>
                    <a:pt x="165" y="318"/>
                  </a:lnTo>
                  <a:lnTo>
                    <a:pt x="162" y="318"/>
                  </a:lnTo>
                  <a:lnTo>
                    <a:pt x="155" y="318"/>
                  </a:lnTo>
                  <a:lnTo>
                    <a:pt x="153" y="318"/>
                  </a:lnTo>
                  <a:lnTo>
                    <a:pt x="151" y="318"/>
                  </a:lnTo>
                  <a:lnTo>
                    <a:pt x="144" y="318"/>
                  </a:lnTo>
                  <a:lnTo>
                    <a:pt x="144" y="318"/>
                  </a:lnTo>
                  <a:lnTo>
                    <a:pt x="129" y="318"/>
                  </a:lnTo>
                  <a:lnTo>
                    <a:pt x="129" y="318"/>
                  </a:lnTo>
                  <a:lnTo>
                    <a:pt x="124" y="318"/>
                  </a:lnTo>
                  <a:lnTo>
                    <a:pt x="122" y="318"/>
                  </a:lnTo>
                  <a:lnTo>
                    <a:pt x="120" y="318"/>
                  </a:lnTo>
                  <a:lnTo>
                    <a:pt x="113" y="318"/>
                  </a:lnTo>
                  <a:lnTo>
                    <a:pt x="106" y="317"/>
                  </a:lnTo>
                  <a:lnTo>
                    <a:pt x="100" y="317"/>
                  </a:lnTo>
                  <a:lnTo>
                    <a:pt x="96" y="317"/>
                  </a:lnTo>
                  <a:lnTo>
                    <a:pt x="94" y="317"/>
                  </a:lnTo>
                  <a:lnTo>
                    <a:pt x="91" y="317"/>
                  </a:lnTo>
                  <a:lnTo>
                    <a:pt x="81" y="317"/>
                  </a:lnTo>
                  <a:lnTo>
                    <a:pt x="77" y="317"/>
                  </a:lnTo>
                  <a:lnTo>
                    <a:pt x="75" y="317"/>
                  </a:lnTo>
                  <a:lnTo>
                    <a:pt x="72" y="317"/>
                  </a:lnTo>
                  <a:lnTo>
                    <a:pt x="69" y="317"/>
                  </a:lnTo>
                  <a:lnTo>
                    <a:pt x="69" y="317"/>
                  </a:lnTo>
                  <a:lnTo>
                    <a:pt x="65" y="317"/>
                  </a:lnTo>
                  <a:lnTo>
                    <a:pt x="55" y="317"/>
                  </a:lnTo>
                  <a:lnTo>
                    <a:pt x="51" y="317"/>
                  </a:lnTo>
                  <a:lnTo>
                    <a:pt x="50" y="317"/>
                  </a:lnTo>
                  <a:lnTo>
                    <a:pt x="46" y="317"/>
                  </a:lnTo>
                  <a:lnTo>
                    <a:pt x="45" y="317"/>
                  </a:lnTo>
                  <a:lnTo>
                    <a:pt x="38" y="317"/>
                  </a:lnTo>
                  <a:lnTo>
                    <a:pt x="36" y="317"/>
                  </a:lnTo>
                  <a:lnTo>
                    <a:pt x="29" y="317"/>
                  </a:lnTo>
                  <a:lnTo>
                    <a:pt x="27" y="317"/>
                  </a:lnTo>
                  <a:lnTo>
                    <a:pt x="24" y="317"/>
                  </a:lnTo>
                  <a:lnTo>
                    <a:pt x="22" y="317"/>
                  </a:lnTo>
                  <a:lnTo>
                    <a:pt x="20" y="317"/>
                  </a:lnTo>
                  <a:lnTo>
                    <a:pt x="17" y="317"/>
                  </a:lnTo>
                  <a:lnTo>
                    <a:pt x="17" y="315"/>
                  </a:lnTo>
                  <a:lnTo>
                    <a:pt x="14" y="315"/>
                  </a:lnTo>
                  <a:lnTo>
                    <a:pt x="8" y="315"/>
                  </a:lnTo>
                  <a:lnTo>
                    <a:pt x="7" y="315"/>
                  </a:lnTo>
                  <a:lnTo>
                    <a:pt x="5" y="315"/>
                  </a:lnTo>
                  <a:lnTo>
                    <a:pt x="5" y="311"/>
                  </a:lnTo>
                  <a:lnTo>
                    <a:pt x="5" y="306"/>
                  </a:lnTo>
                  <a:lnTo>
                    <a:pt x="5" y="303"/>
                  </a:lnTo>
                  <a:lnTo>
                    <a:pt x="5" y="301"/>
                  </a:lnTo>
                  <a:lnTo>
                    <a:pt x="5" y="298"/>
                  </a:lnTo>
                  <a:lnTo>
                    <a:pt x="5" y="294"/>
                  </a:lnTo>
                  <a:lnTo>
                    <a:pt x="5" y="294"/>
                  </a:lnTo>
                  <a:lnTo>
                    <a:pt x="5" y="286"/>
                  </a:lnTo>
                  <a:lnTo>
                    <a:pt x="5" y="277"/>
                  </a:lnTo>
                  <a:lnTo>
                    <a:pt x="5" y="274"/>
                  </a:lnTo>
                  <a:lnTo>
                    <a:pt x="5" y="272"/>
                  </a:lnTo>
                  <a:lnTo>
                    <a:pt x="7" y="263"/>
                  </a:lnTo>
                  <a:lnTo>
                    <a:pt x="7" y="263"/>
                  </a:lnTo>
                  <a:lnTo>
                    <a:pt x="7" y="260"/>
                  </a:lnTo>
                  <a:lnTo>
                    <a:pt x="7" y="258"/>
                  </a:lnTo>
                  <a:lnTo>
                    <a:pt x="7" y="250"/>
                  </a:lnTo>
                  <a:lnTo>
                    <a:pt x="7" y="248"/>
                  </a:lnTo>
                  <a:lnTo>
                    <a:pt x="7" y="246"/>
                  </a:lnTo>
                  <a:lnTo>
                    <a:pt x="7" y="244"/>
                  </a:lnTo>
                  <a:lnTo>
                    <a:pt x="7" y="239"/>
                  </a:lnTo>
                  <a:lnTo>
                    <a:pt x="7" y="237"/>
                  </a:lnTo>
                  <a:lnTo>
                    <a:pt x="7" y="234"/>
                  </a:lnTo>
                  <a:lnTo>
                    <a:pt x="7" y="231"/>
                  </a:lnTo>
                  <a:lnTo>
                    <a:pt x="7" y="227"/>
                  </a:lnTo>
                  <a:lnTo>
                    <a:pt x="7" y="225"/>
                  </a:lnTo>
                  <a:lnTo>
                    <a:pt x="7" y="224"/>
                  </a:lnTo>
                  <a:lnTo>
                    <a:pt x="7" y="222"/>
                  </a:lnTo>
                  <a:lnTo>
                    <a:pt x="7" y="220"/>
                  </a:lnTo>
                  <a:lnTo>
                    <a:pt x="7" y="217"/>
                  </a:lnTo>
                  <a:lnTo>
                    <a:pt x="7" y="215"/>
                  </a:lnTo>
                  <a:lnTo>
                    <a:pt x="7" y="208"/>
                  </a:lnTo>
                  <a:lnTo>
                    <a:pt x="7" y="207"/>
                  </a:lnTo>
                  <a:lnTo>
                    <a:pt x="7" y="205"/>
                  </a:lnTo>
                  <a:lnTo>
                    <a:pt x="7" y="203"/>
                  </a:lnTo>
                  <a:lnTo>
                    <a:pt x="7" y="193"/>
                  </a:lnTo>
                  <a:lnTo>
                    <a:pt x="7" y="191"/>
                  </a:lnTo>
                  <a:lnTo>
                    <a:pt x="7" y="189"/>
                  </a:lnTo>
                  <a:lnTo>
                    <a:pt x="8" y="189"/>
                  </a:lnTo>
                  <a:lnTo>
                    <a:pt x="8" y="182"/>
                  </a:lnTo>
                  <a:lnTo>
                    <a:pt x="8" y="181"/>
                  </a:lnTo>
                  <a:lnTo>
                    <a:pt x="8" y="179"/>
                  </a:lnTo>
                  <a:lnTo>
                    <a:pt x="8" y="176"/>
                  </a:lnTo>
                  <a:lnTo>
                    <a:pt x="8" y="174"/>
                  </a:lnTo>
                  <a:lnTo>
                    <a:pt x="8" y="172"/>
                  </a:lnTo>
                  <a:lnTo>
                    <a:pt x="8" y="169"/>
                  </a:lnTo>
                  <a:lnTo>
                    <a:pt x="8" y="160"/>
                  </a:lnTo>
                  <a:lnTo>
                    <a:pt x="8" y="146"/>
                  </a:lnTo>
                  <a:lnTo>
                    <a:pt x="8" y="143"/>
                  </a:lnTo>
                  <a:lnTo>
                    <a:pt x="8" y="141"/>
                  </a:lnTo>
                  <a:lnTo>
                    <a:pt x="8" y="134"/>
                  </a:lnTo>
                  <a:lnTo>
                    <a:pt x="8" y="133"/>
                  </a:lnTo>
                  <a:lnTo>
                    <a:pt x="2" y="133"/>
                  </a:lnTo>
                  <a:lnTo>
                    <a:pt x="0" y="133"/>
                  </a:lnTo>
                  <a:lnTo>
                    <a:pt x="0" y="129"/>
                  </a:lnTo>
                  <a:lnTo>
                    <a:pt x="0" y="129"/>
                  </a:lnTo>
                  <a:lnTo>
                    <a:pt x="0" y="127"/>
                  </a:lnTo>
                  <a:lnTo>
                    <a:pt x="0" y="126"/>
                  </a:lnTo>
                  <a:lnTo>
                    <a:pt x="0" y="124"/>
                  </a:lnTo>
                  <a:lnTo>
                    <a:pt x="0" y="121"/>
                  </a:lnTo>
                  <a:lnTo>
                    <a:pt x="0" y="115"/>
                  </a:lnTo>
                  <a:lnTo>
                    <a:pt x="0" y="114"/>
                  </a:lnTo>
                  <a:lnTo>
                    <a:pt x="0" y="114"/>
                  </a:lnTo>
                  <a:lnTo>
                    <a:pt x="0" y="112"/>
                  </a:lnTo>
                  <a:lnTo>
                    <a:pt x="0" y="105"/>
                  </a:lnTo>
                  <a:lnTo>
                    <a:pt x="2" y="103"/>
                  </a:lnTo>
                  <a:lnTo>
                    <a:pt x="2" y="102"/>
                  </a:lnTo>
                  <a:lnTo>
                    <a:pt x="2" y="100"/>
                  </a:lnTo>
                  <a:lnTo>
                    <a:pt x="2" y="98"/>
                  </a:lnTo>
                  <a:lnTo>
                    <a:pt x="2" y="96"/>
                  </a:lnTo>
                  <a:lnTo>
                    <a:pt x="2" y="90"/>
                  </a:lnTo>
                  <a:lnTo>
                    <a:pt x="0" y="84"/>
                  </a:lnTo>
                  <a:lnTo>
                    <a:pt x="0" y="83"/>
                  </a:lnTo>
                  <a:lnTo>
                    <a:pt x="2" y="77"/>
                  </a:lnTo>
                  <a:lnTo>
                    <a:pt x="2" y="71"/>
                  </a:lnTo>
                  <a:lnTo>
                    <a:pt x="2" y="69"/>
                  </a:lnTo>
                  <a:lnTo>
                    <a:pt x="2" y="67"/>
                  </a:lnTo>
                  <a:lnTo>
                    <a:pt x="2" y="67"/>
                  </a:lnTo>
                  <a:lnTo>
                    <a:pt x="2" y="64"/>
                  </a:lnTo>
                  <a:lnTo>
                    <a:pt x="2" y="59"/>
                  </a:lnTo>
                  <a:lnTo>
                    <a:pt x="2" y="57"/>
                  </a:lnTo>
                  <a:lnTo>
                    <a:pt x="2" y="55"/>
                  </a:lnTo>
                  <a:lnTo>
                    <a:pt x="2" y="53"/>
                  </a:lnTo>
                  <a:lnTo>
                    <a:pt x="2" y="45"/>
                  </a:lnTo>
                  <a:lnTo>
                    <a:pt x="2" y="43"/>
                  </a:lnTo>
                  <a:lnTo>
                    <a:pt x="2" y="41"/>
                  </a:lnTo>
                  <a:lnTo>
                    <a:pt x="2" y="38"/>
                  </a:lnTo>
                  <a:lnTo>
                    <a:pt x="2" y="36"/>
                  </a:lnTo>
                  <a:lnTo>
                    <a:pt x="2" y="31"/>
                  </a:lnTo>
                  <a:lnTo>
                    <a:pt x="2" y="29"/>
                  </a:lnTo>
                  <a:lnTo>
                    <a:pt x="2" y="21"/>
                  </a:lnTo>
                  <a:lnTo>
                    <a:pt x="2" y="16"/>
                  </a:lnTo>
                  <a:lnTo>
                    <a:pt x="2" y="12"/>
                  </a:lnTo>
                  <a:lnTo>
                    <a:pt x="3" y="10"/>
                  </a:lnTo>
                  <a:lnTo>
                    <a:pt x="3" y="0"/>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09" name="Freeform 214"/>
            <p:cNvSpPr>
              <a:spLocks/>
            </p:cNvSpPr>
            <p:nvPr/>
          </p:nvSpPr>
          <p:spPr bwMode="auto">
            <a:xfrm>
              <a:off x="4518908" y="4279694"/>
              <a:ext cx="444500" cy="504825"/>
            </a:xfrm>
            <a:custGeom>
              <a:avLst/>
              <a:gdLst/>
              <a:ahLst/>
              <a:cxnLst>
                <a:cxn ang="0">
                  <a:pos x="39" y="12"/>
                </a:cxn>
                <a:cxn ang="0">
                  <a:pos x="63" y="14"/>
                </a:cxn>
                <a:cxn ang="0">
                  <a:pos x="79" y="14"/>
                </a:cxn>
                <a:cxn ang="0">
                  <a:pos x="104" y="15"/>
                </a:cxn>
                <a:cxn ang="0">
                  <a:pos x="130" y="15"/>
                </a:cxn>
                <a:cxn ang="0">
                  <a:pos x="139" y="17"/>
                </a:cxn>
                <a:cxn ang="0">
                  <a:pos x="154" y="17"/>
                </a:cxn>
                <a:cxn ang="0">
                  <a:pos x="165" y="17"/>
                </a:cxn>
                <a:cxn ang="0">
                  <a:pos x="184" y="17"/>
                </a:cxn>
                <a:cxn ang="0">
                  <a:pos x="215" y="19"/>
                </a:cxn>
                <a:cxn ang="0">
                  <a:pos x="233" y="19"/>
                </a:cxn>
                <a:cxn ang="0">
                  <a:pos x="259" y="21"/>
                </a:cxn>
                <a:cxn ang="0">
                  <a:pos x="270" y="43"/>
                </a:cxn>
                <a:cxn ang="0">
                  <a:pos x="268" y="62"/>
                </a:cxn>
                <a:cxn ang="0">
                  <a:pos x="270" y="77"/>
                </a:cxn>
                <a:cxn ang="0">
                  <a:pos x="280" y="114"/>
                </a:cxn>
                <a:cxn ang="0">
                  <a:pos x="278" y="139"/>
                </a:cxn>
                <a:cxn ang="0">
                  <a:pos x="278" y="167"/>
                </a:cxn>
                <a:cxn ang="0">
                  <a:pos x="276" y="186"/>
                </a:cxn>
                <a:cxn ang="0">
                  <a:pos x="276" y="200"/>
                </a:cxn>
                <a:cxn ang="0">
                  <a:pos x="276" y="217"/>
                </a:cxn>
                <a:cxn ang="0">
                  <a:pos x="275" y="243"/>
                </a:cxn>
                <a:cxn ang="0">
                  <a:pos x="275" y="261"/>
                </a:cxn>
                <a:cxn ang="0">
                  <a:pos x="275" y="280"/>
                </a:cxn>
                <a:cxn ang="0">
                  <a:pos x="275" y="294"/>
                </a:cxn>
                <a:cxn ang="0">
                  <a:pos x="268" y="317"/>
                </a:cxn>
                <a:cxn ang="0">
                  <a:pos x="244" y="317"/>
                </a:cxn>
                <a:cxn ang="0">
                  <a:pos x="228" y="317"/>
                </a:cxn>
                <a:cxn ang="0">
                  <a:pos x="215" y="315"/>
                </a:cxn>
                <a:cxn ang="0">
                  <a:pos x="197" y="315"/>
                </a:cxn>
                <a:cxn ang="0">
                  <a:pos x="178" y="315"/>
                </a:cxn>
                <a:cxn ang="0">
                  <a:pos x="163" y="313"/>
                </a:cxn>
                <a:cxn ang="0">
                  <a:pos x="142" y="313"/>
                </a:cxn>
                <a:cxn ang="0">
                  <a:pos x="123" y="311"/>
                </a:cxn>
                <a:cxn ang="0">
                  <a:pos x="103" y="311"/>
                </a:cxn>
                <a:cxn ang="0">
                  <a:pos x="73" y="310"/>
                </a:cxn>
                <a:cxn ang="0">
                  <a:pos x="46" y="310"/>
                </a:cxn>
                <a:cxn ang="0">
                  <a:pos x="27" y="308"/>
                </a:cxn>
                <a:cxn ang="0">
                  <a:pos x="5" y="303"/>
                </a:cxn>
                <a:cxn ang="0">
                  <a:pos x="6" y="268"/>
                </a:cxn>
                <a:cxn ang="0">
                  <a:pos x="6" y="260"/>
                </a:cxn>
                <a:cxn ang="0">
                  <a:pos x="8" y="243"/>
                </a:cxn>
                <a:cxn ang="0">
                  <a:pos x="8" y="222"/>
                </a:cxn>
                <a:cxn ang="0">
                  <a:pos x="10" y="200"/>
                </a:cxn>
                <a:cxn ang="0">
                  <a:pos x="10" y="181"/>
                </a:cxn>
                <a:cxn ang="0">
                  <a:pos x="10" y="169"/>
                </a:cxn>
                <a:cxn ang="0">
                  <a:pos x="12" y="146"/>
                </a:cxn>
                <a:cxn ang="0">
                  <a:pos x="12" y="119"/>
                </a:cxn>
                <a:cxn ang="0">
                  <a:pos x="12" y="101"/>
                </a:cxn>
                <a:cxn ang="0">
                  <a:pos x="13" y="71"/>
                </a:cxn>
                <a:cxn ang="0">
                  <a:pos x="5" y="65"/>
                </a:cxn>
                <a:cxn ang="0">
                  <a:pos x="1" y="41"/>
                </a:cxn>
                <a:cxn ang="0">
                  <a:pos x="1" y="17"/>
                </a:cxn>
                <a:cxn ang="0">
                  <a:pos x="6" y="0"/>
                </a:cxn>
                <a:cxn ang="0">
                  <a:pos x="29" y="0"/>
                </a:cxn>
              </a:cxnLst>
              <a:rect l="0" t="0" r="r" b="b"/>
              <a:pathLst>
                <a:path w="280" h="318">
                  <a:moveTo>
                    <a:pt x="37" y="2"/>
                  </a:moveTo>
                  <a:lnTo>
                    <a:pt x="36" y="2"/>
                  </a:lnTo>
                  <a:lnTo>
                    <a:pt x="36" y="5"/>
                  </a:lnTo>
                  <a:lnTo>
                    <a:pt x="36" y="9"/>
                  </a:lnTo>
                  <a:lnTo>
                    <a:pt x="36" y="12"/>
                  </a:lnTo>
                  <a:lnTo>
                    <a:pt x="39" y="12"/>
                  </a:lnTo>
                  <a:lnTo>
                    <a:pt x="43" y="12"/>
                  </a:lnTo>
                  <a:lnTo>
                    <a:pt x="43" y="12"/>
                  </a:lnTo>
                  <a:lnTo>
                    <a:pt x="46" y="12"/>
                  </a:lnTo>
                  <a:lnTo>
                    <a:pt x="49" y="12"/>
                  </a:lnTo>
                  <a:lnTo>
                    <a:pt x="60" y="14"/>
                  </a:lnTo>
                  <a:lnTo>
                    <a:pt x="63" y="14"/>
                  </a:lnTo>
                  <a:lnTo>
                    <a:pt x="65" y="14"/>
                  </a:lnTo>
                  <a:lnTo>
                    <a:pt x="68" y="14"/>
                  </a:lnTo>
                  <a:lnTo>
                    <a:pt x="73" y="14"/>
                  </a:lnTo>
                  <a:lnTo>
                    <a:pt x="75" y="14"/>
                  </a:lnTo>
                  <a:lnTo>
                    <a:pt x="77" y="14"/>
                  </a:lnTo>
                  <a:lnTo>
                    <a:pt x="79" y="14"/>
                  </a:lnTo>
                  <a:lnTo>
                    <a:pt x="80" y="14"/>
                  </a:lnTo>
                  <a:lnTo>
                    <a:pt x="87" y="14"/>
                  </a:lnTo>
                  <a:lnTo>
                    <a:pt x="91" y="14"/>
                  </a:lnTo>
                  <a:lnTo>
                    <a:pt x="98" y="14"/>
                  </a:lnTo>
                  <a:lnTo>
                    <a:pt x="101" y="15"/>
                  </a:lnTo>
                  <a:lnTo>
                    <a:pt x="104" y="15"/>
                  </a:lnTo>
                  <a:lnTo>
                    <a:pt x="106" y="15"/>
                  </a:lnTo>
                  <a:lnTo>
                    <a:pt x="108" y="15"/>
                  </a:lnTo>
                  <a:lnTo>
                    <a:pt x="111" y="15"/>
                  </a:lnTo>
                  <a:lnTo>
                    <a:pt x="120" y="15"/>
                  </a:lnTo>
                  <a:lnTo>
                    <a:pt x="122" y="15"/>
                  </a:lnTo>
                  <a:lnTo>
                    <a:pt x="130" y="15"/>
                  </a:lnTo>
                  <a:lnTo>
                    <a:pt x="132" y="15"/>
                  </a:lnTo>
                  <a:lnTo>
                    <a:pt x="134" y="15"/>
                  </a:lnTo>
                  <a:lnTo>
                    <a:pt x="135" y="15"/>
                  </a:lnTo>
                  <a:lnTo>
                    <a:pt x="135" y="17"/>
                  </a:lnTo>
                  <a:lnTo>
                    <a:pt x="137" y="17"/>
                  </a:lnTo>
                  <a:lnTo>
                    <a:pt x="139" y="17"/>
                  </a:lnTo>
                  <a:lnTo>
                    <a:pt x="142" y="17"/>
                  </a:lnTo>
                  <a:lnTo>
                    <a:pt x="144" y="17"/>
                  </a:lnTo>
                  <a:lnTo>
                    <a:pt x="147" y="17"/>
                  </a:lnTo>
                  <a:lnTo>
                    <a:pt x="151" y="17"/>
                  </a:lnTo>
                  <a:lnTo>
                    <a:pt x="153" y="17"/>
                  </a:lnTo>
                  <a:lnTo>
                    <a:pt x="154" y="17"/>
                  </a:lnTo>
                  <a:lnTo>
                    <a:pt x="158" y="17"/>
                  </a:lnTo>
                  <a:lnTo>
                    <a:pt x="159" y="17"/>
                  </a:lnTo>
                  <a:lnTo>
                    <a:pt x="161" y="17"/>
                  </a:lnTo>
                  <a:lnTo>
                    <a:pt x="163" y="17"/>
                  </a:lnTo>
                  <a:lnTo>
                    <a:pt x="163" y="17"/>
                  </a:lnTo>
                  <a:lnTo>
                    <a:pt x="165" y="17"/>
                  </a:lnTo>
                  <a:lnTo>
                    <a:pt x="170" y="17"/>
                  </a:lnTo>
                  <a:lnTo>
                    <a:pt x="173" y="17"/>
                  </a:lnTo>
                  <a:lnTo>
                    <a:pt x="178" y="17"/>
                  </a:lnTo>
                  <a:lnTo>
                    <a:pt x="178" y="17"/>
                  </a:lnTo>
                  <a:lnTo>
                    <a:pt x="180" y="17"/>
                  </a:lnTo>
                  <a:lnTo>
                    <a:pt x="184" y="17"/>
                  </a:lnTo>
                  <a:lnTo>
                    <a:pt x="190" y="17"/>
                  </a:lnTo>
                  <a:lnTo>
                    <a:pt x="194" y="17"/>
                  </a:lnTo>
                  <a:lnTo>
                    <a:pt x="204" y="19"/>
                  </a:lnTo>
                  <a:lnTo>
                    <a:pt x="208" y="19"/>
                  </a:lnTo>
                  <a:lnTo>
                    <a:pt x="213" y="19"/>
                  </a:lnTo>
                  <a:lnTo>
                    <a:pt x="215" y="19"/>
                  </a:lnTo>
                  <a:lnTo>
                    <a:pt x="218" y="19"/>
                  </a:lnTo>
                  <a:lnTo>
                    <a:pt x="220" y="19"/>
                  </a:lnTo>
                  <a:lnTo>
                    <a:pt x="223" y="19"/>
                  </a:lnTo>
                  <a:lnTo>
                    <a:pt x="223" y="19"/>
                  </a:lnTo>
                  <a:lnTo>
                    <a:pt x="232" y="19"/>
                  </a:lnTo>
                  <a:lnTo>
                    <a:pt x="233" y="19"/>
                  </a:lnTo>
                  <a:lnTo>
                    <a:pt x="237" y="19"/>
                  </a:lnTo>
                  <a:lnTo>
                    <a:pt x="239" y="19"/>
                  </a:lnTo>
                  <a:lnTo>
                    <a:pt x="240" y="19"/>
                  </a:lnTo>
                  <a:lnTo>
                    <a:pt x="245" y="19"/>
                  </a:lnTo>
                  <a:lnTo>
                    <a:pt x="252" y="21"/>
                  </a:lnTo>
                  <a:lnTo>
                    <a:pt x="259" y="21"/>
                  </a:lnTo>
                  <a:lnTo>
                    <a:pt x="263" y="21"/>
                  </a:lnTo>
                  <a:lnTo>
                    <a:pt x="271" y="21"/>
                  </a:lnTo>
                  <a:lnTo>
                    <a:pt x="270" y="29"/>
                  </a:lnTo>
                  <a:lnTo>
                    <a:pt x="270" y="33"/>
                  </a:lnTo>
                  <a:lnTo>
                    <a:pt x="270" y="40"/>
                  </a:lnTo>
                  <a:lnTo>
                    <a:pt x="270" y="43"/>
                  </a:lnTo>
                  <a:lnTo>
                    <a:pt x="270" y="46"/>
                  </a:lnTo>
                  <a:lnTo>
                    <a:pt x="270" y="50"/>
                  </a:lnTo>
                  <a:lnTo>
                    <a:pt x="270" y="53"/>
                  </a:lnTo>
                  <a:lnTo>
                    <a:pt x="270" y="55"/>
                  </a:lnTo>
                  <a:lnTo>
                    <a:pt x="270" y="57"/>
                  </a:lnTo>
                  <a:lnTo>
                    <a:pt x="268" y="62"/>
                  </a:lnTo>
                  <a:lnTo>
                    <a:pt x="268" y="65"/>
                  </a:lnTo>
                  <a:lnTo>
                    <a:pt x="268" y="69"/>
                  </a:lnTo>
                  <a:lnTo>
                    <a:pt x="268" y="71"/>
                  </a:lnTo>
                  <a:lnTo>
                    <a:pt x="268" y="74"/>
                  </a:lnTo>
                  <a:lnTo>
                    <a:pt x="268" y="77"/>
                  </a:lnTo>
                  <a:lnTo>
                    <a:pt x="270" y="77"/>
                  </a:lnTo>
                  <a:lnTo>
                    <a:pt x="276" y="77"/>
                  </a:lnTo>
                  <a:lnTo>
                    <a:pt x="280" y="77"/>
                  </a:lnTo>
                  <a:lnTo>
                    <a:pt x="280" y="83"/>
                  </a:lnTo>
                  <a:lnTo>
                    <a:pt x="280" y="95"/>
                  </a:lnTo>
                  <a:lnTo>
                    <a:pt x="280" y="103"/>
                  </a:lnTo>
                  <a:lnTo>
                    <a:pt x="280" y="114"/>
                  </a:lnTo>
                  <a:lnTo>
                    <a:pt x="278" y="119"/>
                  </a:lnTo>
                  <a:lnTo>
                    <a:pt x="278" y="122"/>
                  </a:lnTo>
                  <a:lnTo>
                    <a:pt x="278" y="124"/>
                  </a:lnTo>
                  <a:lnTo>
                    <a:pt x="278" y="127"/>
                  </a:lnTo>
                  <a:lnTo>
                    <a:pt x="278" y="132"/>
                  </a:lnTo>
                  <a:lnTo>
                    <a:pt x="278" y="139"/>
                  </a:lnTo>
                  <a:lnTo>
                    <a:pt x="278" y="139"/>
                  </a:lnTo>
                  <a:lnTo>
                    <a:pt x="278" y="146"/>
                  </a:lnTo>
                  <a:lnTo>
                    <a:pt x="278" y="148"/>
                  </a:lnTo>
                  <a:lnTo>
                    <a:pt x="278" y="150"/>
                  </a:lnTo>
                  <a:lnTo>
                    <a:pt x="278" y="157"/>
                  </a:lnTo>
                  <a:lnTo>
                    <a:pt x="278" y="167"/>
                  </a:lnTo>
                  <a:lnTo>
                    <a:pt x="278" y="169"/>
                  </a:lnTo>
                  <a:lnTo>
                    <a:pt x="278" y="172"/>
                  </a:lnTo>
                  <a:lnTo>
                    <a:pt x="278" y="177"/>
                  </a:lnTo>
                  <a:lnTo>
                    <a:pt x="276" y="184"/>
                  </a:lnTo>
                  <a:lnTo>
                    <a:pt x="276" y="184"/>
                  </a:lnTo>
                  <a:lnTo>
                    <a:pt x="276" y="186"/>
                  </a:lnTo>
                  <a:lnTo>
                    <a:pt x="276" y="187"/>
                  </a:lnTo>
                  <a:lnTo>
                    <a:pt x="276" y="189"/>
                  </a:lnTo>
                  <a:lnTo>
                    <a:pt x="276" y="193"/>
                  </a:lnTo>
                  <a:lnTo>
                    <a:pt x="276" y="194"/>
                  </a:lnTo>
                  <a:lnTo>
                    <a:pt x="276" y="196"/>
                  </a:lnTo>
                  <a:lnTo>
                    <a:pt x="276" y="200"/>
                  </a:lnTo>
                  <a:lnTo>
                    <a:pt x="276" y="200"/>
                  </a:lnTo>
                  <a:lnTo>
                    <a:pt x="276" y="201"/>
                  </a:lnTo>
                  <a:lnTo>
                    <a:pt x="276" y="203"/>
                  </a:lnTo>
                  <a:lnTo>
                    <a:pt x="276" y="205"/>
                  </a:lnTo>
                  <a:lnTo>
                    <a:pt x="276" y="206"/>
                  </a:lnTo>
                  <a:lnTo>
                    <a:pt x="276" y="217"/>
                  </a:lnTo>
                  <a:lnTo>
                    <a:pt x="276" y="222"/>
                  </a:lnTo>
                  <a:lnTo>
                    <a:pt x="276" y="229"/>
                  </a:lnTo>
                  <a:lnTo>
                    <a:pt x="276" y="232"/>
                  </a:lnTo>
                  <a:lnTo>
                    <a:pt x="275" y="239"/>
                  </a:lnTo>
                  <a:lnTo>
                    <a:pt x="275" y="241"/>
                  </a:lnTo>
                  <a:lnTo>
                    <a:pt x="275" y="243"/>
                  </a:lnTo>
                  <a:lnTo>
                    <a:pt x="275" y="244"/>
                  </a:lnTo>
                  <a:lnTo>
                    <a:pt x="275" y="249"/>
                  </a:lnTo>
                  <a:lnTo>
                    <a:pt x="275" y="253"/>
                  </a:lnTo>
                  <a:lnTo>
                    <a:pt x="275" y="258"/>
                  </a:lnTo>
                  <a:lnTo>
                    <a:pt x="275" y="260"/>
                  </a:lnTo>
                  <a:lnTo>
                    <a:pt x="275" y="261"/>
                  </a:lnTo>
                  <a:lnTo>
                    <a:pt x="275" y="263"/>
                  </a:lnTo>
                  <a:lnTo>
                    <a:pt x="275" y="270"/>
                  </a:lnTo>
                  <a:lnTo>
                    <a:pt x="275" y="272"/>
                  </a:lnTo>
                  <a:lnTo>
                    <a:pt x="275" y="274"/>
                  </a:lnTo>
                  <a:lnTo>
                    <a:pt x="275" y="274"/>
                  </a:lnTo>
                  <a:lnTo>
                    <a:pt x="275" y="280"/>
                  </a:lnTo>
                  <a:lnTo>
                    <a:pt x="275" y="284"/>
                  </a:lnTo>
                  <a:lnTo>
                    <a:pt x="275" y="286"/>
                  </a:lnTo>
                  <a:lnTo>
                    <a:pt x="275" y="289"/>
                  </a:lnTo>
                  <a:lnTo>
                    <a:pt x="275" y="289"/>
                  </a:lnTo>
                  <a:lnTo>
                    <a:pt x="275" y="291"/>
                  </a:lnTo>
                  <a:lnTo>
                    <a:pt x="275" y="294"/>
                  </a:lnTo>
                  <a:lnTo>
                    <a:pt x="275" y="301"/>
                  </a:lnTo>
                  <a:lnTo>
                    <a:pt x="273" y="304"/>
                  </a:lnTo>
                  <a:lnTo>
                    <a:pt x="273" y="313"/>
                  </a:lnTo>
                  <a:lnTo>
                    <a:pt x="273" y="318"/>
                  </a:lnTo>
                  <a:lnTo>
                    <a:pt x="270" y="317"/>
                  </a:lnTo>
                  <a:lnTo>
                    <a:pt x="268" y="317"/>
                  </a:lnTo>
                  <a:lnTo>
                    <a:pt x="259" y="317"/>
                  </a:lnTo>
                  <a:lnTo>
                    <a:pt x="256" y="317"/>
                  </a:lnTo>
                  <a:lnTo>
                    <a:pt x="254" y="317"/>
                  </a:lnTo>
                  <a:lnTo>
                    <a:pt x="252" y="317"/>
                  </a:lnTo>
                  <a:lnTo>
                    <a:pt x="247" y="317"/>
                  </a:lnTo>
                  <a:lnTo>
                    <a:pt x="244" y="317"/>
                  </a:lnTo>
                  <a:lnTo>
                    <a:pt x="242" y="317"/>
                  </a:lnTo>
                  <a:lnTo>
                    <a:pt x="239" y="317"/>
                  </a:lnTo>
                  <a:lnTo>
                    <a:pt x="235" y="317"/>
                  </a:lnTo>
                  <a:lnTo>
                    <a:pt x="232" y="317"/>
                  </a:lnTo>
                  <a:lnTo>
                    <a:pt x="230" y="317"/>
                  </a:lnTo>
                  <a:lnTo>
                    <a:pt x="228" y="317"/>
                  </a:lnTo>
                  <a:lnTo>
                    <a:pt x="225" y="317"/>
                  </a:lnTo>
                  <a:lnTo>
                    <a:pt x="223" y="317"/>
                  </a:lnTo>
                  <a:lnTo>
                    <a:pt x="221" y="315"/>
                  </a:lnTo>
                  <a:lnTo>
                    <a:pt x="220" y="315"/>
                  </a:lnTo>
                  <a:lnTo>
                    <a:pt x="218" y="315"/>
                  </a:lnTo>
                  <a:lnTo>
                    <a:pt x="215" y="315"/>
                  </a:lnTo>
                  <a:lnTo>
                    <a:pt x="213" y="315"/>
                  </a:lnTo>
                  <a:lnTo>
                    <a:pt x="211" y="315"/>
                  </a:lnTo>
                  <a:lnTo>
                    <a:pt x="208" y="315"/>
                  </a:lnTo>
                  <a:lnTo>
                    <a:pt x="201" y="315"/>
                  </a:lnTo>
                  <a:lnTo>
                    <a:pt x="199" y="315"/>
                  </a:lnTo>
                  <a:lnTo>
                    <a:pt x="197" y="315"/>
                  </a:lnTo>
                  <a:lnTo>
                    <a:pt x="194" y="315"/>
                  </a:lnTo>
                  <a:lnTo>
                    <a:pt x="190" y="315"/>
                  </a:lnTo>
                  <a:lnTo>
                    <a:pt x="187" y="315"/>
                  </a:lnTo>
                  <a:lnTo>
                    <a:pt x="185" y="315"/>
                  </a:lnTo>
                  <a:lnTo>
                    <a:pt x="184" y="315"/>
                  </a:lnTo>
                  <a:lnTo>
                    <a:pt x="178" y="315"/>
                  </a:lnTo>
                  <a:lnTo>
                    <a:pt x="173" y="313"/>
                  </a:lnTo>
                  <a:lnTo>
                    <a:pt x="172" y="313"/>
                  </a:lnTo>
                  <a:lnTo>
                    <a:pt x="170" y="313"/>
                  </a:lnTo>
                  <a:lnTo>
                    <a:pt x="166" y="313"/>
                  </a:lnTo>
                  <a:lnTo>
                    <a:pt x="163" y="313"/>
                  </a:lnTo>
                  <a:lnTo>
                    <a:pt x="163" y="313"/>
                  </a:lnTo>
                  <a:lnTo>
                    <a:pt x="161" y="313"/>
                  </a:lnTo>
                  <a:lnTo>
                    <a:pt x="159" y="313"/>
                  </a:lnTo>
                  <a:lnTo>
                    <a:pt x="156" y="313"/>
                  </a:lnTo>
                  <a:lnTo>
                    <a:pt x="151" y="313"/>
                  </a:lnTo>
                  <a:lnTo>
                    <a:pt x="147" y="313"/>
                  </a:lnTo>
                  <a:lnTo>
                    <a:pt x="142" y="313"/>
                  </a:lnTo>
                  <a:lnTo>
                    <a:pt x="141" y="313"/>
                  </a:lnTo>
                  <a:lnTo>
                    <a:pt x="134" y="313"/>
                  </a:lnTo>
                  <a:lnTo>
                    <a:pt x="132" y="311"/>
                  </a:lnTo>
                  <a:lnTo>
                    <a:pt x="130" y="311"/>
                  </a:lnTo>
                  <a:lnTo>
                    <a:pt x="129" y="311"/>
                  </a:lnTo>
                  <a:lnTo>
                    <a:pt x="123" y="311"/>
                  </a:lnTo>
                  <a:lnTo>
                    <a:pt x="118" y="311"/>
                  </a:lnTo>
                  <a:lnTo>
                    <a:pt x="116" y="311"/>
                  </a:lnTo>
                  <a:lnTo>
                    <a:pt x="115" y="311"/>
                  </a:lnTo>
                  <a:lnTo>
                    <a:pt x="111" y="311"/>
                  </a:lnTo>
                  <a:lnTo>
                    <a:pt x="106" y="311"/>
                  </a:lnTo>
                  <a:lnTo>
                    <a:pt x="103" y="311"/>
                  </a:lnTo>
                  <a:lnTo>
                    <a:pt x="103" y="311"/>
                  </a:lnTo>
                  <a:lnTo>
                    <a:pt x="96" y="311"/>
                  </a:lnTo>
                  <a:lnTo>
                    <a:pt x="94" y="311"/>
                  </a:lnTo>
                  <a:lnTo>
                    <a:pt x="84" y="310"/>
                  </a:lnTo>
                  <a:lnTo>
                    <a:pt x="79" y="310"/>
                  </a:lnTo>
                  <a:lnTo>
                    <a:pt x="73" y="310"/>
                  </a:lnTo>
                  <a:lnTo>
                    <a:pt x="72" y="310"/>
                  </a:lnTo>
                  <a:lnTo>
                    <a:pt x="67" y="310"/>
                  </a:lnTo>
                  <a:lnTo>
                    <a:pt x="61" y="310"/>
                  </a:lnTo>
                  <a:lnTo>
                    <a:pt x="56" y="310"/>
                  </a:lnTo>
                  <a:lnTo>
                    <a:pt x="53" y="310"/>
                  </a:lnTo>
                  <a:lnTo>
                    <a:pt x="46" y="310"/>
                  </a:lnTo>
                  <a:lnTo>
                    <a:pt x="43" y="310"/>
                  </a:lnTo>
                  <a:lnTo>
                    <a:pt x="36" y="308"/>
                  </a:lnTo>
                  <a:lnTo>
                    <a:pt x="30" y="308"/>
                  </a:lnTo>
                  <a:lnTo>
                    <a:pt x="29" y="308"/>
                  </a:lnTo>
                  <a:lnTo>
                    <a:pt x="27" y="308"/>
                  </a:lnTo>
                  <a:lnTo>
                    <a:pt x="27" y="308"/>
                  </a:lnTo>
                  <a:lnTo>
                    <a:pt x="22" y="308"/>
                  </a:lnTo>
                  <a:lnTo>
                    <a:pt x="20" y="308"/>
                  </a:lnTo>
                  <a:lnTo>
                    <a:pt x="13" y="308"/>
                  </a:lnTo>
                  <a:lnTo>
                    <a:pt x="5" y="308"/>
                  </a:lnTo>
                  <a:lnTo>
                    <a:pt x="5" y="304"/>
                  </a:lnTo>
                  <a:lnTo>
                    <a:pt x="5" y="303"/>
                  </a:lnTo>
                  <a:lnTo>
                    <a:pt x="5" y="301"/>
                  </a:lnTo>
                  <a:lnTo>
                    <a:pt x="5" y="299"/>
                  </a:lnTo>
                  <a:lnTo>
                    <a:pt x="5" y="298"/>
                  </a:lnTo>
                  <a:lnTo>
                    <a:pt x="6" y="291"/>
                  </a:lnTo>
                  <a:lnTo>
                    <a:pt x="6" y="286"/>
                  </a:lnTo>
                  <a:lnTo>
                    <a:pt x="6" y="268"/>
                  </a:lnTo>
                  <a:lnTo>
                    <a:pt x="6" y="267"/>
                  </a:lnTo>
                  <a:lnTo>
                    <a:pt x="6" y="265"/>
                  </a:lnTo>
                  <a:lnTo>
                    <a:pt x="6" y="263"/>
                  </a:lnTo>
                  <a:lnTo>
                    <a:pt x="6" y="261"/>
                  </a:lnTo>
                  <a:lnTo>
                    <a:pt x="6" y="260"/>
                  </a:lnTo>
                  <a:lnTo>
                    <a:pt x="6" y="260"/>
                  </a:lnTo>
                  <a:lnTo>
                    <a:pt x="6" y="258"/>
                  </a:lnTo>
                  <a:lnTo>
                    <a:pt x="6" y="253"/>
                  </a:lnTo>
                  <a:lnTo>
                    <a:pt x="6" y="249"/>
                  </a:lnTo>
                  <a:lnTo>
                    <a:pt x="8" y="249"/>
                  </a:lnTo>
                  <a:lnTo>
                    <a:pt x="8" y="246"/>
                  </a:lnTo>
                  <a:lnTo>
                    <a:pt x="8" y="243"/>
                  </a:lnTo>
                  <a:lnTo>
                    <a:pt x="8" y="241"/>
                  </a:lnTo>
                  <a:lnTo>
                    <a:pt x="8" y="236"/>
                  </a:lnTo>
                  <a:lnTo>
                    <a:pt x="8" y="232"/>
                  </a:lnTo>
                  <a:lnTo>
                    <a:pt x="8" y="225"/>
                  </a:lnTo>
                  <a:lnTo>
                    <a:pt x="8" y="224"/>
                  </a:lnTo>
                  <a:lnTo>
                    <a:pt x="8" y="222"/>
                  </a:lnTo>
                  <a:lnTo>
                    <a:pt x="8" y="218"/>
                  </a:lnTo>
                  <a:lnTo>
                    <a:pt x="8" y="213"/>
                  </a:lnTo>
                  <a:lnTo>
                    <a:pt x="8" y="212"/>
                  </a:lnTo>
                  <a:lnTo>
                    <a:pt x="10" y="203"/>
                  </a:lnTo>
                  <a:lnTo>
                    <a:pt x="10" y="200"/>
                  </a:lnTo>
                  <a:lnTo>
                    <a:pt x="10" y="200"/>
                  </a:lnTo>
                  <a:lnTo>
                    <a:pt x="10" y="196"/>
                  </a:lnTo>
                  <a:lnTo>
                    <a:pt x="10" y="194"/>
                  </a:lnTo>
                  <a:lnTo>
                    <a:pt x="10" y="191"/>
                  </a:lnTo>
                  <a:lnTo>
                    <a:pt x="10" y="184"/>
                  </a:lnTo>
                  <a:lnTo>
                    <a:pt x="10" y="182"/>
                  </a:lnTo>
                  <a:lnTo>
                    <a:pt x="10" y="181"/>
                  </a:lnTo>
                  <a:lnTo>
                    <a:pt x="10" y="179"/>
                  </a:lnTo>
                  <a:lnTo>
                    <a:pt x="10" y="177"/>
                  </a:lnTo>
                  <a:lnTo>
                    <a:pt x="10" y="175"/>
                  </a:lnTo>
                  <a:lnTo>
                    <a:pt x="10" y="174"/>
                  </a:lnTo>
                  <a:lnTo>
                    <a:pt x="10" y="170"/>
                  </a:lnTo>
                  <a:lnTo>
                    <a:pt x="10" y="169"/>
                  </a:lnTo>
                  <a:lnTo>
                    <a:pt x="10" y="169"/>
                  </a:lnTo>
                  <a:lnTo>
                    <a:pt x="12" y="163"/>
                  </a:lnTo>
                  <a:lnTo>
                    <a:pt x="12" y="158"/>
                  </a:lnTo>
                  <a:lnTo>
                    <a:pt x="12" y="155"/>
                  </a:lnTo>
                  <a:lnTo>
                    <a:pt x="12" y="153"/>
                  </a:lnTo>
                  <a:lnTo>
                    <a:pt x="12" y="146"/>
                  </a:lnTo>
                  <a:lnTo>
                    <a:pt x="12" y="141"/>
                  </a:lnTo>
                  <a:lnTo>
                    <a:pt x="12" y="139"/>
                  </a:lnTo>
                  <a:lnTo>
                    <a:pt x="12" y="139"/>
                  </a:lnTo>
                  <a:lnTo>
                    <a:pt x="12" y="131"/>
                  </a:lnTo>
                  <a:lnTo>
                    <a:pt x="12" y="124"/>
                  </a:lnTo>
                  <a:lnTo>
                    <a:pt x="12" y="119"/>
                  </a:lnTo>
                  <a:lnTo>
                    <a:pt x="12" y="114"/>
                  </a:lnTo>
                  <a:lnTo>
                    <a:pt x="12" y="112"/>
                  </a:lnTo>
                  <a:lnTo>
                    <a:pt x="12" y="108"/>
                  </a:lnTo>
                  <a:lnTo>
                    <a:pt x="12" y="108"/>
                  </a:lnTo>
                  <a:lnTo>
                    <a:pt x="12" y="105"/>
                  </a:lnTo>
                  <a:lnTo>
                    <a:pt x="12" y="101"/>
                  </a:lnTo>
                  <a:lnTo>
                    <a:pt x="12" y="93"/>
                  </a:lnTo>
                  <a:lnTo>
                    <a:pt x="13" y="83"/>
                  </a:lnTo>
                  <a:lnTo>
                    <a:pt x="13" y="81"/>
                  </a:lnTo>
                  <a:lnTo>
                    <a:pt x="13" y="74"/>
                  </a:lnTo>
                  <a:lnTo>
                    <a:pt x="13" y="72"/>
                  </a:lnTo>
                  <a:lnTo>
                    <a:pt x="13" y="71"/>
                  </a:lnTo>
                  <a:lnTo>
                    <a:pt x="13" y="65"/>
                  </a:lnTo>
                  <a:lnTo>
                    <a:pt x="12" y="65"/>
                  </a:lnTo>
                  <a:lnTo>
                    <a:pt x="10" y="65"/>
                  </a:lnTo>
                  <a:lnTo>
                    <a:pt x="8" y="65"/>
                  </a:lnTo>
                  <a:lnTo>
                    <a:pt x="6" y="65"/>
                  </a:lnTo>
                  <a:lnTo>
                    <a:pt x="5" y="65"/>
                  </a:lnTo>
                  <a:lnTo>
                    <a:pt x="0" y="65"/>
                  </a:lnTo>
                  <a:lnTo>
                    <a:pt x="0" y="62"/>
                  </a:lnTo>
                  <a:lnTo>
                    <a:pt x="0" y="60"/>
                  </a:lnTo>
                  <a:lnTo>
                    <a:pt x="0" y="55"/>
                  </a:lnTo>
                  <a:lnTo>
                    <a:pt x="0" y="46"/>
                  </a:lnTo>
                  <a:lnTo>
                    <a:pt x="1" y="41"/>
                  </a:lnTo>
                  <a:lnTo>
                    <a:pt x="1" y="38"/>
                  </a:lnTo>
                  <a:lnTo>
                    <a:pt x="1" y="36"/>
                  </a:lnTo>
                  <a:lnTo>
                    <a:pt x="1" y="33"/>
                  </a:lnTo>
                  <a:lnTo>
                    <a:pt x="1" y="24"/>
                  </a:lnTo>
                  <a:lnTo>
                    <a:pt x="1" y="17"/>
                  </a:lnTo>
                  <a:lnTo>
                    <a:pt x="1" y="17"/>
                  </a:lnTo>
                  <a:lnTo>
                    <a:pt x="1" y="10"/>
                  </a:lnTo>
                  <a:lnTo>
                    <a:pt x="3" y="3"/>
                  </a:lnTo>
                  <a:lnTo>
                    <a:pt x="3" y="3"/>
                  </a:lnTo>
                  <a:lnTo>
                    <a:pt x="3" y="0"/>
                  </a:lnTo>
                  <a:lnTo>
                    <a:pt x="5" y="0"/>
                  </a:lnTo>
                  <a:lnTo>
                    <a:pt x="6" y="0"/>
                  </a:lnTo>
                  <a:lnTo>
                    <a:pt x="8" y="0"/>
                  </a:lnTo>
                  <a:lnTo>
                    <a:pt x="10" y="0"/>
                  </a:lnTo>
                  <a:lnTo>
                    <a:pt x="13" y="0"/>
                  </a:lnTo>
                  <a:lnTo>
                    <a:pt x="20" y="0"/>
                  </a:lnTo>
                  <a:lnTo>
                    <a:pt x="27" y="0"/>
                  </a:lnTo>
                  <a:lnTo>
                    <a:pt x="29" y="0"/>
                  </a:lnTo>
                  <a:lnTo>
                    <a:pt x="32" y="0"/>
                  </a:lnTo>
                  <a:lnTo>
                    <a:pt x="37" y="2"/>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0" name="Freeform 176"/>
            <p:cNvSpPr>
              <a:spLocks/>
            </p:cNvSpPr>
            <p:nvPr/>
          </p:nvSpPr>
          <p:spPr bwMode="auto">
            <a:xfrm>
              <a:off x="3598159" y="2555669"/>
              <a:ext cx="485775" cy="495300"/>
            </a:xfrm>
            <a:custGeom>
              <a:avLst/>
              <a:gdLst/>
              <a:ahLst/>
              <a:cxnLst>
                <a:cxn ang="0">
                  <a:pos x="29" y="85"/>
                </a:cxn>
                <a:cxn ang="0">
                  <a:pos x="53" y="64"/>
                </a:cxn>
                <a:cxn ang="0">
                  <a:pos x="77" y="68"/>
                </a:cxn>
                <a:cxn ang="0">
                  <a:pos x="94" y="85"/>
                </a:cxn>
                <a:cxn ang="0">
                  <a:pos x="117" y="64"/>
                </a:cxn>
                <a:cxn ang="0">
                  <a:pos x="127" y="47"/>
                </a:cxn>
                <a:cxn ang="0">
                  <a:pos x="131" y="30"/>
                </a:cxn>
                <a:cxn ang="0">
                  <a:pos x="143" y="54"/>
                </a:cxn>
                <a:cxn ang="0">
                  <a:pos x="156" y="49"/>
                </a:cxn>
                <a:cxn ang="0">
                  <a:pos x="172" y="33"/>
                </a:cxn>
                <a:cxn ang="0">
                  <a:pos x="179" y="16"/>
                </a:cxn>
                <a:cxn ang="0">
                  <a:pos x="186" y="4"/>
                </a:cxn>
                <a:cxn ang="0">
                  <a:pos x="194" y="0"/>
                </a:cxn>
                <a:cxn ang="0">
                  <a:pos x="208" y="0"/>
                </a:cxn>
                <a:cxn ang="0">
                  <a:pos x="218" y="2"/>
                </a:cxn>
                <a:cxn ang="0">
                  <a:pos x="227" y="11"/>
                </a:cxn>
                <a:cxn ang="0">
                  <a:pos x="237" y="21"/>
                </a:cxn>
                <a:cxn ang="0">
                  <a:pos x="248" y="23"/>
                </a:cxn>
                <a:cxn ang="0">
                  <a:pos x="258" y="18"/>
                </a:cxn>
                <a:cxn ang="0">
                  <a:pos x="266" y="19"/>
                </a:cxn>
                <a:cxn ang="0">
                  <a:pos x="263" y="31"/>
                </a:cxn>
                <a:cxn ang="0">
                  <a:pos x="256" y="37"/>
                </a:cxn>
                <a:cxn ang="0">
                  <a:pos x="261" y="45"/>
                </a:cxn>
                <a:cxn ang="0">
                  <a:pos x="277" y="49"/>
                </a:cxn>
                <a:cxn ang="0">
                  <a:pos x="289" y="52"/>
                </a:cxn>
                <a:cxn ang="0">
                  <a:pos x="301" y="68"/>
                </a:cxn>
                <a:cxn ang="0">
                  <a:pos x="304" y="97"/>
                </a:cxn>
                <a:cxn ang="0">
                  <a:pos x="303" y="143"/>
                </a:cxn>
                <a:cxn ang="0">
                  <a:pos x="301" y="176"/>
                </a:cxn>
                <a:cxn ang="0">
                  <a:pos x="299" y="191"/>
                </a:cxn>
                <a:cxn ang="0">
                  <a:pos x="297" y="224"/>
                </a:cxn>
                <a:cxn ang="0">
                  <a:pos x="296" y="265"/>
                </a:cxn>
                <a:cxn ang="0">
                  <a:pos x="294" y="312"/>
                </a:cxn>
                <a:cxn ang="0">
                  <a:pos x="270" y="310"/>
                </a:cxn>
                <a:cxn ang="0">
                  <a:pos x="237" y="308"/>
                </a:cxn>
                <a:cxn ang="0">
                  <a:pos x="215" y="308"/>
                </a:cxn>
                <a:cxn ang="0">
                  <a:pos x="174" y="307"/>
                </a:cxn>
                <a:cxn ang="0">
                  <a:pos x="146" y="305"/>
                </a:cxn>
                <a:cxn ang="0">
                  <a:pos x="132" y="305"/>
                </a:cxn>
                <a:cxn ang="0">
                  <a:pos x="108" y="305"/>
                </a:cxn>
                <a:cxn ang="0">
                  <a:pos x="70" y="302"/>
                </a:cxn>
                <a:cxn ang="0">
                  <a:pos x="55" y="300"/>
                </a:cxn>
                <a:cxn ang="0">
                  <a:pos x="39" y="300"/>
                </a:cxn>
                <a:cxn ang="0">
                  <a:pos x="26" y="298"/>
                </a:cxn>
                <a:cxn ang="0">
                  <a:pos x="0" y="293"/>
                </a:cxn>
                <a:cxn ang="0">
                  <a:pos x="0" y="271"/>
                </a:cxn>
                <a:cxn ang="0">
                  <a:pos x="0" y="253"/>
                </a:cxn>
                <a:cxn ang="0">
                  <a:pos x="2" y="240"/>
                </a:cxn>
                <a:cxn ang="0">
                  <a:pos x="2" y="228"/>
                </a:cxn>
                <a:cxn ang="0">
                  <a:pos x="2" y="212"/>
                </a:cxn>
                <a:cxn ang="0">
                  <a:pos x="2" y="200"/>
                </a:cxn>
                <a:cxn ang="0">
                  <a:pos x="2" y="185"/>
                </a:cxn>
                <a:cxn ang="0">
                  <a:pos x="2" y="169"/>
                </a:cxn>
                <a:cxn ang="0">
                  <a:pos x="3" y="155"/>
                </a:cxn>
                <a:cxn ang="0">
                  <a:pos x="3" y="143"/>
                </a:cxn>
                <a:cxn ang="0">
                  <a:pos x="3" y="131"/>
                </a:cxn>
                <a:cxn ang="0">
                  <a:pos x="3" y="119"/>
                </a:cxn>
                <a:cxn ang="0">
                  <a:pos x="3" y="102"/>
                </a:cxn>
                <a:cxn ang="0">
                  <a:pos x="3" y="95"/>
                </a:cxn>
              </a:cxnLst>
              <a:rect l="0" t="0" r="r" b="b"/>
              <a:pathLst>
                <a:path w="306" h="312">
                  <a:moveTo>
                    <a:pt x="5" y="92"/>
                  </a:moveTo>
                  <a:lnTo>
                    <a:pt x="5" y="93"/>
                  </a:lnTo>
                  <a:lnTo>
                    <a:pt x="8" y="95"/>
                  </a:lnTo>
                  <a:lnTo>
                    <a:pt x="14" y="93"/>
                  </a:lnTo>
                  <a:lnTo>
                    <a:pt x="15" y="92"/>
                  </a:lnTo>
                  <a:lnTo>
                    <a:pt x="19" y="90"/>
                  </a:lnTo>
                  <a:lnTo>
                    <a:pt x="21" y="88"/>
                  </a:lnTo>
                  <a:lnTo>
                    <a:pt x="29" y="85"/>
                  </a:lnTo>
                  <a:lnTo>
                    <a:pt x="29" y="83"/>
                  </a:lnTo>
                  <a:lnTo>
                    <a:pt x="36" y="80"/>
                  </a:lnTo>
                  <a:lnTo>
                    <a:pt x="39" y="76"/>
                  </a:lnTo>
                  <a:lnTo>
                    <a:pt x="45" y="69"/>
                  </a:lnTo>
                  <a:lnTo>
                    <a:pt x="48" y="68"/>
                  </a:lnTo>
                  <a:lnTo>
                    <a:pt x="48" y="66"/>
                  </a:lnTo>
                  <a:lnTo>
                    <a:pt x="50" y="66"/>
                  </a:lnTo>
                  <a:lnTo>
                    <a:pt x="53" y="64"/>
                  </a:lnTo>
                  <a:lnTo>
                    <a:pt x="55" y="64"/>
                  </a:lnTo>
                  <a:lnTo>
                    <a:pt x="58" y="64"/>
                  </a:lnTo>
                  <a:lnTo>
                    <a:pt x="62" y="64"/>
                  </a:lnTo>
                  <a:lnTo>
                    <a:pt x="65" y="64"/>
                  </a:lnTo>
                  <a:lnTo>
                    <a:pt x="69" y="64"/>
                  </a:lnTo>
                  <a:lnTo>
                    <a:pt x="70" y="64"/>
                  </a:lnTo>
                  <a:lnTo>
                    <a:pt x="74" y="64"/>
                  </a:lnTo>
                  <a:lnTo>
                    <a:pt x="77" y="68"/>
                  </a:lnTo>
                  <a:lnTo>
                    <a:pt x="79" y="71"/>
                  </a:lnTo>
                  <a:lnTo>
                    <a:pt x="82" y="74"/>
                  </a:lnTo>
                  <a:lnTo>
                    <a:pt x="86" y="80"/>
                  </a:lnTo>
                  <a:lnTo>
                    <a:pt x="88" y="85"/>
                  </a:lnTo>
                  <a:lnTo>
                    <a:pt x="89" y="85"/>
                  </a:lnTo>
                  <a:lnTo>
                    <a:pt x="91" y="88"/>
                  </a:lnTo>
                  <a:lnTo>
                    <a:pt x="94" y="86"/>
                  </a:lnTo>
                  <a:lnTo>
                    <a:pt x="94" y="85"/>
                  </a:lnTo>
                  <a:lnTo>
                    <a:pt x="98" y="81"/>
                  </a:lnTo>
                  <a:lnTo>
                    <a:pt x="103" y="80"/>
                  </a:lnTo>
                  <a:lnTo>
                    <a:pt x="105" y="80"/>
                  </a:lnTo>
                  <a:lnTo>
                    <a:pt x="110" y="74"/>
                  </a:lnTo>
                  <a:lnTo>
                    <a:pt x="112" y="71"/>
                  </a:lnTo>
                  <a:lnTo>
                    <a:pt x="113" y="69"/>
                  </a:lnTo>
                  <a:lnTo>
                    <a:pt x="115" y="66"/>
                  </a:lnTo>
                  <a:lnTo>
                    <a:pt x="117" y="64"/>
                  </a:lnTo>
                  <a:lnTo>
                    <a:pt x="120" y="61"/>
                  </a:lnTo>
                  <a:lnTo>
                    <a:pt x="124" y="59"/>
                  </a:lnTo>
                  <a:lnTo>
                    <a:pt x="124" y="57"/>
                  </a:lnTo>
                  <a:lnTo>
                    <a:pt x="125" y="55"/>
                  </a:lnTo>
                  <a:lnTo>
                    <a:pt x="125" y="54"/>
                  </a:lnTo>
                  <a:lnTo>
                    <a:pt x="127" y="52"/>
                  </a:lnTo>
                  <a:lnTo>
                    <a:pt x="127" y="50"/>
                  </a:lnTo>
                  <a:lnTo>
                    <a:pt x="127" y="47"/>
                  </a:lnTo>
                  <a:lnTo>
                    <a:pt x="127" y="45"/>
                  </a:lnTo>
                  <a:lnTo>
                    <a:pt x="125" y="42"/>
                  </a:lnTo>
                  <a:lnTo>
                    <a:pt x="125" y="40"/>
                  </a:lnTo>
                  <a:lnTo>
                    <a:pt x="124" y="33"/>
                  </a:lnTo>
                  <a:lnTo>
                    <a:pt x="124" y="31"/>
                  </a:lnTo>
                  <a:lnTo>
                    <a:pt x="125" y="31"/>
                  </a:lnTo>
                  <a:lnTo>
                    <a:pt x="127" y="30"/>
                  </a:lnTo>
                  <a:lnTo>
                    <a:pt x="131" y="30"/>
                  </a:lnTo>
                  <a:lnTo>
                    <a:pt x="136" y="33"/>
                  </a:lnTo>
                  <a:lnTo>
                    <a:pt x="136" y="35"/>
                  </a:lnTo>
                  <a:lnTo>
                    <a:pt x="137" y="37"/>
                  </a:lnTo>
                  <a:lnTo>
                    <a:pt x="139" y="47"/>
                  </a:lnTo>
                  <a:lnTo>
                    <a:pt x="141" y="49"/>
                  </a:lnTo>
                  <a:lnTo>
                    <a:pt x="143" y="50"/>
                  </a:lnTo>
                  <a:lnTo>
                    <a:pt x="143" y="52"/>
                  </a:lnTo>
                  <a:lnTo>
                    <a:pt x="143" y="54"/>
                  </a:lnTo>
                  <a:lnTo>
                    <a:pt x="144" y="55"/>
                  </a:lnTo>
                  <a:lnTo>
                    <a:pt x="144" y="57"/>
                  </a:lnTo>
                  <a:lnTo>
                    <a:pt x="148" y="57"/>
                  </a:lnTo>
                  <a:lnTo>
                    <a:pt x="150" y="57"/>
                  </a:lnTo>
                  <a:lnTo>
                    <a:pt x="151" y="55"/>
                  </a:lnTo>
                  <a:lnTo>
                    <a:pt x="153" y="54"/>
                  </a:lnTo>
                  <a:lnTo>
                    <a:pt x="155" y="50"/>
                  </a:lnTo>
                  <a:lnTo>
                    <a:pt x="156" y="49"/>
                  </a:lnTo>
                  <a:lnTo>
                    <a:pt x="156" y="49"/>
                  </a:lnTo>
                  <a:lnTo>
                    <a:pt x="162" y="47"/>
                  </a:lnTo>
                  <a:lnTo>
                    <a:pt x="162" y="45"/>
                  </a:lnTo>
                  <a:lnTo>
                    <a:pt x="167" y="40"/>
                  </a:lnTo>
                  <a:lnTo>
                    <a:pt x="168" y="38"/>
                  </a:lnTo>
                  <a:lnTo>
                    <a:pt x="170" y="37"/>
                  </a:lnTo>
                  <a:lnTo>
                    <a:pt x="170" y="35"/>
                  </a:lnTo>
                  <a:lnTo>
                    <a:pt x="172" y="33"/>
                  </a:lnTo>
                  <a:lnTo>
                    <a:pt x="174" y="31"/>
                  </a:lnTo>
                  <a:lnTo>
                    <a:pt x="174" y="30"/>
                  </a:lnTo>
                  <a:lnTo>
                    <a:pt x="175" y="28"/>
                  </a:lnTo>
                  <a:lnTo>
                    <a:pt x="175" y="26"/>
                  </a:lnTo>
                  <a:lnTo>
                    <a:pt x="177" y="25"/>
                  </a:lnTo>
                  <a:lnTo>
                    <a:pt x="177" y="21"/>
                  </a:lnTo>
                  <a:lnTo>
                    <a:pt x="179" y="18"/>
                  </a:lnTo>
                  <a:lnTo>
                    <a:pt x="179" y="16"/>
                  </a:lnTo>
                  <a:lnTo>
                    <a:pt x="179" y="14"/>
                  </a:lnTo>
                  <a:lnTo>
                    <a:pt x="180" y="12"/>
                  </a:lnTo>
                  <a:lnTo>
                    <a:pt x="180" y="11"/>
                  </a:lnTo>
                  <a:lnTo>
                    <a:pt x="182" y="9"/>
                  </a:lnTo>
                  <a:lnTo>
                    <a:pt x="184" y="7"/>
                  </a:lnTo>
                  <a:lnTo>
                    <a:pt x="184" y="6"/>
                  </a:lnTo>
                  <a:lnTo>
                    <a:pt x="186" y="6"/>
                  </a:lnTo>
                  <a:lnTo>
                    <a:pt x="186" y="4"/>
                  </a:lnTo>
                  <a:lnTo>
                    <a:pt x="186" y="4"/>
                  </a:lnTo>
                  <a:lnTo>
                    <a:pt x="187" y="4"/>
                  </a:lnTo>
                  <a:lnTo>
                    <a:pt x="187" y="2"/>
                  </a:lnTo>
                  <a:lnTo>
                    <a:pt x="189" y="2"/>
                  </a:lnTo>
                  <a:lnTo>
                    <a:pt x="191" y="2"/>
                  </a:lnTo>
                  <a:lnTo>
                    <a:pt x="191" y="0"/>
                  </a:lnTo>
                  <a:lnTo>
                    <a:pt x="193" y="0"/>
                  </a:lnTo>
                  <a:lnTo>
                    <a:pt x="194" y="0"/>
                  </a:lnTo>
                  <a:lnTo>
                    <a:pt x="196" y="0"/>
                  </a:lnTo>
                  <a:lnTo>
                    <a:pt x="198" y="0"/>
                  </a:lnTo>
                  <a:lnTo>
                    <a:pt x="199" y="0"/>
                  </a:lnTo>
                  <a:lnTo>
                    <a:pt x="201" y="0"/>
                  </a:lnTo>
                  <a:lnTo>
                    <a:pt x="201" y="0"/>
                  </a:lnTo>
                  <a:lnTo>
                    <a:pt x="205" y="0"/>
                  </a:lnTo>
                  <a:lnTo>
                    <a:pt x="206" y="0"/>
                  </a:lnTo>
                  <a:lnTo>
                    <a:pt x="208" y="0"/>
                  </a:lnTo>
                  <a:lnTo>
                    <a:pt x="210" y="0"/>
                  </a:lnTo>
                  <a:lnTo>
                    <a:pt x="211" y="0"/>
                  </a:lnTo>
                  <a:lnTo>
                    <a:pt x="213" y="0"/>
                  </a:lnTo>
                  <a:lnTo>
                    <a:pt x="215" y="0"/>
                  </a:lnTo>
                  <a:lnTo>
                    <a:pt x="215" y="0"/>
                  </a:lnTo>
                  <a:lnTo>
                    <a:pt x="217" y="0"/>
                  </a:lnTo>
                  <a:lnTo>
                    <a:pt x="217" y="2"/>
                  </a:lnTo>
                  <a:lnTo>
                    <a:pt x="218" y="2"/>
                  </a:lnTo>
                  <a:lnTo>
                    <a:pt x="220" y="2"/>
                  </a:lnTo>
                  <a:lnTo>
                    <a:pt x="220" y="4"/>
                  </a:lnTo>
                  <a:lnTo>
                    <a:pt x="222" y="4"/>
                  </a:lnTo>
                  <a:lnTo>
                    <a:pt x="223" y="4"/>
                  </a:lnTo>
                  <a:lnTo>
                    <a:pt x="225" y="4"/>
                  </a:lnTo>
                  <a:lnTo>
                    <a:pt x="225" y="6"/>
                  </a:lnTo>
                  <a:lnTo>
                    <a:pt x="225" y="7"/>
                  </a:lnTo>
                  <a:lnTo>
                    <a:pt x="227" y="11"/>
                  </a:lnTo>
                  <a:lnTo>
                    <a:pt x="229" y="12"/>
                  </a:lnTo>
                  <a:lnTo>
                    <a:pt x="229" y="14"/>
                  </a:lnTo>
                  <a:lnTo>
                    <a:pt x="230" y="16"/>
                  </a:lnTo>
                  <a:lnTo>
                    <a:pt x="230" y="18"/>
                  </a:lnTo>
                  <a:lnTo>
                    <a:pt x="232" y="19"/>
                  </a:lnTo>
                  <a:lnTo>
                    <a:pt x="234" y="19"/>
                  </a:lnTo>
                  <a:lnTo>
                    <a:pt x="236" y="21"/>
                  </a:lnTo>
                  <a:lnTo>
                    <a:pt x="237" y="21"/>
                  </a:lnTo>
                  <a:lnTo>
                    <a:pt x="239" y="21"/>
                  </a:lnTo>
                  <a:lnTo>
                    <a:pt x="239" y="23"/>
                  </a:lnTo>
                  <a:lnTo>
                    <a:pt x="241" y="23"/>
                  </a:lnTo>
                  <a:lnTo>
                    <a:pt x="242" y="23"/>
                  </a:lnTo>
                  <a:lnTo>
                    <a:pt x="244" y="23"/>
                  </a:lnTo>
                  <a:lnTo>
                    <a:pt x="246" y="23"/>
                  </a:lnTo>
                  <a:lnTo>
                    <a:pt x="246" y="23"/>
                  </a:lnTo>
                  <a:lnTo>
                    <a:pt x="248" y="23"/>
                  </a:lnTo>
                  <a:lnTo>
                    <a:pt x="248" y="21"/>
                  </a:lnTo>
                  <a:lnTo>
                    <a:pt x="249" y="21"/>
                  </a:lnTo>
                  <a:lnTo>
                    <a:pt x="251" y="19"/>
                  </a:lnTo>
                  <a:lnTo>
                    <a:pt x="253" y="19"/>
                  </a:lnTo>
                  <a:lnTo>
                    <a:pt x="253" y="19"/>
                  </a:lnTo>
                  <a:lnTo>
                    <a:pt x="254" y="19"/>
                  </a:lnTo>
                  <a:lnTo>
                    <a:pt x="256" y="19"/>
                  </a:lnTo>
                  <a:lnTo>
                    <a:pt x="258" y="18"/>
                  </a:lnTo>
                  <a:lnTo>
                    <a:pt x="260" y="18"/>
                  </a:lnTo>
                  <a:lnTo>
                    <a:pt x="261" y="18"/>
                  </a:lnTo>
                  <a:lnTo>
                    <a:pt x="261" y="19"/>
                  </a:lnTo>
                  <a:lnTo>
                    <a:pt x="261" y="18"/>
                  </a:lnTo>
                  <a:lnTo>
                    <a:pt x="261" y="19"/>
                  </a:lnTo>
                  <a:lnTo>
                    <a:pt x="263" y="19"/>
                  </a:lnTo>
                  <a:lnTo>
                    <a:pt x="265" y="19"/>
                  </a:lnTo>
                  <a:lnTo>
                    <a:pt x="266" y="19"/>
                  </a:lnTo>
                  <a:lnTo>
                    <a:pt x="266" y="19"/>
                  </a:lnTo>
                  <a:lnTo>
                    <a:pt x="266" y="21"/>
                  </a:lnTo>
                  <a:lnTo>
                    <a:pt x="266" y="23"/>
                  </a:lnTo>
                  <a:lnTo>
                    <a:pt x="266" y="25"/>
                  </a:lnTo>
                  <a:lnTo>
                    <a:pt x="265" y="26"/>
                  </a:lnTo>
                  <a:lnTo>
                    <a:pt x="265" y="28"/>
                  </a:lnTo>
                  <a:lnTo>
                    <a:pt x="263" y="30"/>
                  </a:lnTo>
                  <a:lnTo>
                    <a:pt x="263" y="31"/>
                  </a:lnTo>
                  <a:lnTo>
                    <a:pt x="261" y="33"/>
                  </a:lnTo>
                  <a:lnTo>
                    <a:pt x="261" y="33"/>
                  </a:lnTo>
                  <a:lnTo>
                    <a:pt x="261" y="35"/>
                  </a:lnTo>
                  <a:lnTo>
                    <a:pt x="260" y="35"/>
                  </a:lnTo>
                  <a:lnTo>
                    <a:pt x="260" y="35"/>
                  </a:lnTo>
                  <a:lnTo>
                    <a:pt x="258" y="35"/>
                  </a:lnTo>
                  <a:lnTo>
                    <a:pt x="258" y="37"/>
                  </a:lnTo>
                  <a:lnTo>
                    <a:pt x="256" y="37"/>
                  </a:lnTo>
                  <a:lnTo>
                    <a:pt x="256" y="38"/>
                  </a:lnTo>
                  <a:lnTo>
                    <a:pt x="256" y="40"/>
                  </a:lnTo>
                  <a:lnTo>
                    <a:pt x="256" y="42"/>
                  </a:lnTo>
                  <a:lnTo>
                    <a:pt x="256" y="43"/>
                  </a:lnTo>
                  <a:lnTo>
                    <a:pt x="258" y="43"/>
                  </a:lnTo>
                  <a:lnTo>
                    <a:pt x="258" y="45"/>
                  </a:lnTo>
                  <a:lnTo>
                    <a:pt x="260" y="45"/>
                  </a:lnTo>
                  <a:lnTo>
                    <a:pt x="261" y="45"/>
                  </a:lnTo>
                  <a:lnTo>
                    <a:pt x="261" y="45"/>
                  </a:lnTo>
                  <a:lnTo>
                    <a:pt x="263" y="47"/>
                  </a:lnTo>
                  <a:lnTo>
                    <a:pt x="266" y="47"/>
                  </a:lnTo>
                  <a:lnTo>
                    <a:pt x="268" y="47"/>
                  </a:lnTo>
                  <a:lnTo>
                    <a:pt x="270" y="47"/>
                  </a:lnTo>
                  <a:lnTo>
                    <a:pt x="273" y="47"/>
                  </a:lnTo>
                  <a:lnTo>
                    <a:pt x="275" y="49"/>
                  </a:lnTo>
                  <a:lnTo>
                    <a:pt x="277" y="49"/>
                  </a:lnTo>
                  <a:lnTo>
                    <a:pt x="279" y="49"/>
                  </a:lnTo>
                  <a:lnTo>
                    <a:pt x="280" y="49"/>
                  </a:lnTo>
                  <a:lnTo>
                    <a:pt x="282" y="49"/>
                  </a:lnTo>
                  <a:lnTo>
                    <a:pt x="284" y="49"/>
                  </a:lnTo>
                  <a:lnTo>
                    <a:pt x="285" y="49"/>
                  </a:lnTo>
                  <a:lnTo>
                    <a:pt x="287" y="50"/>
                  </a:lnTo>
                  <a:lnTo>
                    <a:pt x="289" y="50"/>
                  </a:lnTo>
                  <a:lnTo>
                    <a:pt x="289" y="52"/>
                  </a:lnTo>
                  <a:lnTo>
                    <a:pt x="291" y="52"/>
                  </a:lnTo>
                  <a:lnTo>
                    <a:pt x="291" y="54"/>
                  </a:lnTo>
                  <a:lnTo>
                    <a:pt x="291" y="55"/>
                  </a:lnTo>
                  <a:lnTo>
                    <a:pt x="292" y="55"/>
                  </a:lnTo>
                  <a:lnTo>
                    <a:pt x="292" y="57"/>
                  </a:lnTo>
                  <a:lnTo>
                    <a:pt x="292" y="59"/>
                  </a:lnTo>
                  <a:lnTo>
                    <a:pt x="294" y="61"/>
                  </a:lnTo>
                  <a:lnTo>
                    <a:pt x="301" y="68"/>
                  </a:lnTo>
                  <a:lnTo>
                    <a:pt x="306" y="73"/>
                  </a:lnTo>
                  <a:lnTo>
                    <a:pt x="304" y="74"/>
                  </a:lnTo>
                  <a:lnTo>
                    <a:pt x="304" y="80"/>
                  </a:lnTo>
                  <a:lnTo>
                    <a:pt x="304" y="81"/>
                  </a:lnTo>
                  <a:lnTo>
                    <a:pt x="304" y="83"/>
                  </a:lnTo>
                  <a:lnTo>
                    <a:pt x="304" y="85"/>
                  </a:lnTo>
                  <a:lnTo>
                    <a:pt x="304" y="93"/>
                  </a:lnTo>
                  <a:lnTo>
                    <a:pt x="304" y="97"/>
                  </a:lnTo>
                  <a:lnTo>
                    <a:pt x="304" y="99"/>
                  </a:lnTo>
                  <a:lnTo>
                    <a:pt x="303" y="112"/>
                  </a:lnTo>
                  <a:lnTo>
                    <a:pt x="303" y="124"/>
                  </a:lnTo>
                  <a:lnTo>
                    <a:pt x="303" y="131"/>
                  </a:lnTo>
                  <a:lnTo>
                    <a:pt x="303" y="136"/>
                  </a:lnTo>
                  <a:lnTo>
                    <a:pt x="303" y="140"/>
                  </a:lnTo>
                  <a:lnTo>
                    <a:pt x="303" y="142"/>
                  </a:lnTo>
                  <a:lnTo>
                    <a:pt x="303" y="143"/>
                  </a:lnTo>
                  <a:lnTo>
                    <a:pt x="301" y="148"/>
                  </a:lnTo>
                  <a:lnTo>
                    <a:pt x="301" y="157"/>
                  </a:lnTo>
                  <a:lnTo>
                    <a:pt x="301" y="162"/>
                  </a:lnTo>
                  <a:lnTo>
                    <a:pt x="301" y="169"/>
                  </a:lnTo>
                  <a:lnTo>
                    <a:pt x="301" y="169"/>
                  </a:lnTo>
                  <a:lnTo>
                    <a:pt x="301" y="171"/>
                  </a:lnTo>
                  <a:lnTo>
                    <a:pt x="301" y="174"/>
                  </a:lnTo>
                  <a:lnTo>
                    <a:pt x="301" y="176"/>
                  </a:lnTo>
                  <a:lnTo>
                    <a:pt x="301" y="179"/>
                  </a:lnTo>
                  <a:lnTo>
                    <a:pt x="299" y="183"/>
                  </a:lnTo>
                  <a:lnTo>
                    <a:pt x="299" y="185"/>
                  </a:lnTo>
                  <a:lnTo>
                    <a:pt x="299" y="185"/>
                  </a:lnTo>
                  <a:lnTo>
                    <a:pt x="299" y="186"/>
                  </a:lnTo>
                  <a:lnTo>
                    <a:pt x="299" y="188"/>
                  </a:lnTo>
                  <a:lnTo>
                    <a:pt x="299" y="190"/>
                  </a:lnTo>
                  <a:lnTo>
                    <a:pt x="299" y="191"/>
                  </a:lnTo>
                  <a:lnTo>
                    <a:pt x="299" y="193"/>
                  </a:lnTo>
                  <a:lnTo>
                    <a:pt x="299" y="195"/>
                  </a:lnTo>
                  <a:lnTo>
                    <a:pt x="299" y="197"/>
                  </a:lnTo>
                  <a:lnTo>
                    <a:pt x="299" y="203"/>
                  </a:lnTo>
                  <a:lnTo>
                    <a:pt x="297" y="212"/>
                  </a:lnTo>
                  <a:lnTo>
                    <a:pt x="297" y="214"/>
                  </a:lnTo>
                  <a:lnTo>
                    <a:pt x="297" y="217"/>
                  </a:lnTo>
                  <a:lnTo>
                    <a:pt x="297" y="224"/>
                  </a:lnTo>
                  <a:lnTo>
                    <a:pt x="297" y="226"/>
                  </a:lnTo>
                  <a:lnTo>
                    <a:pt x="297" y="238"/>
                  </a:lnTo>
                  <a:lnTo>
                    <a:pt x="297" y="245"/>
                  </a:lnTo>
                  <a:lnTo>
                    <a:pt x="297" y="246"/>
                  </a:lnTo>
                  <a:lnTo>
                    <a:pt x="297" y="250"/>
                  </a:lnTo>
                  <a:lnTo>
                    <a:pt x="297" y="253"/>
                  </a:lnTo>
                  <a:lnTo>
                    <a:pt x="297" y="255"/>
                  </a:lnTo>
                  <a:lnTo>
                    <a:pt x="296" y="265"/>
                  </a:lnTo>
                  <a:lnTo>
                    <a:pt x="296" y="283"/>
                  </a:lnTo>
                  <a:lnTo>
                    <a:pt x="294" y="283"/>
                  </a:lnTo>
                  <a:lnTo>
                    <a:pt x="294" y="296"/>
                  </a:lnTo>
                  <a:lnTo>
                    <a:pt x="294" y="300"/>
                  </a:lnTo>
                  <a:lnTo>
                    <a:pt x="294" y="305"/>
                  </a:lnTo>
                  <a:lnTo>
                    <a:pt x="294" y="305"/>
                  </a:lnTo>
                  <a:lnTo>
                    <a:pt x="294" y="307"/>
                  </a:lnTo>
                  <a:lnTo>
                    <a:pt x="294" y="312"/>
                  </a:lnTo>
                  <a:lnTo>
                    <a:pt x="292" y="312"/>
                  </a:lnTo>
                  <a:lnTo>
                    <a:pt x="291" y="310"/>
                  </a:lnTo>
                  <a:lnTo>
                    <a:pt x="287" y="310"/>
                  </a:lnTo>
                  <a:lnTo>
                    <a:pt x="285" y="310"/>
                  </a:lnTo>
                  <a:lnTo>
                    <a:pt x="282" y="310"/>
                  </a:lnTo>
                  <a:lnTo>
                    <a:pt x="280" y="310"/>
                  </a:lnTo>
                  <a:lnTo>
                    <a:pt x="272" y="310"/>
                  </a:lnTo>
                  <a:lnTo>
                    <a:pt x="270" y="310"/>
                  </a:lnTo>
                  <a:lnTo>
                    <a:pt x="265" y="310"/>
                  </a:lnTo>
                  <a:lnTo>
                    <a:pt x="260" y="310"/>
                  </a:lnTo>
                  <a:lnTo>
                    <a:pt x="256" y="310"/>
                  </a:lnTo>
                  <a:lnTo>
                    <a:pt x="248" y="310"/>
                  </a:lnTo>
                  <a:lnTo>
                    <a:pt x="244" y="310"/>
                  </a:lnTo>
                  <a:lnTo>
                    <a:pt x="242" y="310"/>
                  </a:lnTo>
                  <a:lnTo>
                    <a:pt x="239" y="310"/>
                  </a:lnTo>
                  <a:lnTo>
                    <a:pt x="237" y="308"/>
                  </a:lnTo>
                  <a:lnTo>
                    <a:pt x="234" y="308"/>
                  </a:lnTo>
                  <a:lnTo>
                    <a:pt x="232" y="308"/>
                  </a:lnTo>
                  <a:lnTo>
                    <a:pt x="229" y="308"/>
                  </a:lnTo>
                  <a:lnTo>
                    <a:pt x="227" y="308"/>
                  </a:lnTo>
                  <a:lnTo>
                    <a:pt x="223" y="308"/>
                  </a:lnTo>
                  <a:lnTo>
                    <a:pt x="218" y="308"/>
                  </a:lnTo>
                  <a:lnTo>
                    <a:pt x="217" y="308"/>
                  </a:lnTo>
                  <a:lnTo>
                    <a:pt x="215" y="308"/>
                  </a:lnTo>
                  <a:lnTo>
                    <a:pt x="210" y="308"/>
                  </a:lnTo>
                  <a:lnTo>
                    <a:pt x="206" y="308"/>
                  </a:lnTo>
                  <a:lnTo>
                    <a:pt x="203" y="308"/>
                  </a:lnTo>
                  <a:lnTo>
                    <a:pt x="198" y="307"/>
                  </a:lnTo>
                  <a:lnTo>
                    <a:pt x="193" y="307"/>
                  </a:lnTo>
                  <a:lnTo>
                    <a:pt x="186" y="307"/>
                  </a:lnTo>
                  <a:lnTo>
                    <a:pt x="180" y="307"/>
                  </a:lnTo>
                  <a:lnTo>
                    <a:pt x="174" y="307"/>
                  </a:lnTo>
                  <a:lnTo>
                    <a:pt x="170" y="307"/>
                  </a:lnTo>
                  <a:lnTo>
                    <a:pt x="168" y="305"/>
                  </a:lnTo>
                  <a:lnTo>
                    <a:pt x="163" y="305"/>
                  </a:lnTo>
                  <a:lnTo>
                    <a:pt x="158" y="305"/>
                  </a:lnTo>
                  <a:lnTo>
                    <a:pt x="155" y="305"/>
                  </a:lnTo>
                  <a:lnTo>
                    <a:pt x="150" y="305"/>
                  </a:lnTo>
                  <a:lnTo>
                    <a:pt x="148" y="305"/>
                  </a:lnTo>
                  <a:lnTo>
                    <a:pt x="146" y="305"/>
                  </a:lnTo>
                  <a:lnTo>
                    <a:pt x="144" y="305"/>
                  </a:lnTo>
                  <a:lnTo>
                    <a:pt x="143" y="305"/>
                  </a:lnTo>
                  <a:lnTo>
                    <a:pt x="141" y="305"/>
                  </a:lnTo>
                  <a:lnTo>
                    <a:pt x="139" y="305"/>
                  </a:lnTo>
                  <a:lnTo>
                    <a:pt x="137" y="305"/>
                  </a:lnTo>
                  <a:lnTo>
                    <a:pt x="136" y="305"/>
                  </a:lnTo>
                  <a:lnTo>
                    <a:pt x="134" y="305"/>
                  </a:lnTo>
                  <a:lnTo>
                    <a:pt x="132" y="305"/>
                  </a:lnTo>
                  <a:lnTo>
                    <a:pt x="131" y="305"/>
                  </a:lnTo>
                  <a:lnTo>
                    <a:pt x="129" y="305"/>
                  </a:lnTo>
                  <a:lnTo>
                    <a:pt x="127" y="305"/>
                  </a:lnTo>
                  <a:lnTo>
                    <a:pt x="125" y="305"/>
                  </a:lnTo>
                  <a:lnTo>
                    <a:pt x="125" y="305"/>
                  </a:lnTo>
                  <a:lnTo>
                    <a:pt x="113" y="305"/>
                  </a:lnTo>
                  <a:lnTo>
                    <a:pt x="110" y="305"/>
                  </a:lnTo>
                  <a:lnTo>
                    <a:pt x="108" y="305"/>
                  </a:lnTo>
                  <a:lnTo>
                    <a:pt x="107" y="305"/>
                  </a:lnTo>
                  <a:lnTo>
                    <a:pt x="103" y="303"/>
                  </a:lnTo>
                  <a:lnTo>
                    <a:pt x="100" y="303"/>
                  </a:lnTo>
                  <a:lnTo>
                    <a:pt x="94" y="303"/>
                  </a:lnTo>
                  <a:lnTo>
                    <a:pt x="91" y="303"/>
                  </a:lnTo>
                  <a:lnTo>
                    <a:pt x="86" y="303"/>
                  </a:lnTo>
                  <a:lnTo>
                    <a:pt x="82" y="303"/>
                  </a:lnTo>
                  <a:lnTo>
                    <a:pt x="70" y="302"/>
                  </a:lnTo>
                  <a:lnTo>
                    <a:pt x="69" y="302"/>
                  </a:lnTo>
                  <a:lnTo>
                    <a:pt x="65" y="302"/>
                  </a:lnTo>
                  <a:lnTo>
                    <a:pt x="64" y="302"/>
                  </a:lnTo>
                  <a:lnTo>
                    <a:pt x="62" y="302"/>
                  </a:lnTo>
                  <a:lnTo>
                    <a:pt x="60" y="302"/>
                  </a:lnTo>
                  <a:lnTo>
                    <a:pt x="58" y="302"/>
                  </a:lnTo>
                  <a:lnTo>
                    <a:pt x="57" y="302"/>
                  </a:lnTo>
                  <a:lnTo>
                    <a:pt x="55" y="300"/>
                  </a:lnTo>
                  <a:lnTo>
                    <a:pt x="53" y="300"/>
                  </a:lnTo>
                  <a:lnTo>
                    <a:pt x="51" y="300"/>
                  </a:lnTo>
                  <a:lnTo>
                    <a:pt x="50" y="300"/>
                  </a:lnTo>
                  <a:lnTo>
                    <a:pt x="50" y="300"/>
                  </a:lnTo>
                  <a:lnTo>
                    <a:pt x="48" y="300"/>
                  </a:lnTo>
                  <a:lnTo>
                    <a:pt x="46" y="300"/>
                  </a:lnTo>
                  <a:lnTo>
                    <a:pt x="45" y="300"/>
                  </a:lnTo>
                  <a:lnTo>
                    <a:pt x="39" y="300"/>
                  </a:lnTo>
                  <a:lnTo>
                    <a:pt x="38" y="300"/>
                  </a:lnTo>
                  <a:lnTo>
                    <a:pt x="36" y="300"/>
                  </a:lnTo>
                  <a:lnTo>
                    <a:pt x="34" y="298"/>
                  </a:lnTo>
                  <a:lnTo>
                    <a:pt x="34" y="298"/>
                  </a:lnTo>
                  <a:lnTo>
                    <a:pt x="33" y="298"/>
                  </a:lnTo>
                  <a:lnTo>
                    <a:pt x="29" y="298"/>
                  </a:lnTo>
                  <a:lnTo>
                    <a:pt x="27" y="298"/>
                  </a:lnTo>
                  <a:lnTo>
                    <a:pt x="26" y="298"/>
                  </a:lnTo>
                  <a:lnTo>
                    <a:pt x="24" y="298"/>
                  </a:lnTo>
                  <a:lnTo>
                    <a:pt x="22" y="298"/>
                  </a:lnTo>
                  <a:lnTo>
                    <a:pt x="19" y="298"/>
                  </a:lnTo>
                  <a:lnTo>
                    <a:pt x="15" y="296"/>
                  </a:lnTo>
                  <a:lnTo>
                    <a:pt x="14" y="296"/>
                  </a:lnTo>
                  <a:lnTo>
                    <a:pt x="2" y="296"/>
                  </a:lnTo>
                  <a:lnTo>
                    <a:pt x="0" y="296"/>
                  </a:lnTo>
                  <a:lnTo>
                    <a:pt x="0" y="293"/>
                  </a:lnTo>
                  <a:lnTo>
                    <a:pt x="0" y="291"/>
                  </a:lnTo>
                  <a:lnTo>
                    <a:pt x="0" y="289"/>
                  </a:lnTo>
                  <a:lnTo>
                    <a:pt x="0" y="289"/>
                  </a:lnTo>
                  <a:lnTo>
                    <a:pt x="0" y="286"/>
                  </a:lnTo>
                  <a:lnTo>
                    <a:pt x="0" y="281"/>
                  </a:lnTo>
                  <a:lnTo>
                    <a:pt x="0" y="279"/>
                  </a:lnTo>
                  <a:lnTo>
                    <a:pt x="0" y="276"/>
                  </a:lnTo>
                  <a:lnTo>
                    <a:pt x="0" y="271"/>
                  </a:lnTo>
                  <a:lnTo>
                    <a:pt x="0" y="267"/>
                  </a:lnTo>
                  <a:lnTo>
                    <a:pt x="0" y="265"/>
                  </a:lnTo>
                  <a:lnTo>
                    <a:pt x="0" y="262"/>
                  </a:lnTo>
                  <a:lnTo>
                    <a:pt x="0" y="260"/>
                  </a:lnTo>
                  <a:lnTo>
                    <a:pt x="0" y="258"/>
                  </a:lnTo>
                  <a:lnTo>
                    <a:pt x="0" y="257"/>
                  </a:lnTo>
                  <a:lnTo>
                    <a:pt x="0" y="255"/>
                  </a:lnTo>
                  <a:lnTo>
                    <a:pt x="0" y="253"/>
                  </a:lnTo>
                  <a:lnTo>
                    <a:pt x="0" y="252"/>
                  </a:lnTo>
                  <a:lnTo>
                    <a:pt x="2" y="252"/>
                  </a:lnTo>
                  <a:lnTo>
                    <a:pt x="0" y="250"/>
                  </a:lnTo>
                  <a:lnTo>
                    <a:pt x="2" y="248"/>
                  </a:lnTo>
                  <a:lnTo>
                    <a:pt x="2" y="246"/>
                  </a:lnTo>
                  <a:lnTo>
                    <a:pt x="2" y="245"/>
                  </a:lnTo>
                  <a:lnTo>
                    <a:pt x="2" y="241"/>
                  </a:lnTo>
                  <a:lnTo>
                    <a:pt x="2" y="240"/>
                  </a:lnTo>
                  <a:lnTo>
                    <a:pt x="2" y="238"/>
                  </a:lnTo>
                  <a:lnTo>
                    <a:pt x="2" y="236"/>
                  </a:lnTo>
                  <a:lnTo>
                    <a:pt x="2" y="234"/>
                  </a:lnTo>
                  <a:lnTo>
                    <a:pt x="2" y="233"/>
                  </a:lnTo>
                  <a:lnTo>
                    <a:pt x="2" y="231"/>
                  </a:lnTo>
                  <a:lnTo>
                    <a:pt x="2" y="229"/>
                  </a:lnTo>
                  <a:lnTo>
                    <a:pt x="2" y="229"/>
                  </a:lnTo>
                  <a:lnTo>
                    <a:pt x="2" y="228"/>
                  </a:lnTo>
                  <a:lnTo>
                    <a:pt x="2" y="226"/>
                  </a:lnTo>
                  <a:lnTo>
                    <a:pt x="2" y="224"/>
                  </a:lnTo>
                  <a:lnTo>
                    <a:pt x="2" y="222"/>
                  </a:lnTo>
                  <a:lnTo>
                    <a:pt x="2" y="219"/>
                  </a:lnTo>
                  <a:lnTo>
                    <a:pt x="2" y="217"/>
                  </a:lnTo>
                  <a:lnTo>
                    <a:pt x="2" y="215"/>
                  </a:lnTo>
                  <a:lnTo>
                    <a:pt x="2" y="214"/>
                  </a:lnTo>
                  <a:lnTo>
                    <a:pt x="2" y="212"/>
                  </a:lnTo>
                  <a:lnTo>
                    <a:pt x="2" y="210"/>
                  </a:lnTo>
                  <a:lnTo>
                    <a:pt x="2" y="209"/>
                  </a:lnTo>
                  <a:lnTo>
                    <a:pt x="2" y="207"/>
                  </a:lnTo>
                  <a:lnTo>
                    <a:pt x="2" y="205"/>
                  </a:lnTo>
                  <a:lnTo>
                    <a:pt x="2" y="203"/>
                  </a:lnTo>
                  <a:lnTo>
                    <a:pt x="2" y="202"/>
                  </a:lnTo>
                  <a:lnTo>
                    <a:pt x="2" y="200"/>
                  </a:lnTo>
                  <a:lnTo>
                    <a:pt x="2" y="200"/>
                  </a:lnTo>
                  <a:lnTo>
                    <a:pt x="2" y="198"/>
                  </a:lnTo>
                  <a:lnTo>
                    <a:pt x="2" y="197"/>
                  </a:lnTo>
                  <a:lnTo>
                    <a:pt x="2" y="195"/>
                  </a:lnTo>
                  <a:lnTo>
                    <a:pt x="2" y="193"/>
                  </a:lnTo>
                  <a:lnTo>
                    <a:pt x="2" y="190"/>
                  </a:lnTo>
                  <a:lnTo>
                    <a:pt x="2" y="186"/>
                  </a:lnTo>
                  <a:lnTo>
                    <a:pt x="2" y="185"/>
                  </a:lnTo>
                  <a:lnTo>
                    <a:pt x="2" y="185"/>
                  </a:lnTo>
                  <a:lnTo>
                    <a:pt x="2" y="183"/>
                  </a:lnTo>
                  <a:lnTo>
                    <a:pt x="2" y="181"/>
                  </a:lnTo>
                  <a:lnTo>
                    <a:pt x="2" y="179"/>
                  </a:lnTo>
                  <a:lnTo>
                    <a:pt x="2" y="178"/>
                  </a:lnTo>
                  <a:lnTo>
                    <a:pt x="2" y="176"/>
                  </a:lnTo>
                  <a:lnTo>
                    <a:pt x="2" y="174"/>
                  </a:lnTo>
                  <a:lnTo>
                    <a:pt x="2" y="172"/>
                  </a:lnTo>
                  <a:lnTo>
                    <a:pt x="2" y="169"/>
                  </a:lnTo>
                  <a:lnTo>
                    <a:pt x="2" y="169"/>
                  </a:lnTo>
                  <a:lnTo>
                    <a:pt x="3" y="167"/>
                  </a:lnTo>
                  <a:lnTo>
                    <a:pt x="3" y="166"/>
                  </a:lnTo>
                  <a:lnTo>
                    <a:pt x="3" y="164"/>
                  </a:lnTo>
                  <a:lnTo>
                    <a:pt x="3" y="162"/>
                  </a:lnTo>
                  <a:lnTo>
                    <a:pt x="3" y="160"/>
                  </a:lnTo>
                  <a:lnTo>
                    <a:pt x="3" y="159"/>
                  </a:lnTo>
                  <a:lnTo>
                    <a:pt x="3" y="155"/>
                  </a:lnTo>
                  <a:lnTo>
                    <a:pt x="3" y="155"/>
                  </a:lnTo>
                  <a:lnTo>
                    <a:pt x="3" y="154"/>
                  </a:lnTo>
                  <a:lnTo>
                    <a:pt x="3" y="152"/>
                  </a:lnTo>
                  <a:lnTo>
                    <a:pt x="3" y="150"/>
                  </a:lnTo>
                  <a:lnTo>
                    <a:pt x="3" y="148"/>
                  </a:lnTo>
                  <a:lnTo>
                    <a:pt x="3" y="147"/>
                  </a:lnTo>
                  <a:lnTo>
                    <a:pt x="3" y="145"/>
                  </a:lnTo>
                  <a:lnTo>
                    <a:pt x="3" y="143"/>
                  </a:lnTo>
                  <a:lnTo>
                    <a:pt x="3" y="142"/>
                  </a:lnTo>
                  <a:lnTo>
                    <a:pt x="3" y="140"/>
                  </a:lnTo>
                  <a:lnTo>
                    <a:pt x="3" y="140"/>
                  </a:lnTo>
                  <a:lnTo>
                    <a:pt x="3" y="138"/>
                  </a:lnTo>
                  <a:lnTo>
                    <a:pt x="3" y="136"/>
                  </a:lnTo>
                  <a:lnTo>
                    <a:pt x="3" y="135"/>
                  </a:lnTo>
                  <a:lnTo>
                    <a:pt x="3" y="133"/>
                  </a:lnTo>
                  <a:lnTo>
                    <a:pt x="3" y="131"/>
                  </a:lnTo>
                  <a:lnTo>
                    <a:pt x="3" y="129"/>
                  </a:lnTo>
                  <a:lnTo>
                    <a:pt x="3" y="128"/>
                  </a:lnTo>
                  <a:lnTo>
                    <a:pt x="3" y="126"/>
                  </a:lnTo>
                  <a:lnTo>
                    <a:pt x="3" y="124"/>
                  </a:lnTo>
                  <a:lnTo>
                    <a:pt x="3" y="124"/>
                  </a:lnTo>
                  <a:lnTo>
                    <a:pt x="3" y="123"/>
                  </a:lnTo>
                  <a:lnTo>
                    <a:pt x="3" y="121"/>
                  </a:lnTo>
                  <a:lnTo>
                    <a:pt x="3" y="119"/>
                  </a:lnTo>
                  <a:lnTo>
                    <a:pt x="3" y="117"/>
                  </a:lnTo>
                  <a:lnTo>
                    <a:pt x="3" y="116"/>
                  </a:lnTo>
                  <a:lnTo>
                    <a:pt x="3" y="114"/>
                  </a:lnTo>
                  <a:lnTo>
                    <a:pt x="3" y="111"/>
                  </a:lnTo>
                  <a:lnTo>
                    <a:pt x="3" y="109"/>
                  </a:lnTo>
                  <a:lnTo>
                    <a:pt x="3" y="109"/>
                  </a:lnTo>
                  <a:lnTo>
                    <a:pt x="3" y="104"/>
                  </a:lnTo>
                  <a:lnTo>
                    <a:pt x="3" y="102"/>
                  </a:lnTo>
                  <a:lnTo>
                    <a:pt x="3" y="100"/>
                  </a:lnTo>
                  <a:lnTo>
                    <a:pt x="5" y="100"/>
                  </a:lnTo>
                  <a:lnTo>
                    <a:pt x="5" y="99"/>
                  </a:lnTo>
                  <a:lnTo>
                    <a:pt x="3" y="97"/>
                  </a:lnTo>
                  <a:lnTo>
                    <a:pt x="5" y="97"/>
                  </a:lnTo>
                  <a:lnTo>
                    <a:pt x="5" y="95"/>
                  </a:lnTo>
                  <a:lnTo>
                    <a:pt x="5" y="95"/>
                  </a:lnTo>
                  <a:lnTo>
                    <a:pt x="3" y="95"/>
                  </a:lnTo>
                  <a:lnTo>
                    <a:pt x="5" y="95"/>
                  </a:lnTo>
                  <a:lnTo>
                    <a:pt x="5" y="93"/>
                  </a:lnTo>
                  <a:lnTo>
                    <a:pt x="5" y="92"/>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1" name="Freeform 186"/>
            <p:cNvSpPr>
              <a:spLocks/>
            </p:cNvSpPr>
            <p:nvPr/>
          </p:nvSpPr>
          <p:spPr bwMode="auto">
            <a:xfrm>
              <a:off x="3583871" y="3025569"/>
              <a:ext cx="527050" cy="495300"/>
            </a:xfrm>
            <a:custGeom>
              <a:avLst/>
              <a:gdLst/>
              <a:ahLst/>
              <a:cxnLst>
                <a:cxn ang="0">
                  <a:pos x="36" y="2"/>
                </a:cxn>
                <a:cxn ang="0">
                  <a:pos x="55" y="4"/>
                </a:cxn>
                <a:cxn ang="0">
                  <a:pos x="69" y="6"/>
                </a:cxn>
                <a:cxn ang="0">
                  <a:pos x="103" y="7"/>
                </a:cxn>
                <a:cxn ang="0">
                  <a:pos x="136" y="9"/>
                </a:cxn>
                <a:cxn ang="0">
                  <a:pos x="152" y="9"/>
                </a:cxn>
                <a:cxn ang="0">
                  <a:pos x="179" y="11"/>
                </a:cxn>
                <a:cxn ang="0">
                  <a:pos x="224" y="12"/>
                </a:cxn>
                <a:cxn ang="0">
                  <a:pos x="248" y="14"/>
                </a:cxn>
                <a:cxn ang="0">
                  <a:pos x="289" y="14"/>
                </a:cxn>
                <a:cxn ang="0">
                  <a:pos x="301" y="26"/>
                </a:cxn>
                <a:cxn ang="0">
                  <a:pos x="300" y="79"/>
                </a:cxn>
                <a:cxn ang="0">
                  <a:pos x="298" y="100"/>
                </a:cxn>
                <a:cxn ang="0">
                  <a:pos x="296" y="124"/>
                </a:cxn>
                <a:cxn ang="0">
                  <a:pos x="298" y="152"/>
                </a:cxn>
                <a:cxn ang="0">
                  <a:pos x="300" y="176"/>
                </a:cxn>
                <a:cxn ang="0">
                  <a:pos x="300" y="215"/>
                </a:cxn>
                <a:cxn ang="0">
                  <a:pos x="322" y="221"/>
                </a:cxn>
                <a:cxn ang="0">
                  <a:pos x="331" y="248"/>
                </a:cxn>
                <a:cxn ang="0">
                  <a:pos x="331" y="277"/>
                </a:cxn>
                <a:cxn ang="0">
                  <a:pos x="331" y="310"/>
                </a:cxn>
                <a:cxn ang="0">
                  <a:pos x="325" y="310"/>
                </a:cxn>
                <a:cxn ang="0">
                  <a:pos x="318" y="308"/>
                </a:cxn>
                <a:cxn ang="0">
                  <a:pos x="315" y="305"/>
                </a:cxn>
                <a:cxn ang="0">
                  <a:pos x="305" y="305"/>
                </a:cxn>
                <a:cxn ang="0">
                  <a:pos x="294" y="308"/>
                </a:cxn>
                <a:cxn ang="0">
                  <a:pos x="284" y="308"/>
                </a:cxn>
                <a:cxn ang="0">
                  <a:pos x="279" y="310"/>
                </a:cxn>
                <a:cxn ang="0">
                  <a:pos x="270" y="310"/>
                </a:cxn>
                <a:cxn ang="0">
                  <a:pos x="267" y="312"/>
                </a:cxn>
                <a:cxn ang="0">
                  <a:pos x="258" y="312"/>
                </a:cxn>
                <a:cxn ang="0">
                  <a:pos x="255" y="310"/>
                </a:cxn>
                <a:cxn ang="0">
                  <a:pos x="245" y="308"/>
                </a:cxn>
                <a:cxn ang="0">
                  <a:pos x="236" y="310"/>
                </a:cxn>
                <a:cxn ang="0">
                  <a:pos x="234" y="305"/>
                </a:cxn>
                <a:cxn ang="0">
                  <a:pos x="227" y="301"/>
                </a:cxn>
                <a:cxn ang="0">
                  <a:pos x="224" y="301"/>
                </a:cxn>
                <a:cxn ang="0">
                  <a:pos x="217" y="307"/>
                </a:cxn>
                <a:cxn ang="0">
                  <a:pos x="210" y="307"/>
                </a:cxn>
                <a:cxn ang="0">
                  <a:pos x="203" y="301"/>
                </a:cxn>
                <a:cxn ang="0">
                  <a:pos x="195" y="296"/>
                </a:cxn>
                <a:cxn ang="0">
                  <a:pos x="191" y="300"/>
                </a:cxn>
                <a:cxn ang="0">
                  <a:pos x="184" y="296"/>
                </a:cxn>
                <a:cxn ang="0">
                  <a:pos x="171" y="291"/>
                </a:cxn>
                <a:cxn ang="0">
                  <a:pos x="145" y="289"/>
                </a:cxn>
                <a:cxn ang="0">
                  <a:pos x="116" y="289"/>
                </a:cxn>
                <a:cxn ang="0">
                  <a:pos x="86" y="288"/>
                </a:cxn>
                <a:cxn ang="0">
                  <a:pos x="59" y="286"/>
                </a:cxn>
                <a:cxn ang="0">
                  <a:pos x="42" y="286"/>
                </a:cxn>
                <a:cxn ang="0">
                  <a:pos x="12" y="284"/>
                </a:cxn>
                <a:cxn ang="0">
                  <a:pos x="0" y="274"/>
                </a:cxn>
                <a:cxn ang="0">
                  <a:pos x="2" y="205"/>
                </a:cxn>
                <a:cxn ang="0">
                  <a:pos x="4" y="171"/>
                </a:cxn>
                <a:cxn ang="0">
                  <a:pos x="4" y="141"/>
                </a:cxn>
                <a:cxn ang="0">
                  <a:pos x="5" y="109"/>
                </a:cxn>
                <a:cxn ang="0">
                  <a:pos x="5" y="83"/>
                </a:cxn>
                <a:cxn ang="0">
                  <a:pos x="7" y="50"/>
                </a:cxn>
              </a:cxnLst>
              <a:rect l="0" t="0" r="r" b="b"/>
              <a:pathLst>
                <a:path w="332" h="312">
                  <a:moveTo>
                    <a:pt x="9" y="0"/>
                  </a:moveTo>
                  <a:lnTo>
                    <a:pt x="11" y="0"/>
                  </a:lnTo>
                  <a:lnTo>
                    <a:pt x="23" y="0"/>
                  </a:lnTo>
                  <a:lnTo>
                    <a:pt x="24" y="0"/>
                  </a:lnTo>
                  <a:lnTo>
                    <a:pt x="28" y="2"/>
                  </a:lnTo>
                  <a:lnTo>
                    <a:pt x="31" y="2"/>
                  </a:lnTo>
                  <a:lnTo>
                    <a:pt x="33" y="2"/>
                  </a:lnTo>
                  <a:lnTo>
                    <a:pt x="35" y="2"/>
                  </a:lnTo>
                  <a:lnTo>
                    <a:pt x="36" y="2"/>
                  </a:lnTo>
                  <a:lnTo>
                    <a:pt x="38" y="2"/>
                  </a:lnTo>
                  <a:lnTo>
                    <a:pt x="42" y="2"/>
                  </a:lnTo>
                  <a:lnTo>
                    <a:pt x="43" y="2"/>
                  </a:lnTo>
                  <a:lnTo>
                    <a:pt x="43" y="2"/>
                  </a:lnTo>
                  <a:lnTo>
                    <a:pt x="45" y="4"/>
                  </a:lnTo>
                  <a:lnTo>
                    <a:pt x="47" y="4"/>
                  </a:lnTo>
                  <a:lnTo>
                    <a:pt x="48" y="4"/>
                  </a:lnTo>
                  <a:lnTo>
                    <a:pt x="54" y="4"/>
                  </a:lnTo>
                  <a:lnTo>
                    <a:pt x="55" y="4"/>
                  </a:lnTo>
                  <a:lnTo>
                    <a:pt x="57" y="4"/>
                  </a:lnTo>
                  <a:lnTo>
                    <a:pt x="59" y="4"/>
                  </a:lnTo>
                  <a:lnTo>
                    <a:pt x="59" y="4"/>
                  </a:lnTo>
                  <a:lnTo>
                    <a:pt x="60" y="4"/>
                  </a:lnTo>
                  <a:lnTo>
                    <a:pt x="62" y="4"/>
                  </a:lnTo>
                  <a:lnTo>
                    <a:pt x="64" y="4"/>
                  </a:lnTo>
                  <a:lnTo>
                    <a:pt x="66" y="6"/>
                  </a:lnTo>
                  <a:lnTo>
                    <a:pt x="67" y="6"/>
                  </a:lnTo>
                  <a:lnTo>
                    <a:pt x="69" y="6"/>
                  </a:lnTo>
                  <a:lnTo>
                    <a:pt x="71" y="6"/>
                  </a:lnTo>
                  <a:lnTo>
                    <a:pt x="73" y="6"/>
                  </a:lnTo>
                  <a:lnTo>
                    <a:pt x="74" y="6"/>
                  </a:lnTo>
                  <a:lnTo>
                    <a:pt x="78" y="6"/>
                  </a:lnTo>
                  <a:lnTo>
                    <a:pt x="79" y="6"/>
                  </a:lnTo>
                  <a:lnTo>
                    <a:pt x="91" y="7"/>
                  </a:lnTo>
                  <a:lnTo>
                    <a:pt x="95" y="7"/>
                  </a:lnTo>
                  <a:lnTo>
                    <a:pt x="100" y="7"/>
                  </a:lnTo>
                  <a:lnTo>
                    <a:pt x="103" y="7"/>
                  </a:lnTo>
                  <a:lnTo>
                    <a:pt x="109" y="7"/>
                  </a:lnTo>
                  <a:lnTo>
                    <a:pt x="112" y="7"/>
                  </a:lnTo>
                  <a:lnTo>
                    <a:pt x="116" y="9"/>
                  </a:lnTo>
                  <a:lnTo>
                    <a:pt x="117" y="9"/>
                  </a:lnTo>
                  <a:lnTo>
                    <a:pt x="119" y="9"/>
                  </a:lnTo>
                  <a:lnTo>
                    <a:pt x="122" y="9"/>
                  </a:lnTo>
                  <a:lnTo>
                    <a:pt x="134" y="9"/>
                  </a:lnTo>
                  <a:lnTo>
                    <a:pt x="134" y="9"/>
                  </a:lnTo>
                  <a:lnTo>
                    <a:pt x="136" y="9"/>
                  </a:lnTo>
                  <a:lnTo>
                    <a:pt x="138" y="9"/>
                  </a:lnTo>
                  <a:lnTo>
                    <a:pt x="140" y="9"/>
                  </a:lnTo>
                  <a:lnTo>
                    <a:pt x="141" y="9"/>
                  </a:lnTo>
                  <a:lnTo>
                    <a:pt x="143" y="9"/>
                  </a:lnTo>
                  <a:lnTo>
                    <a:pt x="145" y="9"/>
                  </a:lnTo>
                  <a:lnTo>
                    <a:pt x="146" y="9"/>
                  </a:lnTo>
                  <a:lnTo>
                    <a:pt x="148" y="9"/>
                  </a:lnTo>
                  <a:lnTo>
                    <a:pt x="150" y="9"/>
                  </a:lnTo>
                  <a:lnTo>
                    <a:pt x="152" y="9"/>
                  </a:lnTo>
                  <a:lnTo>
                    <a:pt x="153" y="9"/>
                  </a:lnTo>
                  <a:lnTo>
                    <a:pt x="155" y="9"/>
                  </a:lnTo>
                  <a:lnTo>
                    <a:pt x="157" y="9"/>
                  </a:lnTo>
                  <a:lnTo>
                    <a:pt x="159" y="9"/>
                  </a:lnTo>
                  <a:lnTo>
                    <a:pt x="164" y="9"/>
                  </a:lnTo>
                  <a:lnTo>
                    <a:pt x="167" y="9"/>
                  </a:lnTo>
                  <a:lnTo>
                    <a:pt x="172" y="9"/>
                  </a:lnTo>
                  <a:lnTo>
                    <a:pt x="177" y="9"/>
                  </a:lnTo>
                  <a:lnTo>
                    <a:pt x="179" y="11"/>
                  </a:lnTo>
                  <a:lnTo>
                    <a:pt x="183" y="11"/>
                  </a:lnTo>
                  <a:lnTo>
                    <a:pt x="189" y="11"/>
                  </a:lnTo>
                  <a:lnTo>
                    <a:pt x="195" y="11"/>
                  </a:lnTo>
                  <a:lnTo>
                    <a:pt x="202" y="11"/>
                  </a:lnTo>
                  <a:lnTo>
                    <a:pt x="207" y="11"/>
                  </a:lnTo>
                  <a:lnTo>
                    <a:pt x="212" y="12"/>
                  </a:lnTo>
                  <a:lnTo>
                    <a:pt x="215" y="12"/>
                  </a:lnTo>
                  <a:lnTo>
                    <a:pt x="219" y="12"/>
                  </a:lnTo>
                  <a:lnTo>
                    <a:pt x="224" y="12"/>
                  </a:lnTo>
                  <a:lnTo>
                    <a:pt x="226" y="12"/>
                  </a:lnTo>
                  <a:lnTo>
                    <a:pt x="227" y="12"/>
                  </a:lnTo>
                  <a:lnTo>
                    <a:pt x="232" y="12"/>
                  </a:lnTo>
                  <a:lnTo>
                    <a:pt x="236" y="12"/>
                  </a:lnTo>
                  <a:lnTo>
                    <a:pt x="238" y="12"/>
                  </a:lnTo>
                  <a:lnTo>
                    <a:pt x="241" y="12"/>
                  </a:lnTo>
                  <a:lnTo>
                    <a:pt x="243" y="12"/>
                  </a:lnTo>
                  <a:lnTo>
                    <a:pt x="246" y="12"/>
                  </a:lnTo>
                  <a:lnTo>
                    <a:pt x="248" y="14"/>
                  </a:lnTo>
                  <a:lnTo>
                    <a:pt x="251" y="14"/>
                  </a:lnTo>
                  <a:lnTo>
                    <a:pt x="253" y="14"/>
                  </a:lnTo>
                  <a:lnTo>
                    <a:pt x="257" y="14"/>
                  </a:lnTo>
                  <a:lnTo>
                    <a:pt x="265" y="14"/>
                  </a:lnTo>
                  <a:lnTo>
                    <a:pt x="269" y="14"/>
                  </a:lnTo>
                  <a:lnTo>
                    <a:pt x="274" y="14"/>
                  </a:lnTo>
                  <a:lnTo>
                    <a:pt x="279" y="14"/>
                  </a:lnTo>
                  <a:lnTo>
                    <a:pt x="281" y="14"/>
                  </a:lnTo>
                  <a:lnTo>
                    <a:pt x="289" y="14"/>
                  </a:lnTo>
                  <a:lnTo>
                    <a:pt x="291" y="14"/>
                  </a:lnTo>
                  <a:lnTo>
                    <a:pt x="294" y="14"/>
                  </a:lnTo>
                  <a:lnTo>
                    <a:pt x="296" y="14"/>
                  </a:lnTo>
                  <a:lnTo>
                    <a:pt x="300" y="14"/>
                  </a:lnTo>
                  <a:lnTo>
                    <a:pt x="301" y="16"/>
                  </a:lnTo>
                  <a:lnTo>
                    <a:pt x="301" y="18"/>
                  </a:lnTo>
                  <a:lnTo>
                    <a:pt x="301" y="19"/>
                  </a:lnTo>
                  <a:lnTo>
                    <a:pt x="301" y="24"/>
                  </a:lnTo>
                  <a:lnTo>
                    <a:pt x="301" y="26"/>
                  </a:lnTo>
                  <a:lnTo>
                    <a:pt x="300" y="38"/>
                  </a:lnTo>
                  <a:lnTo>
                    <a:pt x="300" y="50"/>
                  </a:lnTo>
                  <a:lnTo>
                    <a:pt x="300" y="61"/>
                  </a:lnTo>
                  <a:lnTo>
                    <a:pt x="300" y="67"/>
                  </a:lnTo>
                  <a:lnTo>
                    <a:pt x="300" y="69"/>
                  </a:lnTo>
                  <a:lnTo>
                    <a:pt x="300" y="71"/>
                  </a:lnTo>
                  <a:lnTo>
                    <a:pt x="300" y="73"/>
                  </a:lnTo>
                  <a:lnTo>
                    <a:pt x="300" y="78"/>
                  </a:lnTo>
                  <a:lnTo>
                    <a:pt x="300" y="79"/>
                  </a:lnTo>
                  <a:lnTo>
                    <a:pt x="300" y="81"/>
                  </a:lnTo>
                  <a:lnTo>
                    <a:pt x="300" y="83"/>
                  </a:lnTo>
                  <a:lnTo>
                    <a:pt x="300" y="85"/>
                  </a:lnTo>
                  <a:lnTo>
                    <a:pt x="298" y="85"/>
                  </a:lnTo>
                  <a:lnTo>
                    <a:pt x="298" y="88"/>
                  </a:lnTo>
                  <a:lnTo>
                    <a:pt x="298" y="92"/>
                  </a:lnTo>
                  <a:lnTo>
                    <a:pt x="298" y="93"/>
                  </a:lnTo>
                  <a:lnTo>
                    <a:pt x="298" y="97"/>
                  </a:lnTo>
                  <a:lnTo>
                    <a:pt x="298" y="100"/>
                  </a:lnTo>
                  <a:lnTo>
                    <a:pt x="298" y="100"/>
                  </a:lnTo>
                  <a:lnTo>
                    <a:pt x="298" y="104"/>
                  </a:lnTo>
                  <a:lnTo>
                    <a:pt x="298" y="107"/>
                  </a:lnTo>
                  <a:lnTo>
                    <a:pt x="296" y="112"/>
                  </a:lnTo>
                  <a:lnTo>
                    <a:pt x="296" y="114"/>
                  </a:lnTo>
                  <a:lnTo>
                    <a:pt x="296" y="116"/>
                  </a:lnTo>
                  <a:lnTo>
                    <a:pt x="296" y="117"/>
                  </a:lnTo>
                  <a:lnTo>
                    <a:pt x="296" y="122"/>
                  </a:lnTo>
                  <a:lnTo>
                    <a:pt x="296" y="124"/>
                  </a:lnTo>
                  <a:lnTo>
                    <a:pt x="296" y="126"/>
                  </a:lnTo>
                  <a:lnTo>
                    <a:pt x="296" y="129"/>
                  </a:lnTo>
                  <a:lnTo>
                    <a:pt x="296" y="133"/>
                  </a:lnTo>
                  <a:lnTo>
                    <a:pt x="296" y="135"/>
                  </a:lnTo>
                  <a:lnTo>
                    <a:pt x="294" y="140"/>
                  </a:lnTo>
                  <a:lnTo>
                    <a:pt x="294" y="141"/>
                  </a:lnTo>
                  <a:lnTo>
                    <a:pt x="294" y="152"/>
                  </a:lnTo>
                  <a:lnTo>
                    <a:pt x="296" y="152"/>
                  </a:lnTo>
                  <a:lnTo>
                    <a:pt x="298" y="152"/>
                  </a:lnTo>
                  <a:lnTo>
                    <a:pt x="300" y="152"/>
                  </a:lnTo>
                  <a:lnTo>
                    <a:pt x="301" y="152"/>
                  </a:lnTo>
                  <a:lnTo>
                    <a:pt x="301" y="155"/>
                  </a:lnTo>
                  <a:lnTo>
                    <a:pt x="301" y="162"/>
                  </a:lnTo>
                  <a:lnTo>
                    <a:pt x="301" y="164"/>
                  </a:lnTo>
                  <a:lnTo>
                    <a:pt x="301" y="167"/>
                  </a:lnTo>
                  <a:lnTo>
                    <a:pt x="301" y="169"/>
                  </a:lnTo>
                  <a:lnTo>
                    <a:pt x="301" y="171"/>
                  </a:lnTo>
                  <a:lnTo>
                    <a:pt x="300" y="176"/>
                  </a:lnTo>
                  <a:lnTo>
                    <a:pt x="300" y="184"/>
                  </a:lnTo>
                  <a:lnTo>
                    <a:pt x="300" y="188"/>
                  </a:lnTo>
                  <a:lnTo>
                    <a:pt x="300" y="191"/>
                  </a:lnTo>
                  <a:lnTo>
                    <a:pt x="300" y="195"/>
                  </a:lnTo>
                  <a:lnTo>
                    <a:pt x="300" y="196"/>
                  </a:lnTo>
                  <a:lnTo>
                    <a:pt x="300" y="202"/>
                  </a:lnTo>
                  <a:lnTo>
                    <a:pt x="300" y="205"/>
                  </a:lnTo>
                  <a:lnTo>
                    <a:pt x="300" y="207"/>
                  </a:lnTo>
                  <a:lnTo>
                    <a:pt x="300" y="215"/>
                  </a:lnTo>
                  <a:lnTo>
                    <a:pt x="300" y="219"/>
                  </a:lnTo>
                  <a:lnTo>
                    <a:pt x="301" y="219"/>
                  </a:lnTo>
                  <a:lnTo>
                    <a:pt x="310" y="219"/>
                  </a:lnTo>
                  <a:lnTo>
                    <a:pt x="312" y="219"/>
                  </a:lnTo>
                  <a:lnTo>
                    <a:pt x="313" y="219"/>
                  </a:lnTo>
                  <a:lnTo>
                    <a:pt x="315" y="221"/>
                  </a:lnTo>
                  <a:lnTo>
                    <a:pt x="317" y="221"/>
                  </a:lnTo>
                  <a:lnTo>
                    <a:pt x="318" y="221"/>
                  </a:lnTo>
                  <a:lnTo>
                    <a:pt x="322" y="221"/>
                  </a:lnTo>
                  <a:lnTo>
                    <a:pt x="325" y="221"/>
                  </a:lnTo>
                  <a:lnTo>
                    <a:pt x="327" y="221"/>
                  </a:lnTo>
                  <a:lnTo>
                    <a:pt x="331" y="221"/>
                  </a:lnTo>
                  <a:lnTo>
                    <a:pt x="331" y="221"/>
                  </a:lnTo>
                  <a:lnTo>
                    <a:pt x="332" y="221"/>
                  </a:lnTo>
                  <a:lnTo>
                    <a:pt x="332" y="221"/>
                  </a:lnTo>
                  <a:lnTo>
                    <a:pt x="332" y="226"/>
                  </a:lnTo>
                  <a:lnTo>
                    <a:pt x="332" y="231"/>
                  </a:lnTo>
                  <a:lnTo>
                    <a:pt x="331" y="248"/>
                  </a:lnTo>
                  <a:lnTo>
                    <a:pt x="331" y="250"/>
                  </a:lnTo>
                  <a:lnTo>
                    <a:pt x="331" y="250"/>
                  </a:lnTo>
                  <a:lnTo>
                    <a:pt x="331" y="253"/>
                  </a:lnTo>
                  <a:lnTo>
                    <a:pt x="331" y="262"/>
                  </a:lnTo>
                  <a:lnTo>
                    <a:pt x="331" y="267"/>
                  </a:lnTo>
                  <a:lnTo>
                    <a:pt x="331" y="270"/>
                  </a:lnTo>
                  <a:lnTo>
                    <a:pt x="331" y="272"/>
                  </a:lnTo>
                  <a:lnTo>
                    <a:pt x="331" y="276"/>
                  </a:lnTo>
                  <a:lnTo>
                    <a:pt x="331" y="277"/>
                  </a:lnTo>
                  <a:lnTo>
                    <a:pt x="331" y="279"/>
                  </a:lnTo>
                  <a:lnTo>
                    <a:pt x="331" y="282"/>
                  </a:lnTo>
                  <a:lnTo>
                    <a:pt x="331" y="286"/>
                  </a:lnTo>
                  <a:lnTo>
                    <a:pt x="331" y="293"/>
                  </a:lnTo>
                  <a:lnTo>
                    <a:pt x="331" y="296"/>
                  </a:lnTo>
                  <a:lnTo>
                    <a:pt x="331" y="296"/>
                  </a:lnTo>
                  <a:lnTo>
                    <a:pt x="331" y="305"/>
                  </a:lnTo>
                  <a:lnTo>
                    <a:pt x="331" y="308"/>
                  </a:lnTo>
                  <a:lnTo>
                    <a:pt x="331" y="310"/>
                  </a:lnTo>
                  <a:lnTo>
                    <a:pt x="331" y="312"/>
                  </a:lnTo>
                  <a:lnTo>
                    <a:pt x="331" y="312"/>
                  </a:lnTo>
                  <a:lnTo>
                    <a:pt x="329" y="312"/>
                  </a:lnTo>
                  <a:lnTo>
                    <a:pt x="327" y="312"/>
                  </a:lnTo>
                  <a:lnTo>
                    <a:pt x="327" y="310"/>
                  </a:lnTo>
                  <a:lnTo>
                    <a:pt x="325" y="312"/>
                  </a:lnTo>
                  <a:lnTo>
                    <a:pt x="325" y="310"/>
                  </a:lnTo>
                  <a:lnTo>
                    <a:pt x="324" y="310"/>
                  </a:lnTo>
                  <a:lnTo>
                    <a:pt x="325" y="310"/>
                  </a:lnTo>
                  <a:lnTo>
                    <a:pt x="325" y="310"/>
                  </a:lnTo>
                  <a:lnTo>
                    <a:pt x="325" y="308"/>
                  </a:lnTo>
                  <a:lnTo>
                    <a:pt x="324" y="308"/>
                  </a:lnTo>
                  <a:lnTo>
                    <a:pt x="322" y="308"/>
                  </a:lnTo>
                  <a:lnTo>
                    <a:pt x="322" y="310"/>
                  </a:lnTo>
                  <a:lnTo>
                    <a:pt x="322" y="310"/>
                  </a:lnTo>
                  <a:lnTo>
                    <a:pt x="320" y="310"/>
                  </a:lnTo>
                  <a:lnTo>
                    <a:pt x="320" y="308"/>
                  </a:lnTo>
                  <a:lnTo>
                    <a:pt x="318" y="308"/>
                  </a:lnTo>
                  <a:lnTo>
                    <a:pt x="318" y="307"/>
                  </a:lnTo>
                  <a:lnTo>
                    <a:pt x="318" y="305"/>
                  </a:lnTo>
                  <a:lnTo>
                    <a:pt x="317" y="305"/>
                  </a:lnTo>
                  <a:lnTo>
                    <a:pt x="317" y="307"/>
                  </a:lnTo>
                  <a:lnTo>
                    <a:pt x="317" y="308"/>
                  </a:lnTo>
                  <a:lnTo>
                    <a:pt x="315" y="308"/>
                  </a:lnTo>
                  <a:lnTo>
                    <a:pt x="315" y="307"/>
                  </a:lnTo>
                  <a:lnTo>
                    <a:pt x="315" y="305"/>
                  </a:lnTo>
                  <a:lnTo>
                    <a:pt x="315" y="305"/>
                  </a:lnTo>
                  <a:lnTo>
                    <a:pt x="315" y="303"/>
                  </a:lnTo>
                  <a:lnTo>
                    <a:pt x="313" y="305"/>
                  </a:lnTo>
                  <a:lnTo>
                    <a:pt x="313" y="307"/>
                  </a:lnTo>
                  <a:lnTo>
                    <a:pt x="312" y="307"/>
                  </a:lnTo>
                  <a:lnTo>
                    <a:pt x="310" y="307"/>
                  </a:lnTo>
                  <a:lnTo>
                    <a:pt x="308" y="307"/>
                  </a:lnTo>
                  <a:lnTo>
                    <a:pt x="308" y="305"/>
                  </a:lnTo>
                  <a:lnTo>
                    <a:pt x="306" y="305"/>
                  </a:lnTo>
                  <a:lnTo>
                    <a:pt x="305" y="305"/>
                  </a:lnTo>
                  <a:lnTo>
                    <a:pt x="305" y="307"/>
                  </a:lnTo>
                  <a:lnTo>
                    <a:pt x="305" y="308"/>
                  </a:lnTo>
                  <a:lnTo>
                    <a:pt x="303" y="308"/>
                  </a:lnTo>
                  <a:lnTo>
                    <a:pt x="301" y="308"/>
                  </a:lnTo>
                  <a:lnTo>
                    <a:pt x="300" y="308"/>
                  </a:lnTo>
                  <a:lnTo>
                    <a:pt x="300" y="308"/>
                  </a:lnTo>
                  <a:lnTo>
                    <a:pt x="298" y="308"/>
                  </a:lnTo>
                  <a:lnTo>
                    <a:pt x="296" y="308"/>
                  </a:lnTo>
                  <a:lnTo>
                    <a:pt x="294" y="308"/>
                  </a:lnTo>
                  <a:lnTo>
                    <a:pt x="294" y="307"/>
                  </a:lnTo>
                  <a:lnTo>
                    <a:pt x="293" y="307"/>
                  </a:lnTo>
                  <a:lnTo>
                    <a:pt x="291" y="307"/>
                  </a:lnTo>
                  <a:lnTo>
                    <a:pt x="289" y="307"/>
                  </a:lnTo>
                  <a:lnTo>
                    <a:pt x="288" y="307"/>
                  </a:lnTo>
                  <a:lnTo>
                    <a:pt x="286" y="307"/>
                  </a:lnTo>
                  <a:lnTo>
                    <a:pt x="286" y="308"/>
                  </a:lnTo>
                  <a:lnTo>
                    <a:pt x="284" y="308"/>
                  </a:lnTo>
                  <a:lnTo>
                    <a:pt x="284" y="308"/>
                  </a:lnTo>
                  <a:lnTo>
                    <a:pt x="282" y="308"/>
                  </a:lnTo>
                  <a:lnTo>
                    <a:pt x="282" y="310"/>
                  </a:lnTo>
                  <a:lnTo>
                    <a:pt x="281" y="310"/>
                  </a:lnTo>
                  <a:lnTo>
                    <a:pt x="281" y="308"/>
                  </a:lnTo>
                  <a:lnTo>
                    <a:pt x="279" y="307"/>
                  </a:lnTo>
                  <a:lnTo>
                    <a:pt x="277" y="307"/>
                  </a:lnTo>
                  <a:lnTo>
                    <a:pt x="277" y="308"/>
                  </a:lnTo>
                  <a:lnTo>
                    <a:pt x="279" y="308"/>
                  </a:lnTo>
                  <a:lnTo>
                    <a:pt x="279" y="310"/>
                  </a:lnTo>
                  <a:lnTo>
                    <a:pt x="277" y="310"/>
                  </a:lnTo>
                  <a:lnTo>
                    <a:pt x="275" y="310"/>
                  </a:lnTo>
                  <a:lnTo>
                    <a:pt x="275" y="310"/>
                  </a:lnTo>
                  <a:lnTo>
                    <a:pt x="274" y="310"/>
                  </a:lnTo>
                  <a:lnTo>
                    <a:pt x="274" y="310"/>
                  </a:lnTo>
                  <a:lnTo>
                    <a:pt x="274" y="308"/>
                  </a:lnTo>
                  <a:lnTo>
                    <a:pt x="272" y="310"/>
                  </a:lnTo>
                  <a:lnTo>
                    <a:pt x="270" y="310"/>
                  </a:lnTo>
                  <a:lnTo>
                    <a:pt x="270" y="310"/>
                  </a:lnTo>
                  <a:lnTo>
                    <a:pt x="270" y="310"/>
                  </a:lnTo>
                  <a:lnTo>
                    <a:pt x="269" y="310"/>
                  </a:lnTo>
                  <a:lnTo>
                    <a:pt x="269" y="310"/>
                  </a:lnTo>
                  <a:lnTo>
                    <a:pt x="267" y="310"/>
                  </a:lnTo>
                  <a:lnTo>
                    <a:pt x="265" y="310"/>
                  </a:lnTo>
                  <a:lnTo>
                    <a:pt x="267" y="310"/>
                  </a:lnTo>
                  <a:lnTo>
                    <a:pt x="269" y="310"/>
                  </a:lnTo>
                  <a:lnTo>
                    <a:pt x="269" y="312"/>
                  </a:lnTo>
                  <a:lnTo>
                    <a:pt x="267" y="312"/>
                  </a:lnTo>
                  <a:lnTo>
                    <a:pt x="267" y="310"/>
                  </a:lnTo>
                  <a:lnTo>
                    <a:pt x="265" y="310"/>
                  </a:lnTo>
                  <a:lnTo>
                    <a:pt x="265" y="312"/>
                  </a:lnTo>
                  <a:lnTo>
                    <a:pt x="263" y="312"/>
                  </a:lnTo>
                  <a:lnTo>
                    <a:pt x="262" y="312"/>
                  </a:lnTo>
                  <a:lnTo>
                    <a:pt x="262" y="310"/>
                  </a:lnTo>
                  <a:lnTo>
                    <a:pt x="260" y="310"/>
                  </a:lnTo>
                  <a:lnTo>
                    <a:pt x="260" y="312"/>
                  </a:lnTo>
                  <a:lnTo>
                    <a:pt x="258" y="312"/>
                  </a:lnTo>
                  <a:lnTo>
                    <a:pt x="258" y="310"/>
                  </a:lnTo>
                  <a:lnTo>
                    <a:pt x="258" y="310"/>
                  </a:lnTo>
                  <a:lnTo>
                    <a:pt x="257" y="310"/>
                  </a:lnTo>
                  <a:lnTo>
                    <a:pt x="255" y="308"/>
                  </a:lnTo>
                  <a:lnTo>
                    <a:pt x="255" y="310"/>
                  </a:lnTo>
                  <a:lnTo>
                    <a:pt x="257" y="310"/>
                  </a:lnTo>
                  <a:lnTo>
                    <a:pt x="257" y="310"/>
                  </a:lnTo>
                  <a:lnTo>
                    <a:pt x="255" y="310"/>
                  </a:lnTo>
                  <a:lnTo>
                    <a:pt x="255" y="310"/>
                  </a:lnTo>
                  <a:lnTo>
                    <a:pt x="253" y="310"/>
                  </a:lnTo>
                  <a:lnTo>
                    <a:pt x="251" y="312"/>
                  </a:lnTo>
                  <a:lnTo>
                    <a:pt x="250" y="312"/>
                  </a:lnTo>
                  <a:lnTo>
                    <a:pt x="248" y="312"/>
                  </a:lnTo>
                  <a:lnTo>
                    <a:pt x="248" y="310"/>
                  </a:lnTo>
                  <a:lnTo>
                    <a:pt x="246" y="310"/>
                  </a:lnTo>
                  <a:lnTo>
                    <a:pt x="246" y="310"/>
                  </a:lnTo>
                  <a:lnTo>
                    <a:pt x="245" y="310"/>
                  </a:lnTo>
                  <a:lnTo>
                    <a:pt x="245" y="308"/>
                  </a:lnTo>
                  <a:lnTo>
                    <a:pt x="243" y="310"/>
                  </a:lnTo>
                  <a:lnTo>
                    <a:pt x="243" y="310"/>
                  </a:lnTo>
                  <a:lnTo>
                    <a:pt x="241" y="310"/>
                  </a:lnTo>
                  <a:lnTo>
                    <a:pt x="241" y="310"/>
                  </a:lnTo>
                  <a:lnTo>
                    <a:pt x="239" y="310"/>
                  </a:lnTo>
                  <a:lnTo>
                    <a:pt x="239" y="310"/>
                  </a:lnTo>
                  <a:lnTo>
                    <a:pt x="239" y="310"/>
                  </a:lnTo>
                  <a:lnTo>
                    <a:pt x="238" y="310"/>
                  </a:lnTo>
                  <a:lnTo>
                    <a:pt x="236" y="310"/>
                  </a:lnTo>
                  <a:lnTo>
                    <a:pt x="236" y="308"/>
                  </a:lnTo>
                  <a:lnTo>
                    <a:pt x="236" y="307"/>
                  </a:lnTo>
                  <a:lnTo>
                    <a:pt x="234" y="307"/>
                  </a:lnTo>
                  <a:lnTo>
                    <a:pt x="234" y="308"/>
                  </a:lnTo>
                  <a:lnTo>
                    <a:pt x="232" y="308"/>
                  </a:lnTo>
                  <a:lnTo>
                    <a:pt x="232" y="307"/>
                  </a:lnTo>
                  <a:lnTo>
                    <a:pt x="234" y="307"/>
                  </a:lnTo>
                  <a:lnTo>
                    <a:pt x="232" y="305"/>
                  </a:lnTo>
                  <a:lnTo>
                    <a:pt x="234" y="305"/>
                  </a:lnTo>
                  <a:lnTo>
                    <a:pt x="234" y="303"/>
                  </a:lnTo>
                  <a:lnTo>
                    <a:pt x="234" y="301"/>
                  </a:lnTo>
                  <a:lnTo>
                    <a:pt x="234" y="303"/>
                  </a:lnTo>
                  <a:lnTo>
                    <a:pt x="232" y="303"/>
                  </a:lnTo>
                  <a:lnTo>
                    <a:pt x="231" y="303"/>
                  </a:lnTo>
                  <a:lnTo>
                    <a:pt x="231" y="301"/>
                  </a:lnTo>
                  <a:lnTo>
                    <a:pt x="229" y="303"/>
                  </a:lnTo>
                  <a:lnTo>
                    <a:pt x="229" y="301"/>
                  </a:lnTo>
                  <a:lnTo>
                    <a:pt x="227" y="301"/>
                  </a:lnTo>
                  <a:lnTo>
                    <a:pt x="227" y="303"/>
                  </a:lnTo>
                  <a:lnTo>
                    <a:pt x="226" y="303"/>
                  </a:lnTo>
                  <a:lnTo>
                    <a:pt x="226" y="305"/>
                  </a:lnTo>
                  <a:lnTo>
                    <a:pt x="226" y="303"/>
                  </a:lnTo>
                  <a:lnTo>
                    <a:pt x="226" y="301"/>
                  </a:lnTo>
                  <a:lnTo>
                    <a:pt x="227" y="301"/>
                  </a:lnTo>
                  <a:lnTo>
                    <a:pt x="226" y="301"/>
                  </a:lnTo>
                  <a:lnTo>
                    <a:pt x="226" y="300"/>
                  </a:lnTo>
                  <a:lnTo>
                    <a:pt x="224" y="301"/>
                  </a:lnTo>
                  <a:lnTo>
                    <a:pt x="224" y="301"/>
                  </a:lnTo>
                  <a:lnTo>
                    <a:pt x="224" y="303"/>
                  </a:lnTo>
                  <a:lnTo>
                    <a:pt x="224" y="305"/>
                  </a:lnTo>
                  <a:lnTo>
                    <a:pt x="222" y="305"/>
                  </a:lnTo>
                  <a:lnTo>
                    <a:pt x="220" y="305"/>
                  </a:lnTo>
                  <a:lnTo>
                    <a:pt x="220" y="303"/>
                  </a:lnTo>
                  <a:lnTo>
                    <a:pt x="219" y="305"/>
                  </a:lnTo>
                  <a:lnTo>
                    <a:pt x="219" y="307"/>
                  </a:lnTo>
                  <a:lnTo>
                    <a:pt x="217" y="307"/>
                  </a:lnTo>
                  <a:lnTo>
                    <a:pt x="215" y="308"/>
                  </a:lnTo>
                  <a:lnTo>
                    <a:pt x="214" y="308"/>
                  </a:lnTo>
                  <a:lnTo>
                    <a:pt x="214" y="307"/>
                  </a:lnTo>
                  <a:lnTo>
                    <a:pt x="212" y="307"/>
                  </a:lnTo>
                  <a:lnTo>
                    <a:pt x="210" y="308"/>
                  </a:lnTo>
                  <a:lnTo>
                    <a:pt x="210" y="310"/>
                  </a:lnTo>
                  <a:lnTo>
                    <a:pt x="210" y="308"/>
                  </a:lnTo>
                  <a:lnTo>
                    <a:pt x="210" y="307"/>
                  </a:lnTo>
                  <a:lnTo>
                    <a:pt x="210" y="307"/>
                  </a:lnTo>
                  <a:lnTo>
                    <a:pt x="210" y="305"/>
                  </a:lnTo>
                  <a:lnTo>
                    <a:pt x="210" y="305"/>
                  </a:lnTo>
                  <a:lnTo>
                    <a:pt x="208" y="303"/>
                  </a:lnTo>
                  <a:lnTo>
                    <a:pt x="207" y="303"/>
                  </a:lnTo>
                  <a:lnTo>
                    <a:pt x="207" y="301"/>
                  </a:lnTo>
                  <a:lnTo>
                    <a:pt x="205" y="301"/>
                  </a:lnTo>
                  <a:lnTo>
                    <a:pt x="205" y="303"/>
                  </a:lnTo>
                  <a:lnTo>
                    <a:pt x="203" y="303"/>
                  </a:lnTo>
                  <a:lnTo>
                    <a:pt x="203" y="301"/>
                  </a:lnTo>
                  <a:lnTo>
                    <a:pt x="202" y="301"/>
                  </a:lnTo>
                  <a:lnTo>
                    <a:pt x="200" y="301"/>
                  </a:lnTo>
                  <a:lnTo>
                    <a:pt x="200" y="300"/>
                  </a:lnTo>
                  <a:lnTo>
                    <a:pt x="198" y="298"/>
                  </a:lnTo>
                  <a:lnTo>
                    <a:pt x="198" y="300"/>
                  </a:lnTo>
                  <a:lnTo>
                    <a:pt x="196" y="300"/>
                  </a:lnTo>
                  <a:lnTo>
                    <a:pt x="196" y="298"/>
                  </a:lnTo>
                  <a:lnTo>
                    <a:pt x="195" y="296"/>
                  </a:lnTo>
                  <a:lnTo>
                    <a:pt x="195" y="296"/>
                  </a:lnTo>
                  <a:lnTo>
                    <a:pt x="195" y="296"/>
                  </a:lnTo>
                  <a:lnTo>
                    <a:pt x="195" y="298"/>
                  </a:lnTo>
                  <a:lnTo>
                    <a:pt x="195" y="298"/>
                  </a:lnTo>
                  <a:lnTo>
                    <a:pt x="195" y="300"/>
                  </a:lnTo>
                  <a:lnTo>
                    <a:pt x="195" y="300"/>
                  </a:lnTo>
                  <a:lnTo>
                    <a:pt x="195" y="301"/>
                  </a:lnTo>
                  <a:lnTo>
                    <a:pt x="193" y="301"/>
                  </a:lnTo>
                  <a:lnTo>
                    <a:pt x="191" y="301"/>
                  </a:lnTo>
                  <a:lnTo>
                    <a:pt x="191" y="300"/>
                  </a:lnTo>
                  <a:lnTo>
                    <a:pt x="189" y="300"/>
                  </a:lnTo>
                  <a:lnTo>
                    <a:pt x="188" y="298"/>
                  </a:lnTo>
                  <a:lnTo>
                    <a:pt x="188" y="296"/>
                  </a:lnTo>
                  <a:lnTo>
                    <a:pt x="186" y="296"/>
                  </a:lnTo>
                  <a:lnTo>
                    <a:pt x="186" y="296"/>
                  </a:lnTo>
                  <a:lnTo>
                    <a:pt x="186" y="295"/>
                  </a:lnTo>
                  <a:lnTo>
                    <a:pt x="186" y="296"/>
                  </a:lnTo>
                  <a:lnTo>
                    <a:pt x="186" y="296"/>
                  </a:lnTo>
                  <a:lnTo>
                    <a:pt x="184" y="296"/>
                  </a:lnTo>
                  <a:lnTo>
                    <a:pt x="183" y="296"/>
                  </a:lnTo>
                  <a:lnTo>
                    <a:pt x="183" y="295"/>
                  </a:lnTo>
                  <a:lnTo>
                    <a:pt x="181" y="295"/>
                  </a:lnTo>
                  <a:lnTo>
                    <a:pt x="181" y="293"/>
                  </a:lnTo>
                  <a:lnTo>
                    <a:pt x="181" y="291"/>
                  </a:lnTo>
                  <a:lnTo>
                    <a:pt x="179" y="291"/>
                  </a:lnTo>
                  <a:lnTo>
                    <a:pt x="177" y="291"/>
                  </a:lnTo>
                  <a:lnTo>
                    <a:pt x="176" y="291"/>
                  </a:lnTo>
                  <a:lnTo>
                    <a:pt x="171" y="291"/>
                  </a:lnTo>
                  <a:lnTo>
                    <a:pt x="164" y="291"/>
                  </a:lnTo>
                  <a:lnTo>
                    <a:pt x="164" y="291"/>
                  </a:lnTo>
                  <a:lnTo>
                    <a:pt x="160" y="291"/>
                  </a:lnTo>
                  <a:lnTo>
                    <a:pt x="159" y="291"/>
                  </a:lnTo>
                  <a:lnTo>
                    <a:pt x="157" y="291"/>
                  </a:lnTo>
                  <a:lnTo>
                    <a:pt x="150" y="291"/>
                  </a:lnTo>
                  <a:lnTo>
                    <a:pt x="148" y="291"/>
                  </a:lnTo>
                  <a:lnTo>
                    <a:pt x="148" y="291"/>
                  </a:lnTo>
                  <a:lnTo>
                    <a:pt x="145" y="289"/>
                  </a:lnTo>
                  <a:lnTo>
                    <a:pt x="136" y="289"/>
                  </a:lnTo>
                  <a:lnTo>
                    <a:pt x="131" y="289"/>
                  </a:lnTo>
                  <a:lnTo>
                    <a:pt x="129" y="289"/>
                  </a:lnTo>
                  <a:lnTo>
                    <a:pt x="128" y="289"/>
                  </a:lnTo>
                  <a:lnTo>
                    <a:pt x="124" y="289"/>
                  </a:lnTo>
                  <a:lnTo>
                    <a:pt x="119" y="289"/>
                  </a:lnTo>
                  <a:lnTo>
                    <a:pt x="119" y="289"/>
                  </a:lnTo>
                  <a:lnTo>
                    <a:pt x="117" y="289"/>
                  </a:lnTo>
                  <a:lnTo>
                    <a:pt x="116" y="289"/>
                  </a:lnTo>
                  <a:lnTo>
                    <a:pt x="114" y="289"/>
                  </a:lnTo>
                  <a:lnTo>
                    <a:pt x="112" y="289"/>
                  </a:lnTo>
                  <a:lnTo>
                    <a:pt x="105" y="288"/>
                  </a:lnTo>
                  <a:lnTo>
                    <a:pt x="102" y="288"/>
                  </a:lnTo>
                  <a:lnTo>
                    <a:pt x="100" y="288"/>
                  </a:lnTo>
                  <a:lnTo>
                    <a:pt x="97" y="288"/>
                  </a:lnTo>
                  <a:lnTo>
                    <a:pt x="95" y="288"/>
                  </a:lnTo>
                  <a:lnTo>
                    <a:pt x="93" y="288"/>
                  </a:lnTo>
                  <a:lnTo>
                    <a:pt x="86" y="288"/>
                  </a:lnTo>
                  <a:lnTo>
                    <a:pt x="81" y="288"/>
                  </a:lnTo>
                  <a:lnTo>
                    <a:pt x="74" y="288"/>
                  </a:lnTo>
                  <a:lnTo>
                    <a:pt x="74" y="288"/>
                  </a:lnTo>
                  <a:lnTo>
                    <a:pt x="71" y="286"/>
                  </a:lnTo>
                  <a:lnTo>
                    <a:pt x="69" y="286"/>
                  </a:lnTo>
                  <a:lnTo>
                    <a:pt x="67" y="286"/>
                  </a:lnTo>
                  <a:lnTo>
                    <a:pt x="64" y="286"/>
                  </a:lnTo>
                  <a:lnTo>
                    <a:pt x="62" y="286"/>
                  </a:lnTo>
                  <a:lnTo>
                    <a:pt x="59" y="286"/>
                  </a:lnTo>
                  <a:lnTo>
                    <a:pt x="59" y="286"/>
                  </a:lnTo>
                  <a:lnTo>
                    <a:pt x="57" y="286"/>
                  </a:lnTo>
                  <a:lnTo>
                    <a:pt x="55" y="286"/>
                  </a:lnTo>
                  <a:lnTo>
                    <a:pt x="54" y="286"/>
                  </a:lnTo>
                  <a:lnTo>
                    <a:pt x="52" y="286"/>
                  </a:lnTo>
                  <a:lnTo>
                    <a:pt x="50" y="286"/>
                  </a:lnTo>
                  <a:lnTo>
                    <a:pt x="48" y="286"/>
                  </a:lnTo>
                  <a:lnTo>
                    <a:pt x="43" y="286"/>
                  </a:lnTo>
                  <a:lnTo>
                    <a:pt x="42" y="286"/>
                  </a:lnTo>
                  <a:lnTo>
                    <a:pt x="40" y="286"/>
                  </a:lnTo>
                  <a:lnTo>
                    <a:pt x="35" y="286"/>
                  </a:lnTo>
                  <a:lnTo>
                    <a:pt x="30" y="284"/>
                  </a:lnTo>
                  <a:lnTo>
                    <a:pt x="28" y="284"/>
                  </a:lnTo>
                  <a:lnTo>
                    <a:pt x="28" y="284"/>
                  </a:lnTo>
                  <a:lnTo>
                    <a:pt x="23" y="284"/>
                  </a:lnTo>
                  <a:lnTo>
                    <a:pt x="19" y="284"/>
                  </a:lnTo>
                  <a:lnTo>
                    <a:pt x="17" y="284"/>
                  </a:lnTo>
                  <a:lnTo>
                    <a:pt x="12" y="284"/>
                  </a:lnTo>
                  <a:lnTo>
                    <a:pt x="9" y="284"/>
                  </a:lnTo>
                  <a:lnTo>
                    <a:pt x="7" y="284"/>
                  </a:lnTo>
                  <a:lnTo>
                    <a:pt x="5" y="284"/>
                  </a:lnTo>
                  <a:lnTo>
                    <a:pt x="4" y="284"/>
                  </a:lnTo>
                  <a:lnTo>
                    <a:pt x="2" y="284"/>
                  </a:lnTo>
                  <a:lnTo>
                    <a:pt x="0" y="284"/>
                  </a:lnTo>
                  <a:lnTo>
                    <a:pt x="0" y="281"/>
                  </a:lnTo>
                  <a:lnTo>
                    <a:pt x="0" y="279"/>
                  </a:lnTo>
                  <a:lnTo>
                    <a:pt x="0" y="274"/>
                  </a:lnTo>
                  <a:lnTo>
                    <a:pt x="0" y="265"/>
                  </a:lnTo>
                  <a:lnTo>
                    <a:pt x="0" y="252"/>
                  </a:lnTo>
                  <a:lnTo>
                    <a:pt x="0" y="245"/>
                  </a:lnTo>
                  <a:lnTo>
                    <a:pt x="2" y="241"/>
                  </a:lnTo>
                  <a:lnTo>
                    <a:pt x="2" y="231"/>
                  </a:lnTo>
                  <a:lnTo>
                    <a:pt x="2" y="229"/>
                  </a:lnTo>
                  <a:lnTo>
                    <a:pt x="2" y="217"/>
                  </a:lnTo>
                  <a:lnTo>
                    <a:pt x="2" y="207"/>
                  </a:lnTo>
                  <a:lnTo>
                    <a:pt x="2" y="205"/>
                  </a:lnTo>
                  <a:lnTo>
                    <a:pt x="2" y="205"/>
                  </a:lnTo>
                  <a:lnTo>
                    <a:pt x="2" y="202"/>
                  </a:lnTo>
                  <a:lnTo>
                    <a:pt x="2" y="190"/>
                  </a:lnTo>
                  <a:lnTo>
                    <a:pt x="2" y="186"/>
                  </a:lnTo>
                  <a:lnTo>
                    <a:pt x="2" y="183"/>
                  </a:lnTo>
                  <a:lnTo>
                    <a:pt x="2" y="178"/>
                  </a:lnTo>
                  <a:lnTo>
                    <a:pt x="2" y="176"/>
                  </a:lnTo>
                  <a:lnTo>
                    <a:pt x="2" y="174"/>
                  </a:lnTo>
                  <a:lnTo>
                    <a:pt x="4" y="171"/>
                  </a:lnTo>
                  <a:lnTo>
                    <a:pt x="4" y="167"/>
                  </a:lnTo>
                  <a:lnTo>
                    <a:pt x="4" y="162"/>
                  </a:lnTo>
                  <a:lnTo>
                    <a:pt x="4" y="160"/>
                  </a:lnTo>
                  <a:lnTo>
                    <a:pt x="4" y="157"/>
                  </a:lnTo>
                  <a:lnTo>
                    <a:pt x="4" y="155"/>
                  </a:lnTo>
                  <a:lnTo>
                    <a:pt x="4" y="152"/>
                  </a:lnTo>
                  <a:lnTo>
                    <a:pt x="4" y="148"/>
                  </a:lnTo>
                  <a:lnTo>
                    <a:pt x="4" y="145"/>
                  </a:lnTo>
                  <a:lnTo>
                    <a:pt x="4" y="141"/>
                  </a:lnTo>
                  <a:lnTo>
                    <a:pt x="4" y="135"/>
                  </a:lnTo>
                  <a:lnTo>
                    <a:pt x="4" y="133"/>
                  </a:lnTo>
                  <a:lnTo>
                    <a:pt x="4" y="131"/>
                  </a:lnTo>
                  <a:lnTo>
                    <a:pt x="4" y="129"/>
                  </a:lnTo>
                  <a:lnTo>
                    <a:pt x="5" y="124"/>
                  </a:lnTo>
                  <a:lnTo>
                    <a:pt x="5" y="117"/>
                  </a:lnTo>
                  <a:lnTo>
                    <a:pt x="5" y="112"/>
                  </a:lnTo>
                  <a:lnTo>
                    <a:pt x="5" y="110"/>
                  </a:lnTo>
                  <a:lnTo>
                    <a:pt x="5" y="109"/>
                  </a:lnTo>
                  <a:lnTo>
                    <a:pt x="5" y="105"/>
                  </a:lnTo>
                  <a:lnTo>
                    <a:pt x="5" y="100"/>
                  </a:lnTo>
                  <a:lnTo>
                    <a:pt x="5" y="98"/>
                  </a:lnTo>
                  <a:lnTo>
                    <a:pt x="5" y="97"/>
                  </a:lnTo>
                  <a:lnTo>
                    <a:pt x="5" y="95"/>
                  </a:lnTo>
                  <a:lnTo>
                    <a:pt x="5" y="90"/>
                  </a:lnTo>
                  <a:lnTo>
                    <a:pt x="5" y="85"/>
                  </a:lnTo>
                  <a:lnTo>
                    <a:pt x="5" y="85"/>
                  </a:lnTo>
                  <a:lnTo>
                    <a:pt x="5" y="83"/>
                  </a:lnTo>
                  <a:lnTo>
                    <a:pt x="5" y="81"/>
                  </a:lnTo>
                  <a:lnTo>
                    <a:pt x="5" y="79"/>
                  </a:lnTo>
                  <a:lnTo>
                    <a:pt x="7" y="74"/>
                  </a:lnTo>
                  <a:lnTo>
                    <a:pt x="7" y="73"/>
                  </a:lnTo>
                  <a:lnTo>
                    <a:pt x="7" y="71"/>
                  </a:lnTo>
                  <a:lnTo>
                    <a:pt x="7" y="67"/>
                  </a:lnTo>
                  <a:lnTo>
                    <a:pt x="7" y="62"/>
                  </a:lnTo>
                  <a:lnTo>
                    <a:pt x="7" y="55"/>
                  </a:lnTo>
                  <a:lnTo>
                    <a:pt x="7" y="50"/>
                  </a:lnTo>
                  <a:lnTo>
                    <a:pt x="7" y="43"/>
                  </a:lnTo>
                  <a:lnTo>
                    <a:pt x="7" y="40"/>
                  </a:lnTo>
                  <a:lnTo>
                    <a:pt x="9" y="28"/>
                  </a:lnTo>
                  <a:lnTo>
                    <a:pt x="9" y="16"/>
                  </a:lnTo>
                  <a:lnTo>
                    <a:pt x="9" y="14"/>
                  </a:lnTo>
                  <a:lnTo>
                    <a:pt x="9" y="11"/>
                  </a:lnTo>
                  <a:lnTo>
                    <a:pt x="9"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2" name="Freeform 196"/>
            <p:cNvSpPr>
              <a:spLocks/>
            </p:cNvSpPr>
            <p:nvPr/>
          </p:nvSpPr>
          <p:spPr bwMode="auto">
            <a:xfrm>
              <a:off x="3575934" y="3476419"/>
              <a:ext cx="546100" cy="554038"/>
            </a:xfrm>
            <a:custGeom>
              <a:avLst/>
              <a:gdLst/>
              <a:ahLst/>
              <a:cxnLst>
                <a:cxn ang="0">
                  <a:pos x="169" y="7"/>
                </a:cxn>
                <a:cxn ang="0">
                  <a:pos x="189" y="12"/>
                </a:cxn>
                <a:cxn ang="0">
                  <a:pos x="198" y="17"/>
                </a:cxn>
                <a:cxn ang="0">
                  <a:pos x="203" y="16"/>
                </a:cxn>
                <a:cxn ang="0">
                  <a:pos x="213" y="19"/>
                </a:cxn>
                <a:cxn ang="0">
                  <a:pos x="220" y="24"/>
                </a:cxn>
                <a:cxn ang="0">
                  <a:pos x="231" y="16"/>
                </a:cxn>
                <a:cxn ang="0">
                  <a:pos x="236" y="17"/>
                </a:cxn>
                <a:cxn ang="0">
                  <a:pos x="239" y="24"/>
                </a:cxn>
                <a:cxn ang="0">
                  <a:pos x="248" y="26"/>
                </a:cxn>
                <a:cxn ang="0">
                  <a:pos x="260" y="26"/>
                </a:cxn>
                <a:cxn ang="0">
                  <a:pos x="265" y="26"/>
                </a:cxn>
                <a:cxn ang="0">
                  <a:pos x="270" y="26"/>
                </a:cxn>
                <a:cxn ang="0">
                  <a:pos x="280" y="26"/>
                </a:cxn>
                <a:cxn ang="0">
                  <a:pos x="287" y="24"/>
                </a:cxn>
                <a:cxn ang="0">
                  <a:pos x="301" y="24"/>
                </a:cxn>
                <a:cxn ang="0">
                  <a:pos x="313" y="23"/>
                </a:cxn>
                <a:cxn ang="0">
                  <a:pos x="322" y="23"/>
                </a:cxn>
                <a:cxn ang="0">
                  <a:pos x="330" y="24"/>
                </a:cxn>
                <a:cxn ang="0">
                  <a:pos x="336" y="29"/>
                </a:cxn>
                <a:cxn ang="0">
                  <a:pos x="334" y="76"/>
                </a:cxn>
                <a:cxn ang="0">
                  <a:pos x="332" y="128"/>
                </a:cxn>
                <a:cxn ang="0">
                  <a:pos x="330" y="169"/>
                </a:cxn>
                <a:cxn ang="0">
                  <a:pos x="332" y="207"/>
                </a:cxn>
                <a:cxn ang="0">
                  <a:pos x="341" y="244"/>
                </a:cxn>
                <a:cxn ang="0">
                  <a:pos x="339" y="281"/>
                </a:cxn>
                <a:cxn ang="0">
                  <a:pos x="336" y="336"/>
                </a:cxn>
                <a:cxn ang="0">
                  <a:pos x="332" y="343"/>
                </a:cxn>
                <a:cxn ang="0">
                  <a:pos x="318" y="344"/>
                </a:cxn>
                <a:cxn ang="0">
                  <a:pos x="313" y="337"/>
                </a:cxn>
                <a:cxn ang="0">
                  <a:pos x="306" y="343"/>
                </a:cxn>
                <a:cxn ang="0">
                  <a:pos x="301" y="336"/>
                </a:cxn>
                <a:cxn ang="0">
                  <a:pos x="293" y="329"/>
                </a:cxn>
                <a:cxn ang="0">
                  <a:pos x="279" y="329"/>
                </a:cxn>
                <a:cxn ang="0">
                  <a:pos x="263" y="334"/>
                </a:cxn>
                <a:cxn ang="0">
                  <a:pos x="253" y="343"/>
                </a:cxn>
                <a:cxn ang="0">
                  <a:pos x="250" y="334"/>
                </a:cxn>
                <a:cxn ang="0">
                  <a:pos x="246" y="329"/>
                </a:cxn>
                <a:cxn ang="0">
                  <a:pos x="243" y="343"/>
                </a:cxn>
                <a:cxn ang="0">
                  <a:pos x="234" y="344"/>
                </a:cxn>
                <a:cxn ang="0">
                  <a:pos x="225" y="349"/>
                </a:cxn>
                <a:cxn ang="0">
                  <a:pos x="229" y="343"/>
                </a:cxn>
                <a:cxn ang="0">
                  <a:pos x="232" y="334"/>
                </a:cxn>
                <a:cxn ang="0">
                  <a:pos x="220" y="330"/>
                </a:cxn>
                <a:cxn ang="0">
                  <a:pos x="150" y="329"/>
                </a:cxn>
                <a:cxn ang="0">
                  <a:pos x="102" y="325"/>
                </a:cxn>
                <a:cxn ang="0">
                  <a:pos x="59" y="324"/>
                </a:cxn>
                <a:cxn ang="0">
                  <a:pos x="17" y="322"/>
                </a:cxn>
                <a:cxn ang="0">
                  <a:pos x="0" y="298"/>
                </a:cxn>
                <a:cxn ang="0">
                  <a:pos x="0" y="269"/>
                </a:cxn>
                <a:cxn ang="0">
                  <a:pos x="2" y="232"/>
                </a:cxn>
                <a:cxn ang="0">
                  <a:pos x="4" y="201"/>
                </a:cxn>
                <a:cxn ang="0">
                  <a:pos x="4" y="176"/>
                </a:cxn>
                <a:cxn ang="0">
                  <a:pos x="4" y="143"/>
                </a:cxn>
                <a:cxn ang="0">
                  <a:pos x="4" y="114"/>
                </a:cxn>
                <a:cxn ang="0">
                  <a:pos x="4" y="79"/>
                </a:cxn>
                <a:cxn ang="0">
                  <a:pos x="4" y="26"/>
                </a:cxn>
                <a:cxn ang="0">
                  <a:pos x="5" y="2"/>
                </a:cxn>
                <a:cxn ang="0">
                  <a:pos x="33" y="0"/>
                </a:cxn>
                <a:cxn ang="0">
                  <a:pos x="60" y="2"/>
                </a:cxn>
                <a:cxn ang="0">
                  <a:pos x="86" y="4"/>
                </a:cxn>
                <a:cxn ang="0">
                  <a:pos x="122" y="5"/>
                </a:cxn>
              </a:cxnLst>
              <a:rect l="0" t="0" r="r" b="b"/>
              <a:pathLst>
                <a:path w="344" h="349">
                  <a:moveTo>
                    <a:pt x="134" y="5"/>
                  </a:moveTo>
                  <a:lnTo>
                    <a:pt x="136" y="5"/>
                  </a:lnTo>
                  <a:lnTo>
                    <a:pt x="141" y="5"/>
                  </a:lnTo>
                  <a:lnTo>
                    <a:pt x="150" y="5"/>
                  </a:lnTo>
                  <a:lnTo>
                    <a:pt x="153" y="7"/>
                  </a:lnTo>
                  <a:lnTo>
                    <a:pt x="153" y="7"/>
                  </a:lnTo>
                  <a:lnTo>
                    <a:pt x="155" y="7"/>
                  </a:lnTo>
                  <a:lnTo>
                    <a:pt x="162" y="7"/>
                  </a:lnTo>
                  <a:lnTo>
                    <a:pt x="164" y="7"/>
                  </a:lnTo>
                  <a:lnTo>
                    <a:pt x="165" y="7"/>
                  </a:lnTo>
                  <a:lnTo>
                    <a:pt x="169" y="7"/>
                  </a:lnTo>
                  <a:lnTo>
                    <a:pt x="169" y="7"/>
                  </a:lnTo>
                  <a:lnTo>
                    <a:pt x="176" y="7"/>
                  </a:lnTo>
                  <a:lnTo>
                    <a:pt x="181" y="7"/>
                  </a:lnTo>
                  <a:lnTo>
                    <a:pt x="182" y="7"/>
                  </a:lnTo>
                  <a:lnTo>
                    <a:pt x="184" y="7"/>
                  </a:lnTo>
                  <a:lnTo>
                    <a:pt x="186" y="7"/>
                  </a:lnTo>
                  <a:lnTo>
                    <a:pt x="186" y="9"/>
                  </a:lnTo>
                  <a:lnTo>
                    <a:pt x="186" y="11"/>
                  </a:lnTo>
                  <a:lnTo>
                    <a:pt x="188" y="11"/>
                  </a:lnTo>
                  <a:lnTo>
                    <a:pt x="188" y="12"/>
                  </a:lnTo>
                  <a:lnTo>
                    <a:pt x="189" y="12"/>
                  </a:lnTo>
                  <a:lnTo>
                    <a:pt x="191" y="12"/>
                  </a:lnTo>
                  <a:lnTo>
                    <a:pt x="191" y="12"/>
                  </a:lnTo>
                  <a:lnTo>
                    <a:pt x="191" y="11"/>
                  </a:lnTo>
                  <a:lnTo>
                    <a:pt x="191" y="12"/>
                  </a:lnTo>
                  <a:lnTo>
                    <a:pt x="191" y="12"/>
                  </a:lnTo>
                  <a:lnTo>
                    <a:pt x="193" y="12"/>
                  </a:lnTo>
                  <a:lnTo>
                    <a:pt x="193" y="14"/>
                  </a:lnTo>
                  <a:lnTo>
                    <a:pt x="194" y="16"/>
                  </a:lnTo>
                  <a:lnTo>
                    <a:pt x="196" y="16"/>
                  </a:lnTo>
                  <a:lnTo>
                    <a:pt x="196" y="17"/>
                  </a:lnTo>
                  <a:lnTo>
                    <a:pt x="198" y="17"/>
                  </a:lnTo>
                  <a:lnTo>
                    <a:pt x="200" y="17"/>
                  </a:lnTo>
                  <a:lnTo>
                    <a:pt x="200" y="16"/>
                  </a:lnTo>
                  <a:lnTo>
                    <a:pt x="200" y="16"/>
                  </a:lnTo>
                  <a:lnTo>
                    <a:pt x="200" y="14"/>
                  </a:lnTo>
                  <a:lnTo>
                    <a:pt x="200" y="14"/>
                  </a:lnTo>
                  <a:lnTo>
                    <a:pt x="200" y="12"/>
                  </a:lnTo>
                  <a:lnTo>
                    <a:pt x="200" y="12"/>
                  </a:lnTo>
                  <a:lnTo>
                    <a:pt x="200" y="12"/>
                  </a:lnTo>
                  <a:lnTo>
                    <a:pt x="201" y="14"/>
                  </a:lnTo>
                  <a:lnTo>
                    <a:pt x="201" y="16"/>
                  </a:lnTo>
                  <a:lnTo>
                    <a:pt x="203" y="16"/>
                  </a:lnTo>
                  <a:lnTo>
                    <a:pt x="203" y="14"/>
                  </a:lnTo>
                  <a:lnTo>
                    <a:pt x="205" y="16"/>
                  </a:lnTo>
                  <a:lnTo>
                    <a:pt x="205" y="17"/>
                  </a:lnTo>
                  <a:lnTo>
                    <a:pt x="207" y="17"/>
                  </a:lnTo>
                  <a:lnTo>
                    <a:pt x="208" y="17"/>
                  </a:lnTo>
                  <a:lnTo>
                    <a:pt x="208" y="19"/>
                  </a:lnTo>
                  <a:lnTo>
                    <a:pt x="210" y="19"/>
                  </a:lnTo>
                  <a:lnTo>
                    <a:pt x="210" y="17"/>
                  </a:lnTo>
                  <a:lnTo>
                    <a:pt x="212" y="17"/>
                  </a:lnTo>
                  <a:lnTo>
                    <a:pt x="212" y="19"/>
                  </a:lnTo>
                  <a:lnTo>
                    <a:pt x="213" y="19"/>
                  </a:lnTo>
                  <a:lnTo>
                    <a:pt x="215" y="21"/>
                  </a:lnTo>
                  <a:lnTo>
                    <a:pt x="215" y="21"/>
                  </a:lnTo>
                  <a:lnTo>
                    <a:pt x="215" y="23"/>
                  </a:lnTo>
                  <a:lnTo>
                    <a:pt x="215" y="23"/>
                  </a:lnTo>
                  <a:lnTo>
                    <a:pt x="215" y="24"/>
                  </a:lnTo>
                  <a:lnTo>
                    <a:pt x="215" y="26"/>
                  </a:lnTo>
                  <a:lnTo>
                    <a:pt x="215" y="24"/>
                  </a:lnTo>
                  <a:lnTo>
                    <a:pt x="217" y="23"/>
                  </a:lnTo>
                  <a:lnTo>
                    <a:pt x="219" y="23"/>
                  </a:lnTo>
                  <a:lnTo>
                    <a:pt x="219" y="24"/>
                  </a:lnTo>
                  <a:lnTo>
                    <a:pt x="220" y="24"/>
                  </a:lnTo>
                  <a:lnTo>
                    <a:pt x="222" y="23"/>
                  </a:lnTo>
                  <a:lnTo>
                    <a:pt x="224" y="23"/>
                  </a:lnTo>
                  <a:lnTo>
                    <a:pt x="224" y="21"/>
                  </a:lnTo>
                  <a:lnTo>
                    <a:pt x="225" y="19"/>
                  </a:lnTo>
                  <a:lnTo>
                    <a:pt x="225" y="21"/>
                  </a:lnTo>
                  <a:lnTo>
                    <a:pt x="227" y="21"/>
                  </a:lnTo>
                  <a:lnTo>
                    <a:pt x="229" y="21"/>
                  </a:lnTo>
                  <a:lnTo>
                    <a:pt x="229" y="19"/>
                  </a:lnTo>
                  <a:lnTo>
                    <a:pt x="229" y="17"/>
                  </a:lnTo>
                  <a:lnTo>
                    <a:pt x="229" y="17"/>
                  </a:lnTo>
                  <a:lnTo>
                    <a:pt x="231" y="16"/>
                  </a:lnTo>
                  <a:lnTo>
                    <a:pt x="231" y="17"/>
                  </a:lnTo>
                  <a:lnTo>
                    <a:pt x="232" y="17"/>
                  </a:lnTo>
                  <a:lnTo>
                    <a:pt x="231" y="17"/>
                  </a:lnTo>
                  <a:lnTo>
                    <a:pt x="231" y="19"/>
                  </a:lnTo>
                  <a:lnTo>
                    <a:pt x="231" y="21"/>
                  </a:lnTo>
                  <a:lnTo>
                    <a:pt x="231" y="19"/>
                  </a:lnTo>
                  <a:lnTo>
                    <a:pt x="232" y="19"/>
                  </a:lnTo>
                  <a:lnTo>
                    <a:pt x="232" y="17"/>
                  </a:lnTo>
                  <a:lnTo>
                    <a:pt x="234" y="17"/>
                  </a:lnTo>
                  <a:lnTo>
                    <a:pt x="234" y="19"/>
                  </a:lnTo>
                  <a:lnTo>
                    <a:pt x="236" y="17"/>
                  </a:lnTo>
                  <a:lnTo>
                    <a:pt x="236" y="19"/>
                  </a:lnTo>
                  <a:lnTo>
                    <a:pt x="237" y="19"/>
                  </a:lnTo>
                  <a:lnTo>
                    <a:pt x="239" y="19"/>
                  </a:lnTo>
                  <a:lnTo>
                    <a:pt x="239" y="17"/>
                  </a:lnTo>
                  <a:lnTo>
                    <a:pt x="239" y="19"/>
                  </a:lnTo>
                  <a:lnTo>
                    <a:pt x="239" y="21"/>
                  </a:lnTo>
                  <a:lnTo>
                    <a:pt x="237" y="21"/>
                  </a:lnTo>
                  <a:lnTo>
                    <a:pt x="239" y="23"/>
                  </a:lnTo>
                  <a:lnTo>
                    <a:pt x="237" y="23"/>
                  </a:lnTo>
                  <a:lnTo>
                    <a:pt x="237" y="24"/>
                  </a:lnTo>
                  <a:lnTo>
                    <a:pt x="239" y="24"/>
                  </a:lnTo>
                  <a:lnTo>
                    <a:pt x="239" y="23"/>
                  </a:lnTo>
                  <a:lnTo>
                    <a:pt x="241" y="23"/>
                  </a:lnTo>
                  <a:lnTo>
                    <a:pt x="241" y="24"/>
                  </a:lnTo>
                  <a:lnTo>
                    <a:pt x="241" y="26"/>
                  </a:lnTo>
                  <a:lnTo>
                    <a:pt x="243" y="26"/>
                  </a:lnTo>
                  <a:lnTo>
                    <a:pt x="244" y="26"/>
                  </a:lnTo>
                  <a:lnTo>
                    <a:pt x="244" y="26"/>
                  </a:lnTo>
                  <a:lnTo>
                    <a:pt x="244" y="26"/>
                  </a:lnTo>
                  <a:lnTo>
                    <a:pt x="246" y="26"/>
                  </a:lnTo>
                  <a:lnTo>
                    <a:pt x="246" y="26"/>
                  </a:lnTo>
                  <a:lnTo>
                    <a:pt x="248" y="26"/>
                  </a:lnTo>
                  <a:lnTo>
                    <a:pt x="248" y="26"/>
                  </a:lnTo>
                  <a:lnTo>
                    <a:pt x="250" y="24"/>
                  </a:lnTo>
                  <a:lnTo>
                    <a:pt x="250" y="26"/>
                  </a:lnTo>
                  <a:lnTo>
                    <a:pt x="251" y="26"/>
                  </a:lnTo>
                  <a:lnTo>
                    <a:pt x="251" y="26"/>
                  </a:lnTo>
                  <a:lnTo>
                    <a:pt x="253" y="26"/>
                  </a:lnTo>
                  <a:lnTo>
                    <a:pt x="253" y="28"/>
                  </a:lnTo>
                  <a:lnTo>
                    <a:pt x="255" y="28"/>
                  </a:lnTo>
                  <a:lnTo>
                    <a:pt x="256" y="28"/>
                  </a:lnTo>
                  <a:lnTo>
                    <a:pt x="258" y="26"/>
                  </a:lnTo>
                  <a:lnTo>
                    <a:pt x="260" y="26"/>
                  </a:lnTo>
                  <a:lnTo>
                    <a:pt x="260" y="26"/>
                  </a:lnTo>
                  <a:lnTo>
                    <a:pt x="262" y="26"/>
                  </a:lnTo>
                  <a:lnTo>
                    <a:pt x="262" y="26"/>
                  </a:lnTo>
                  <a:lnTo>
                    <a:pt x="260" y="26"/>
                  </a:lnTo>
                  <a:lnTo>
                    <a:pt x="260" y="24"/>
                  </a:lnTo>
                  <a:lnTo>
                    <a:pt x="262" y="26"/>
                  </a:lnTo>
                  <a:lnTo>
                    <a:pt x="263" y="26"/>
                  </a:lnTo>
                  <a:lnTo>
                    <a:pt x="263" y="26"/>
                  </a:lnTo>
                  <a:lnTo>
                    <a:pt x="263" y="28"/>
                  </a:lnTo>
                  <a:lnTo>
                    <a:pt x="265" y="28"/>
                  </a:lnTo>
                  <a:lnTo>
                    <a:pt x="265" y="26"/>
                  </a:lnTo>
                  <a:lnTo>
                    <a:pt x="267" y="26"/>
                  </a:lnTo>
                  <a:lnTo>
                    <a:pt x="267" y="28"/>
                  </a:lnTo>
                  <a:lnTo>
                    <a:pt x="268" y="28"/>
                  </a:lnTo>
                  <a:lnTo>
                    <a:pt x="270" y="28"/>
                  </a:lnTo>
                  <a:lnTo>
                    <a:pt x="270" y="26"/>
                  </a:lnTo>
                  <a:lnTo>
                    <a:pt x="272" y="26"/>
                  </a:lnTo>
                  <a:lnTo>
                    <a:pt x="272" y="28"/>
                  </a:lnTo>
                  <a:lnTo>
                    <a:pt x="274" y="28"/>
                  </a:lnTo>
                  <a:lnTo>
                    <a:pt x="274" y="26"/>
                  </a:lnTo>
                  <a:lnTo>
                    <a:pt x="272" y="26"/>
                  </a:lnTo>
                  <a:lnTo>
                    <a:pt x="270" y="26"/>
                  </a:lnTo>
                  <a:lnTo>
                    <a:pt x="272" y="26"/>
                  </a:lnTo>
                  <a:lnTo>
                    <a:pt x="274" y="26"/>
                  </a:lnTo>
                  <a:lnTo>
                    <a:pt x="274" y="26"/>
                  </a:lnTo>
                  <a:lnTo>
                    <a:pt x="275" y="26"/>
                  </a:lnTo>
                  <a:lnTo>
                    <a:pt x="275" y="26"/>
                  </a:lnTo>
                  <a:lnTo>
                    <a:pt x="275" y="26"/>
                  </a:lnTo>
                  <a:lnTo>
                    <a:pt x="277" y="26"/>
                  </a:lnTo>
                  <a:lnTo>
                    <a:pt x="279" y="24"/>
                  </a:lnTo>
                  <a:lnTo>
                    <a:pt x="279" y="26"/>
                  </a:lnTo>
                  <a:lnTo>
                    <a:pt x="279" y="26"/>
                  </a:lnTo>
                  <a:lnTo>
                    <a:pt x="280" y="26"/>
                  </a:lnTo>
                  <a:lnTo>
                    <a:pt x="280" y="26"/>
                  </a:lnTo>
                  <a:lnTo>
                    <a:pt x="282" y="26"/>
                  </a:lnTo>
                  <a:lnTo>
                    <a:pt x="284" y="26"/>
                  </a:lnTo>
                  <a:lnTo>
                    <a:pt x="284" y="24"/>
                  </a:lnTo>
                  <a:lnTo>
                    <a:pt x="282" y="24"/>
                  </a:lnTo>
                  <a:lnTo>
                    <a:pt x="282" y="23"/>
                  </a:lnTo>
                  <a:lnTo>
                    <a:pt x="284" y="23"/>
                  </a:lnTo>
                  <a:lnTo>
                    <a:pt x="286" y="24"/>
                  </a:lnTo>
                  <a:lnTo>
                    <a:pt x="286" y="26"/>
                  </a:lnTo>
                  <a:lnTo>
                    <a:pt x="287" y="26"/>
                  </a:lnTo>
                  <a:lnTo>
                    <a:pt x="287" y="24"/>
                  </a:lnTo>
                  <a:lnTo>
                    <a:pt x="289" y="24"/>
                  </a:lnTo>
                  <a:lnTo>
                    <a:pt x="289" y="24"/>
                  </a:lnTo>
                  <a:lnTo>
                    <a:pt x="291" y="24"/>
                  </a:lnTo>
                  <a:lnTo>
                    <a:pt x="291" y="23"/>
                  </a:lnTo>
                  <a:lnTo>
                    <a:pt x="293" y="23"/>
                  </a:lnTo>
                  <a:lnTo>
                    <a:pt x="294" y="23"/>
                  </a:lnTo>
                  <a:lnTo>
                    <a:pt x="296" y="23"/>
                  </a:lnTo>
                  <a:lnTo>
                    <a:pt x="298" y="23"/>
                  </a:lnTo>
                  <a:lnTo>
                    <a:pt x="299" y="23"/>
                  </a:lnTo>
                  <a:lnTo>
                    <a:pt x="299" y="24"/>
                  </a:lnTo>
                  <a:lnTo>
                    <a:pt x="301" y="24"/>
                  </a:lnTo>
                  <a:lnTo>
                    <a:pt x="303" y="24"/>
                  </a:lnTo>
                  <a:lnTo>
                    <a:pt x="305" y="24"/>
                  </a:lnTo>
                  <a:lnTo>
                    <a:pt x="305" y="24"/>
                  </a:lnTo>
                  <a:lnTo>
                    <a:pt x="306" y="24"/>
                  </a:lnTo>
                  <a:lnTo>
                    <a:pt x="308" y="24"/>
                  </a:lnTo>
                  <a:lnTo>
                    <a:pt x="310" y="24"/>
                  </a:lnTo>
                  <a:lnTo>
                    <a:pt x="310" y="23"/>
                  </a:lnTo>
                  <a:lnTo>
                    <a:pt x="310" y="21"/>
                  </a:lnTo>
                  <a:lnTo>
                    <a:pt x="311" y="21"/>
                  </a:lnTo>
                  <a:lnTo>
                    <a:pt x="313" y="21"/>
                  </a:lnTo>
                  <a:lnTo>
                    <a:pt x="313" y="23"/>
                  </a:lnTo>
                  <a:lnTo>
                    <a:pt x="315" y="23"/>
                  </a:lnTo>
                  <a:lnTo>
                    <a:pt x="317" y="23"/>
                  </a:lnTo>
                  <a:lnTo>
                    <a:pt x="318" y="23"/>
                  </a:lnTo>
                  <a:lnTo>
                    <a:pt x="318" y="21"/>
                  </a:lnTo>
                  <a:lnTo>
                    <a:pt x="320" y="19"/>
                  </a:lnTo>
                  <a:lnTo>
                    <a:pt x="320" y="21"/>
                  </a:lnTo>
                  <a:lnTo>
                    <a:pt x="320" y="21"/>
                  </a:lnTo>
                  <a:lnTo>
                    <a:pt x="320" y="23"/>
                  </a:lnTo>
                  <a:lnTo>
                    <a:pt x="320" y="24"/>
                  </a:lnTo>
                  <a:lnTo>
                    <a:pt x="322" y="24"/>
                  </a:lnTo>
                  <a:lnTo>
                    <a:pt x="322" y="23"/>
                  </a:lnTo>
                  <a:lnTo>
                    <a:pt x="322" y="21"/>
                  </a:lnTo>
                  <a:lnTo>
                    <a:pt x="323" y="21"/>
                  </a:lnTo>
                  <a:lnTo>
                    <a:pt x="323" y="23"/>
                  </a:lnTo>
                  <a:lnTo>
                    <a:pt x="323" y="24"/>
                  </a:lnTo>
                  <a:lnTo>
                    <a:pt x="325" y="24"/>
                  </a:lnTo>
                  <a:lnTo>
                    <a:pt x="325" y="26"/>
                  </a:lnTo>
                  <a:lnTo>
                    <a:pt x="327" y="26"/>
                  </a:lnTo>
                  <a:lnTo>
                    <a:pt x="327" y="26"/>
                  </a:lnTo>
                  <a:lnTo>
                    <a:pt x="327" y="24"/>
                  </a:lnTo>
                  <a:lnTo>
                    <a:pt x="329" y="24"/>
                  </a:lnTo>
                  <a:lnTo>
                    <a:pt x="330" y="24"/>
                  </a:lnTo>
                  <a:lnTo>
                    <a:pt x="330" y="26"/>
                  </a:lnTo>
                  <a:lnTo>
                    <a:pt x="330" y="26"/>
                  </a:lnTo>
                  <a:lnTo>
                    <a:pt x="329" y="26"/>
                  </a:lnTo>
                  <a:lnTo>
                    <a:pt x="330" y="26"/>
                  </a:lnTo>
                  <a:lnTo>
                    <a:pt x="330" y="28"/>
                  </a:lnTo>
                  <a:lnTo>
                    <a:pt x="332" y="26"/>
                  </a:lnTo>
                  <a:lnTo>
                    <a:pt x="332" y="28"/>
                  </a:lnTo>
                  <a:lnTo>
                    <a:pt x="334" y="28"/>
                  </a:lnTo>
                  <a:lnTo>
                    <a:pt x="336" y="28"/>
                  </a:lnTo>
                  <a:lnTo>
                    <a:pt x="336" y="28"/>
                  </a:lnTo>
                  <a:lnTo>
                    <a:pt x="336" y="29"/>
                  </a:lnTo>
                  <a:lnTo>
                    <a:pt x="336" y="35"/>
                  </a:lnTo>
                  <a:lnTo>
                    <a:pt x="336" y="40"/>
                  </a:lnTo>
                  <a:lnTo>
                    <a:pt x="336" y="48"/>
                  </a:lnTo>
                  <a:lnTo>
                    <a:pt x="336" y="57"/>
                  </a:lnTo>
                  <a:lnTo>
                    <a:pt x="336" y="57"/>
                  </a:lnTo>
                  <a:lnTo>
                    <a:pt x="336" y="60"/>
                  </a:lnTo>
                  <a:lnTo>
                    <a:pt x="336" y="62"/>
                  </a:lnTo>
                  <a:lnTo>
                    <a:pt x="336" y="66"/>
                  </a:lnTo>
                  <a:lnTo>
                    <a:pt x="336" y="67"/>
                  </a:lnTo>
                  <a:lnTo>
                    <a:pt x="334" y="72"/>
                  </a:lnTo>
                  <a:lnTo>
                    <a:pt x="334" y="76"/>
                  </a:lnTo>
                  <a:lnTo>
                    <a:pt x="334" y="78"/>
                  </a:lnTo>
                  <a:lnTo>
                    <a:pt x="334" y="79"/>
                  </a:lnTo>
                  <a:lnTo>
                    <a:pt x="334" y="83"/>
                  </a:lnTo>
                  <a:lnTo>
                    <a:pt x="334" y="84"/>
                  </a:lnTo>
                  <a:lnTo>
                    <a:pt x="334" y="86"/>
                  </a:lnTo>
                  <a:lnTo>
                    <a:pt x="334" y="95"/>
                  </a:lnTo>
                  <a:lnTo>
                    <a:pt x="334" y="102"/>
                  </a:lnTo>
                  <a:lnTo>
                    <a:pt x="332" y="107"/>
                  </a:lnTo>
                  <a:lnTo>
                    <a:pt x="332" y="117"/>
                  </a:lnTo>
                  <a:lnTo>
                    <a:pt x="332" y="121"/>
                  </a:lnTo>
                  <a:lnTo>
                    <a:pt x="332" y="128"/>
                  </a:lnTo>
                  <a:lnTo>
                    <a:pt x="332" y="129"/>
                  </a:lnTo>
                  <a:lnTo>
                    <a:pt x="332" y="133"/>
                  </a:lnTo>
                  <a:lnTo>
                    <a:pt x="332" y="133"/>
                  </a:lnTo>
                  <a:lnTo>
                    <a:pt x="332" y="134"/>
                  </a:lnTo>
                  <a:lnTo>
                    <a:pt x="330" y="140"/>
                  </a:lnTo>
                  <a:lnTo>
                    <a:pt x="330" y="143"/>
                  </a:lnTo>
                  <a:lnTo>
                    <a:pt x="330" y="146"/>
                  </a:lnTo>
                  <a:lnTo>
                    <a:pt x="330" y="150"/>
                  </a:lnTo>
                  <a:lnTo>
                    <a:pt x="330" y="162"/>
                  </a:lnTo>
                  <a:lnTo>
                    <a:pt x="330" y="167"/>
                  </a:lnTo>
                  <a:lnTo>
                    <a:pt x="330" y="169"/>
                  </a:lnTo>
                  <a:lnTo>
                    <a:pt x="330" y="171"/>
                  </a:lnTo>
                  <a:lnTo>
                    <a:pt x="329" y="174"/>
                  </a:lnTo>
                  <a:lnTo>
                    <a:pt x="329" y="176"/>
                  </a:lnTo>
                  <a:lnTo>
                    <a:pt x="329" y="177"/>
                  </a:lnTo>
                  <a:lnTo>
                    <a:pt x="329" y="179"/>
                  </a:lnTo>
                  <a:lnTo>
                    <a:pt x="329" y="184"/>
                  </a:lnTo>
                  <a:lnTo>
                    <a:pt x="329" y="193"/>
                  </a:lnTo>
                  <a:lnTo>
                    <a:pt x="329" y="195"/>
                  </a:lnTo>
                  <a:lnTo>
                    <a:pt x="329" y="205"/>
                  </a:lnTo>
                  <a:lnTo>
                    <a:pt x="329" y="207"/>
                  </a:lnTo>
                  <a:lnTo>
                    <a:pt x="332" y="207"/>
                  </a:lnTo>
                  <a:lnTo>
                    <a:pt x="336" y="207"/>
                  </a:lnTo>
                  <a:lnTo>
                    <a:pt x="339" y="207"/>
                  </a:lnTo>
                  <a:lnTo>
                    <a:pt x="342" y="207"/>
                  </a:lnTo>
                  <a:lnTo>
                    <a:pt x="344" y="207"/>
                  </a:lnTo>
                  <a:lnTo>
                    <a:pt x="342" y="217"/>
                  </a:lnTo>
                  <a:lnTo>
                    <a:pt x="342" y="222"/>
                  </a:lnTo>
                  <a:lnTo>
                    <a:pt x="342" y="224"/>
                  </a:lnTo>
                  <a:lnTo>
                    <a:pt x="342" y="227"/>
                  </a:lnTo>
                  <a:lnTo>
                    <a:pt x="342" y="231"/>
                  </a:lnTo>
                  <a:lnTo>
                    <a:pt x="342" y="236"/>
                  </a:lnTo>
                  <a:lnTo>
                    <a:pt x="341" y="244"/>
                  </a:lnTo>
                  <a:lnTo>
                    <a:pt x="341" y="248"/>
                  </a:lnTo>
                  <a:lnTo>
                    <a:pt x="341" y="250"/>
                  </a:lnTo>
                  <a:lnTo>
                    <a:pt x="341" y="251"/>
                  </a:lnTo>
                  <a:lnTo>
                    <a:pt x="341" y="253"/>
                  </a:lnTo>
                  <a:lnTo>
                    <a:pt x="341" y="258"/>
                  </a:lnTo>
                  <a:lnTo>
                    <a:pt x="341" y="265"/>
                  </a:lnTo>
                  <a:lnTo>
                    <a:pt x="341" y="269"/>
                  </a:lnTo>
                  <a:lnTo>
                    <a:pt x="341" y="269"/>
                  </a:lnTo>
                  <a:lnTo>
                    <a:pt x="339" y="272"/>
                  </a:lnTo>
                  <a:lnTo>
                    <a:pt x="339" y="275"/>
                  </a:lnTo>
                  <a:lnTo>
                    <a:pt x="339" y="281"/>
                  </a:lnTo>
                  <a:lnTo>
                    <a:pt x="339" y="284"/>
                  </a:lnTo>
                  <a:lnTo>
                    <a:pt x="339" y="291"/>
                  </a:lnTo>
                  <a:lnTo>
                    <a:pt x="339" y="293"/>
                  </a:lnTo>
                  <a:lnTo>
                    <a:pt x="337" y="303"/>
                  </a:lnTo>
                  <a:lnTo>
                    <a:pt x="337" y="313"/>
                  </a:lnTo>
                  <a:lnTo>
                    <a:pt x="337" y="317"/>
                  </a:lnTo>
                  <a:lnTo>
                    <a:pt x="337" y="318"/>
                  </a:lnTo>
                  <a:lnTo>
                    <a:pt x="337" y="322"/>
                  </a:lnTo>
                  <a:lnTo>
                    <a:pt x="337" y="329"/>
                  </a:lnTo>
                  <a:lnTo>
                    <a:pt x="336" y="334"/>
                  </a:lnTo>
                  <a:lnTo>
                    <a:pt x="336" y="336"/>
                  </a:lnTo>
                  <a:lnTo>
                    <a:pt x="336" y="339"/>
                  </a:lnTo>
                  <a:lnTo>
                    <a:pt x="336" y="341"/>
                  </a:lnTo>
                  <a:lnTo>
                    <a:pt x="336" y="343"/>
                  </a:lnTo>
                  <a:lnTo>
                    <a:pt x="336" y="344"/>
                  </a:lnTo>
                  <a:lnTo>
                    <a:pt x="336" y="346"/>
                  </a:lnTo>
                  <a:lnTo>
                    <a:pt x="336" y="348"/>
                  </a:lnTo>
                  <a:lnTo>
                    <a:pt x="334" y="348"/>
                  </a:lnTo>
                  <a:lnTo>
                    <a:pt x="334" y="346"/>
                  </a:lnTo>
                  <a:lnTo>
                    <a:pt x="332" y="346"/>
                  </a:lnTo>
                  <a:lnTo>
                    <a:pt x="332" y="344"/>
                  </a:lnTo>
                  <a:lnTo>
                    <a:pt x="332" y="343"/>
                  </a:lnTo>
                  <a:lnTo>
                    <a:pt x="330" y="343"/>
                  </a:lnTo>
                  <a:lnTo>
                    <a:pt x="329" y="343"/>
                  </a:lnTo>
                  <a:lnTo>
                    <a:pt x="329" y="344"/>
                  </a:lnTo>
                  <a:lnTo>
                    <a:pt x="327" y="344"/>
                  </a:lnTo>
                  <a:lnTo>
                    <a:pt x="325" y="346"/>
                  </a:lnTo>
                  <a:lnTo>
                    <a:pt x="323" y="346"/>
                  </a:lnTo>
                  <a:lnTo>
                    <a:pt x="322" y="346"/>
                  </a:lnTo>
                  <a:lnTo>
                    <a:pt x="320" y="346"/>
                  </a:lnTo>
                  <a:lnTo>
                    <a:pt x="320" y="346"/>
                  </a:lnTo>
                  <a:lnTo>
                    <a:pt x="320" y="344"/>
                  </a:lnTo>
                  <a:lnTo>
                    <a:pt x="318" y="344"/>
                  </a:lnTo>
                  <a:lnTo>
                    <a:pt x="318" y="343"/>
                  </a:lnTo>
                  <a:lnTo>
                    <a:pt x="320" y="343"/>
                  </a:lnTo>
                  <a:lnTo>
                    <a:pt x="320" y="341"/>
                  </a:lnTo>
                  <a:lnTo>
                    <a:pt x="320" y="339"/>
                  </a:lnTo>
                  <a:lnTo>
                    <a:pt x="318" y="339"/>
                  </a:lnTo>
                  <a:lnTo>
                    <a:pt x="318" y="341"/>
                  </a:lnTo>
                  <a:lnTo>
                    <a:pt x="317" y="341"/>
                  </a:lnTo>
                  <a:lnTo>
                    <a:pt x="315" y="341"/>
                  </a:lnTo>
                  <a:lnTo>
                    <a:pt x="315" y="339"/>
                  </a:lnTo>
                  <a:lnTo>
                    <a:pt x="313" y="339"/>
                  </a:lnTo>
                  <a:lnTo>
                    <a:pt x="313" y="337"/>
                  </a:lnTo>
                  <a:lnTo>
                    <a:pt x="313" y="336"/>
                  </a:lnTo>
                  <a:lnTo>
                    <a:pt x="311" y="336"/>
                  </a:lnTo>
                  <a:lnTo>
                    <a:pt x="311" y="334"/>
                  </a:lnTo>
                  <a:lnTo>
                    <a:pt x="310" y="334"/>
                  </a:lnTo>
                  <a:lnTo>
                    <a:pt x="308" y="334"/>
                  </a:lnTo>
                  <a:lnTo>
                    <a:pt x="308" y="336"/>
                  </a:lnTo>
                  <a:lnTo>
                    <a:pt x="308" y="337"/>
                  </a:lnTo>
                  <a:lnTo>
                    <a:pt x="308" y="339"/>
                  </a:lnTo>
                  <a:lnTo>
                    <a:pt x="308" y="341"/>
                  </a:lnTo>
                  <a:lnTo>
                    <a:pt x="308" y="343"/>
                  </a:lnTo>
                  <a:lnTo>
                    <a:pt x="306" y="343"/>
                  </a:lnTo>
                  <a:lnTo>
                    <a:pt x="305" y="343"/>
                  </a:lnTo>
                  <a:lnTo>
                    <a:pt x="305" y="343"/>
                  </a:lnTo>
                  <a:lnTo>
                    <a:pt x="305" y="343"/>
                  </a:lnTo>
                  <a:lnTo>
                    <a:pt x="305" y="341"/>
                  </a:lnTo>
                  <a:lnTo>
                    <a:pt x="303" y="341"/>
                  </a:lnTo>
                  <a:lnTo>
                    <a:pt x="301" y="341"/>
                  </a:lnTo>
                  <a:lnTo>
                    <a:pt x="301" y="339"/>
                  </a:lnTo>
                  <a:lnTo>
                    <a:pt x="299" y="339"/>
                  </a:lnTo>
                  <a:lnTo>
                    <a:pt x="299" y="337"/>
                  </a:lnTo>
                  <a:lnTo>
                    <a:pt x="301" y="337"/>
                  </a:lnTo>
                  <a:lnTo>
                    <a:pt x="301" y="336"/>
                  </a:lnTo>
                  <a:lnTo>
                    <a:pt x="303" y="336"/>
                  </a:lnTo>
                  <a:lnTo>
                    <a:pt x="303" y="334"/>
                  </a:lnTo>
                  <a:lnTo>
                    <a:pt x="301" y="334"/>
                  </a:lnTo>
                  <a:lnTo>
                    <a:pt x="299" y="334"/>
                  </a:lnTo>
                  <a:lnTo>
                    <a:pt x="298" y="334"/>
                  </a:lnTo>
                  <a:lnTo>
                    <a:pt x="298" y="332"/>
                  </a:lnTo>
                  <a:lnTo>
                    <a:pt x="296" y="332"/>
                  </a:lnTo>
                  <a:lnTo>
                    <a:pt x="294" y="330"/>
                  </a:lnTo>
                  <a:lnTo>
                    <a:pt x="294" y="329"/>
                  </a:lnTo>
                  <a:lnTo>
                    <a:pt x="294" y="329"/>
                  </a:lnTo>
                  <a:lnTo>
                    <a:pt x="293" y="329"/>
                  </a:lnTo>
                  <a:lnTo>
                    <a:pt x="291" y="327"/>
                  </a:lnTo>
                  <a:lnTo>
                    <a:pt x="289" y="327"/>
                  </a:lnTo>
                  <a:lnTo>
                    <a:pt x="289" y="327"/>
                  </a:lnTo>
                  <a:lnTo>
                    <a:pt x="289" y="329"/>
                  </a:lnTo>
                  <a:lnTo>
                    <a:pt x="287" y="329"/>
                  </a:lnTo>
                  <a:lnTo>
                    <a:pt x="286" y="329"/>
                  </a:lnTo>
                  <a:lnTo>
                    <a:pt x="284" y="329"/>
                  </a:lnTo>
                  <a:lnTo>
                    <a:pt x="282" y="329"/>
                  </a:lnTo>
                  <a:lnTo>
                    <a:pt x="280" y="329"/>
                  </a:lnTo>
                  <a:lnTo>
                    <a:pt x="279" y="329"/>
                  </a:lnTo>
                  <a:lnTo>
                    <a:pt x="279" y="329"/>
                  </a:lnTo>
                  <a:lnTo>
                    <a:pt x="277" y="329"/>
                  </a:lnTo>
                  <a:lnTo>
                    <a:pt x="275" y="329"/>
                  </a:lnTo>
                  <a:lnTo>
                    <a:pt x="275" y="329"/>
                  </a:lnTo>
                  <a:lnTo>
                    <a:pt x="275" y="329"/>
                  </a:lnTo>
                  <a:lnTo>
                    <a:pt x="274" y="330"/>
                  </a:lnTo>
                  <a:lnTo>
                    <a:pt x="272" y="330"/>
                  </a:lnTo>
                  <a:lnTo>
                    <a:pt x="270" y="332"/>
                  </a:lnTo>
                  <a:lnTo>
                    <a:pt x="268" y="332"/>
                  </a:lnTo>
                  <a:lnTo>
                    <a:pt x="267" y="334"/>
                  </a:lnTo>
                  <a:lnTo>
                    <a:pt x="265" y="334"/>
                  </a:lnTo>
                  <a:lnTo>
                    <a:pt x="263" y="334"/>
                  </a:lnTo>
                  <a:lnTo>
                    <a:pt x="262" y="336"/>
                  </a:lnTo>
                  <a:lnTo>
                    <a:pt x="260" y="336"/>
                  </a:lnTo>
                  <a:lnTo>
                    <a:pt x="260" y="336"/>
                  </a:lnTo>
                  <a:lnTo>
                    <a:pt x="258" y="336"/>
                  </a:lnTo>
                  <a:lnTo>
                    <a:pt x="256" y="336"/>
                  </a:lnTo>
                  <a:lnTo>
                    <a:pt x="255" y="337"/>
                  </a:lnTo>
                  <a:lnTo>
                    <a:pt x="255" y="339"/>
                  </a:lnTo>
                  <a:lnTo>
                    <a:pt x="253" y="339"/>
                  </a:lnTo>
                  <a:lnTo>
                    <a:pt x="253" y="341"/>
                  </a:lnTo>
                  <a:lnTo>
                    <a:pt x="253" y="343"/>
                  </a:lnTo>
                  <a:lnTo>
                    <a:pt x="253" y="343"/>
                  </a:lnTo>
                  <a:lnTo>
                    <a:pt x="255" y="343"/>
                  </a:lnTo>
                  <a:lnTo>
                    <a:pt x="253" y="343"/>
                  </a:lnTo>
                  <a:lnTo>
                    <a:pt x="253" y="344"/>
                  </a:lnTo>
                  <a:lnTo>
                    <a:pt x="251" y="343"/>
                  </a:lnTo>
                  <a:lnTo>
                    <a:pt x="251" y="343"/>
                  </a:lnTo>
                  <a:lnTo>
                    <a:pt x="251" y="341"/>
                  </a:lnTo>
                  <a:lnTo>
                    <a:pt x="251" y="339"/>
                  </a:lnTo>
                  <a:lnTo>
                    <a:pt x="251" y="337"/>
                  </a:lnTo>
                  <a:lnTo>
                    <a:pt x="250" y="337"/>
                  </a:lnTo>
                  <a:lnTo>
                    <a:pt x="250" y="336"/>
                  </a:lnTo>
                  <a:lnTo>
                    <a:pt x="250" y="334"/>
                  </a:lnTo>
                  <a:lnTo>
                    <a:pt x="251" y="332"/>
                  </a:lnTo>
                  <a:lnTo>
                    <a:pt x="253" y="332"/>
                  </a:lnTo>
                  <a:lnTo>
                    <a:pt x="253" y="330"/>
                  </a:lnTo>
                  <a:lnTo>
                    <a:pt x="255" y="330"/>
                  </a:lnTo>
                  <a:lnTo>
                    <a:pt x="255" y="329"/>
                  </a:lnTo>
                  <a:lnTo>
                    <a:pt x="253" y="329"/>
                  </a:lnTo>
                  <a:lnTo>
                    <a:pt x="251" y="329"/>
                  </a:lnTo>
                  <a:lnTo>
                    <a:pt x="250" y="329"/>
                  </a:lnTo>
                  <a:lnTo>
                    <a:pt x="250" y="329"/>
                  </a:lnTo>
                  <a:lnTo>
                    <a:pt x="248" y="329"/>
                  </a:lnTo>
                  <a:lnTo>
                    <a:pt x="246" y="329"/>
                  </a:lnTo>
                  <a:lnTo>
                    <a:pt x="244" y="330"/>
                  </a:lnTo>
                  <a:lnTo>
                    <a:pt x="244" y="330"/>
                  </a:lnTo>
                  <a:lnTo>
                    <a:pt x="244" y="332"/>
                  </a:lnTo>
                  <a:lnTo>
                    <a:pt x="244" y="334"/>
                  </a:lnTo>
                  <a:lnTo>
                    <a:pt x="244" y="334"/>
                  </a:lnTo>
                  <a:lnTo>
                    <a:pt x="244" y="336"/>
                  </a:lnTo>
                  <a:lnTo>
                    <a:pt x="244" y="337"/>
                  </a:lnTo>
                  <a:lnTo>
                    <a:pt x="244" y="339"/>
                  </a:lnTo>
                  <a:lnTo>
                    <a:pt x="243" y="341"/>
                  </a:lnTo>
                  <a:lnTo>
                    <a:pt x="243" y="343"/>
                  </a:lnTo>
                  <a:lnTo>
                    <a:pt x="243" y="343"/>
                  </a:lnTo>
                  <a:lnTo>
                    <a:pt x="243" y="344"/>
                  </a:lnTo>
                  <a:lnTo>
                    <a:pt x="241" y="344"/>
                  </a:lnTo>
                  <a:lnTo>
                    <a:pt x="239" y="343"/>
                  </a:lnTo>
                  <a:lnTo>
                    <a:pt x="239" y="343"/>
                  </a:lnTo>
                  <a:lnTo>
                    <a:pt x="239" y="341"/>
                  </a:lnTo>
                  <a:lnTo>
                    <a:pt x="237" y="341"/>
                  </a:lnTo>
                  <a:lnTo>
                    <a:pt x="236" y="341"/>
                  </a:lnTo>
                  <a:lnTo>
                    <a:pt x="234" y="341"/>
                  </a:lnTo>
                  <a:lnTo>
                    <a:pt x="234" y="343"/>
                  </a:lnTo>
                  <a:lnTo>
                    <a:pt x="234" y="343"/>
                  </a:lnTo>
                  <a:lnTo>
                    <a:pt x="234" y="344"/>
                  </a:lnTo>
                  <a:lnTo>
                    <a:pt x="234" y="346"/>
                  </a:lnTo>
                  <a:lnTo>
                    <a:pt x="234" y="348"/>
                  </a:lnTo>
                  <a:lnTo>
                    <a:pt x="236" y="348"/>
                  </a:lnTo>
                  <a:lnTo>
                    <a:pt x="236" y="349"/>
                  </a:lnTo>
                  <a:lnTo>
                    <a:pt x="234" y="349"/>
                  </a:lnTo>
                  <a:lnTo>
                    <a:pt x="232" y="349"/>
                  </a:lnTo>
                  <a:lnTo>
                    <a:pt x="231" y="349"/>
                  </a:lnTo>
                  <a:lnTo>
                    <a:pt x="229" y="349"/>
                  </a:lnTo>
                  <a:lnTo>
                    <a:pt x="229" y="349"/>
                  </a:lnTo>
                  <a:lnTo>
                    <a:pt x="227" y="349"/>
                  </a:lnTo>
                  <a:lnTo>
                    <a:pt x="225" y="349"/>
                  </a:lnTo>
                  <a:lnTo>
                    <a:pt x="224" y="349"/>
                  </a:lnTo>
                  <a:lnTo>
                    <a:pt x="224" y="348"/>
                  </a:lnTo>
                  <a:lnTo>
                    <a:pt x="224" y="346"/>
                  </a:lnTo>
                  <a:lnTo>
                    <a:pt x="224" y="344"/>
                  </a:lnTo>
                  <a:lnTo>
                    <a:pt x="225" y="344"/>
                  </a:lnTo>
                  <a:lnTo>
                    <a:pt x="227" y="344"/>
                  </a:lnTo>
                  <a:lnTo>
                    <a:pt x="229" y="346"/>
                  </a:lnTo>
                  <a:lnTo>
                    <a:pt x="229" y="346"/>
                  </a:lnTo>
                  <a:lnTo>
                    <a:pt x="229" y="344"/>
                  </a:lnTo>
                  <a:lnTo>
                    <a:pt x="229" y="343"/>
                  </a:lnTo>
                  <a:lnTo>
                    <a:pt x="229" y="343"/>
                  </a:lnTo>
                  <a:lnTo>
                    <a:pt x="227" y="343"/>
                  </a:lnTo>
                  <a:lnTo>
                    <a:pt x="227" y="343"/>
                  </a:lnTo>
                  <a:lnTo>
                    <a:pt x="227" y="341"/>
                  </a:lnTo>
                  <a:lnTo>
                    <a:pt x="227" y="339"/>
                  </a:lnTo>
                  <a:lnTo>
                    <a:pt x="229" y="339"/>
                  </a:lnTo>
                  <a:lnTo>
                    <a:pt x="229" y="339"/>
                  </a:lnTo>
                  <a:lnTo>
                    <a:pt x="231" y="339"/>
                  </a:lnTo>
                  <a:lnTo>
                    <a:pt x="231" y="337"/>
                  </a:lnTo>
                  <a:lnTo>
                    <a:pt x="232" y="337"/>
                  </a:lnTo>
                  <a:lnTo>
                    <a:pt x="232" y="336"/>
                  </a:lnTo>
                  <a:lnTo>
                    <a:pt x="232" y="334"/>
                  </a:lnTo>
                  <a:lnTo>
                    <a:pt x="231" y="334"/>
                  </a:lnTo>
                  <a:lnTo>
                    <a:pt x="229" y="334"/>
                  </a:lnTo>
                  <a:lnTo>
                    <a:pt x="229" y="336"/>
                  </a:lnTo>
                  <a:lnTo>
                    <a:pt x="229" y="337"/>
                  </a:lnTo>
                  <a:lnTo>
                    <a:pt x="227" y="337"/>
                  </a:lnTo>
                  <a:lnTo>
                    <a:pt x="227" y="336"/>
                  </a:lnTo>
                  <a:lnTo>
                    <a:pt x="227" y="334"/>
                  </a:lnTo>
                  <a:lnTo>
                    <a:pt x="227" y="332"/>
                  </a:lnTo>
                  <a:lnTo>
                    <a:pt x="227" y="330"/>
                  </a:lnTo>
                  <a:lnTo>
                    <a:pt x="224" y="330"/>
                  </a:lnTo>
                  <a:lnTo>
                    <a:pt x="220" y="330"/>
                  </a:lnTo>
                  <a:lnTo>
                    <a:pt x="219" y="330"/>
                  </a:lnTo>
                  <a:lnTo>
                    <a:pt x="213" y="330"/>
                  </a:lnTo>
                  <a:lnTo>
                    <a:pt x="210" y="330"/>
                  </a:lnTo>
                  <a:lnTo>
                    <a:pt x="201" y="329"/>
                  </a:lnTo>
                  <a:lnTo>
                    <a:pt x="200" y="329"/>
                  </a:lnTo>
                  <a:lnTo>
                    <a:pt x="198" y="329"/>
                  </a:lnTo>
                  <a:lnTo>
                    <a:pt x="196" y="329"/>
                  </a:lnTo>
                  <a:lnTo>
                    <a:pt x="181" y="329"/>
                  </a:lnTo>
                  <a:lnTo>
                    <a:pt x="169" y="329"/>
                  </a:lnTo>
                  <a:lnTo>
                    <a:pt x="157" y="329"/>
                  </a:lnTo>
                  <a:lnTo>
                    <a:pt x="150" y="329"/>
                  </a:lnTo>
                  <a:lnTo>
                    <a:pt x="148" y="329"/>
                  </a:lnTo>
                  <a:lnTo>
                    <a:pt x="145" y="329"/>
                  </a:lnTo>
                  <a:lnTo>
                    <a:pt x="145" y="327"/>
                  </a:lnTo>
                  <a:lnTo>
                    <a:pt x="136" y="327"/>
                  </a:lnTo>
                  <a:lnTo>
                    <a:pt x="127" y="327"/>
                  </a:lnTo>
                  <a:lnTo>
                    <a:pt x="124" y="327"/>
                  </a:lnTo>
                  <a:lnTo>
                    <a:pt x="122" y="327"/>
                  </a:lnTo>
                  <a:lnTo>
                    <a:pt x="114" y="327"/>
                  </a:lnTo>
                  <a:lnTo>
                    <a:pt x="108" y="327"/>
                  </a:lnTo>
                  <a:lnTo>
                    <a:pt x="108" y="325"/>
                  </a:lnTo>
                  <a:lnTo>
                    <a:pt x="102" y="325"/>
                  </a:lnTo>
                  <a:lnTo>
                    <a:pt x="100" y="325"/>
                  </a:lnTo>
                  <a:lnTo>
                    <a:pt x="91" y="325"/>
                  </a:lnTo>
                  <a:lnTo>
                    <a:pt x="79" y="325"/>
                  </a:lnTo>
                  <a:lnTo>
                    <a:pt x="78" y="324"/>
                  </a:lnTo>
                  <a:lnTo>
                    <a:pt x="74" y="324"/>
                  </a:lnTo>
                  <a:lnTo>
                    <a:pt x="71" y="324"/>
                  </a:lnTo>
                  <a:lnTo>
                    <a:pt x="69" y="324"/>
                  </a:lnTo>
                  <a:lnTo>
                    <a:pt x="67" y="324"/>
                  </a:lnTo>
                  <a:lnTo>
                    <a:pt x="65" y="324"/>
                  </a:lnTo>
                  <a:lnTo>
                    <a:pt x="64" y="324"/>
                  </a:lnTo>
                  <a:lnTo>
                    <a:pt x="59" y="324"/>
                  </a:lnTo>
                  <a:lnTo>
                    <a:pt x="53" y="324"/>
                  </a:lnTo>
                  <a:lnTo>
                    <a:pt x="52" y="324"/>
                  </a:lnTo>
                  <a:lnTo>
                    <a:pt x="50" y="324"/>
                  </a:lnTo>
                  <a:lnTo>
                    <a:pt x="48" y="324"/>
                  </a:lnTo>
                  <a:lnTo>
                    <a:pt x="47" y="324"/>
                  </a:lnTo>
                  <a:lnTo>
                    <a:pt x="41" y="322"/>
                  </a:lnTo>
                  <a:lnTo>
                    <a:pt x="35" y="322"/>
                  </a:lnTo>
                  <a:lnTo>
                    <a:pt x="29" y="322"/>
                  </a:lnTo>
                  <a:lnTo>
                    <a:pt x="24" y="322"/>
                  </a:lnTo>
                  <a:lnTo>
                    <a:pt x="19" y="322"/>
                  </a:lnTo>
                  <a:lnTo>
                    <a:pt x="17" y="322"/>
                  </a:lnTo>
                  <a:lnTo>
                    <a:pt x="14" y="322"/>
                  </a:lnTo>
                  <a:lnTo>
                    <a:pt x="12" y="322"/>
                  </a:lnTo>
                  <a:lnTo>
                    <a:pt x="7" y="322"/>
                  </a:lnTo>
                  <a:lnTo>
                    <a:pt x="4" y="320"/>
                  </a:lnTo>
                  <a:lnTo>
                    <a:pt x="0" y="320"/>
                  </a:lnTo>
                  <a:lnTo>
                    <a:pt x="0" y="315"/>
                  </a:lnTo>
                  <a:lnTo>
                    <a:pt x="0" y="313"/>
                  </a:lnTo>
                  <a:lnTo>
                    <a:pt x="0" y="310"/>
                  </a:lnTo>
                  <a:lnTo>
                    <a:pt x="0" y="305"/>
                  </a:lnTo>
                  <a:lnTo>
                    <a:pt x="0" y="300"/>
                  </a:lnTo>
                  <a:lnTo>
                    <a:pt x="0" y="298"/>
                  </a:lnTo>
                  <a:lnTo>
                    <a:pt x="0" y="298"/>
                  </a:lnTo>
                  <a:lnTo>
                    <a:pt x="0" y="294"/>
                  </a:lnTo>
                  <a:lnTo>
                    <a:pt x="0" y="289"/>
                  </a:lnTo>
                  <a:lnTo>
                    <a:pt x="0" y="287"/>
                  </a:lnTo>
                  <a:lnTo>
                    <a:pt x="0" y="282"/>
                  </a:lnTo>
                  <a:lnTo>
                    <a:pt x="0" y="279"/>
                  </a:lnTo>
                  <a:lnTo>
                    <a:pt x="0" y="277"/>
                  </a:lnTo>
                  <a:lnTo>
                    <a:pt x="0" y="275"/>
                  </a:lnTo>
                  <a:lnTo>
                    <a:pt x="0" y="270"/>
                  </a:lnTo>
                  <a:lnTo>
                    <a:pt x="0" y="269"/>
                  </a:lnTo>
                  <a:lnTo>
                    <a:pt x="0" y="269"/>
                  </a:lnTo>
                  <a:lnTo>
                    <a:pt x="0" y="267"/>
                  </a:lnTo>
                  <a:lnTo>
                    <a:pt x="0" y="265"/>
                  </a:lnTo>
                  <a:lnTo>
                    <a:pt x="0" y="262"/>
                  </a:lnTo>
                  <a:lnTo>
                    <a:pt x="0" y="260"/>
                  </a:lnTo>
                  <a:lnTo>
                    <a:pt x="0" y="258"/>
                  </a:lnTo>
                  <a:lnTo>
                    <a:pt x="2" y="253"/>
                  </a:lnTo>
                  <a:lnTo>
                    <a:pt x="2" y="253"/>
                  </a:lnTo>
                  <a:lnTo>
                    <a:pt x="2" y="243"/>
                  </a:lnTo>
                  <a:lnTo>
                    <a:pt x="2" y="238"/>
                  </a:lnTo>
                  <a:lnTo>
                    <a:pt x="2" y="238"/>
                  </a:lnTo>
                  <a:lnTo>
                    <a:pt x="2" y="232"/>
                  </a:lnTo>
                  <a:lnTo>
                    <a:pt x="2" y="224"/>
                  </a:lnTo>
                  <a:lnTo>
                    <a:pt x="2" y="220"/>
                  </a:lnTo>
                  <a:lnTo>
                    <a:pt x="2" y="219"/>
                  </a:lnTo>
                  <a:lnTo>
                    <a:pt x="2" y="217"/>
                  </a:lnTo>
                  <a:lnTo>
                    <a:pt x="2" y="215"/>
                  </a:lnTo>
                  <a:lnTo>
                    <a:pt x="2" y="212"/>
                  </a:lnTo>
                  <a:lnTo>
                    <a:pt x="2" y="210"/>
                  </a:lnTo>
                  <a:lnTo>
                    <a:pt x="2" y="208"/>
                  </a:lnTo>
                  <a:lnTo>
                    <a:pt x="2" y="207"/>
                  </a:lnTo>
                  <a:lnTo>
                    <a:pt x="4" y="205"/>
                  </a:lnTo>
                  <a:lnTo>
                    <a:pt x="4" y="201"/>
                  </a:lnTo>
                  <a:lnTo>
                    <a:pt x="4" y="200"/>
                  </a:lnTo>
                  <a:lnTo>
                    <a:pt x="4" y="198"/>
                  </a:lnTo>
                  <a:lnTo>
                    <a:pt x="4" y="196"/>
                  </a:lnTo>
                  <a:lnTo>
                    <a:pt x="4" y="193"/>
                  </a:lnTo>
                  <a:lnTo>
                    <a:pt x="4" y="193"/>
                  </a:lnTo>
                  <a:lnTo>
                    <a:pt x="4" y="189"/>
                  </a:lnTo>
                  <a:lnTo>
                    <a:pt x="4" y="188"/>
                  </a:lnTo>
                  <a:lnTo>
                    <a:pt x="4" y="186"/>
                  </a:lnTo>
                  <a:lnTo>
                    <a:pt x="4" y="184"/>
                  </a:lnTo>
                  <a:lnTo>
                    <a:pt x="4" y="181"/>
                  </a:lnTo>
                  <a:lnTo>
                    <a:pt x="4" y="176"/>
                  </a:lnTo>
                  <a:lnTo>
                    <a:pt x="4" y="169"/>
                  </a:lnTo>
                  <a:lnTo>
                    <a:pt x="4" y="167"/>
                  </a:lnTo>
                  <a:lnTo>
                    <a:pt x="4" y="160"/>
                  </a:lnTo>
                  <a:lnTo>
                    <a:pt x="4" y="158"/>
                  </a:lnTo>
                  <a:lnTo>
                    <a:pt x="4" y="157"/>
                  </a:lnTo>
                  <a:lnTo>
                    <a:pt x="4" y="155"/>
                  </a:lnTo>
                  <a:lnTo>
                    <a:pt x="4" y="152"/>
                  </a:lnTo>
                  <a:lnTo>
                    <a:pt x="4" y="148"/>
                  </a:lnTo>
                  <a:lnTo>
                    <a:pt x="4" y="146"/>
                  </a:lnTo>
                  <a:lnTo>
                    <a:pt x="4" y="145"/>
                  </a:lnTo>
                  <a:lnTo>
                    <a:pt x="4" y="143"/>
                  </a:lnTo>
                  <a:lnTo>
                    <a:pt x="4" y="138"/>
                  </a:lnTo>
                  <a:lnTo>
                    <a:pt x="4" y="136"/>
                  </a:lnTo>
                  <a:lnTo>
                    <a:pt x="4" y="134"/>
                  </a:lnTo>
                  <a:lnTo>
                    <a:pt x="4" y="133"/>
                  </a:lnTo>
                  <a:lnTo>
                    <a:pt x="4" y="129"/>
                  </a:lnTo>
                  <a:lnTo>
                    <a:pt x="4" y="128"/>
                  </a:lnTo>
                  <a:lnTo>
                    <a:pt x="4" y="126"/>
                  </a:lnTo>
                  <a:lnTo>
                    <a:pt x="4" y="124"/>
                  </a:lnTo>
                  <a:lnTo>
                    <a:pt x="4" y="121"/>
                  </a:lnTo>
                  <a:lnTo>
                    <a:pt x="4" y="117"/>
                  </a:lnTo>
                  <a:lnTo>
                    <a:pt x="4" y="114"/>
                  </a:lnTo>
                  <a:lnTo>
                    <a:pt x="4" y="109"/>
                  </a:lnTo>
                  <a:lnTo>
                    <a:pt x="4" y="107"/>
                  </a:lnTo>
                  <a:lnTo>
                    <a:pt x="4" y="102"/>
                  </a:lnTo>
                  <a:lnTo>
                    <a:pt x="4" y="98"/>
                  </a:lnTo>
                  <a:lnTo>
                    <a:pt x="4" y="95"/>
                  </a:lnTo>
                  <a:lnTo>
                    <a:pt x="4" y="90"/>
                  </a:lnTo>
                  <a:lnTo>
                    <a:pt x="4" y="88"/>
                  </a:lnTo>
                  <a:lnTo>
                    <a:pt x="4" y="86"/>
                  </a:lnTo>
                  <a:lnTo>
                    <a:pt x="4" y="86"/>
                  </a:lnTo>
                  <a:lnTo>
                    <a:pt x="4" y="83"/>
                  </a:lnTo>
                  <a:lnTo>
                    <a:pt x="4" y="79"/>
                  </a:lnTo>
                  <a:lnTo>
                    <a:pt x="4" y="69"/>
                  </a:lnTo>
                  <a:lnTo>
                    <a:pt x="4" y="66"/>
                  </a:lnTo>
                  <a:lnTo>
                    <a:pt x="4" y="62"/>
                  </a:lnTo>
                  <a:lnTo>
                    <a:pt x="4" y="59"/>
                  </a:lnTo>
                  <a:lnTo>
                    <a:pt x="4" y="57"/>
                  </a:lnTo>
                  <a:lnTo>
                    <a:pt x="4" y="55"/>
                  </a:lnTo>
                  <a:lnTo>
                    <a:pt x="4" y="45"/>
                  </a:lnTo>
                  <a:lnTo>
                    <a:pt x="4" y="36"/>
                  </a:lnTo>
                  <a:lnTo>
                    <a:pt x="4" y="35"/>
                  </a:lnTo>
                  <a:lnTo>
                    <a:pt x="4" y="33"/>
                  </a:lnTo>
                  <a:lnTo>
                    <a:pt x="4" y="26"/>
                  </a:lnTo>
                  <a:lnTo>
                    <a:pt x="4" y="24"/>
                  </a:lnTo>
                  <a:lnTo>
                    <a:pt x="4" y="23"/>
                  </a:lnTo>
                  <a:lnTo>
                    <a:pt x="4" y="17"/>
                  </a:lnTo>
                  <a:lnTo>
                    <a:pt x="4" y="16"/>
                  </a:lnTo>
                  <a:lnTo>
                    <a:pt x="4" y="14"/>
                  </a:lnTo>
                  <a:lnTo>
                    <a:pt x="5" y="12"/>
                  </a:lnTo>
                  <a:lnTo>
                    <a:pt x="5" y="12"/>
                  </a:lnTo>
                  <a:lnTo>
                    <a:pt x="5" y="11"/>
                  </a:lnTo>
                  <a:lnTo>
                    <a:pt x="5" y="9"/>
                  </a:lnTo>
                  <a:lnTo>
                    <a:pt x="5" y="7"/>
                  </a:lnTo>
                  <a:lnTo>
                    <a:pt x="5" y="2"/>
                  </a:lnTo>
                  <a:lnTo>
                    <a:pt x="5" y="0"/>
                  </a:lnTo>
                  <a:lnTo>
                    <a:pt x="7" y="0"/>
                  </a:lnTo>
                  <a:lnTo>
                    <a:pt x="9" y="0"/>
                  </a:lnTo>
                  <a:lnTo>
                    <a:pt x="10" y="0"/>
                  </a:lnTo>
                  <a:lnTo>
                    <a:pt x="12" y="0"/>
                  </a:lnTo>
                  <a:lnTo>
                    <a:pt x="14" y="0"/>
                  </a:lnTo>
                  <a:lnTo>
                    <a:pt x="17" y="0"/>
                  </a:lnTo>
                  <a:lnTo>
                    <a:pt x="22" y="0"/>
                  </a:lnTo>
                  <a:lnTo>
                    <a:pt x="24" y="0"/>
                  </a:lnTo>
                  <a:lnTo>
                    <a:pt x="28" y="0"/>
                  </a:lnTo>
                  <a:lnTo>
                    <a:pt x="33" y="0"/>
                  </a:lnTo>
                  <a:lnTo>
                    <a:pt x="33" y="0"/>
                  </a:lnTo>
                  <a:lnTo>
                    <a:pt x="35" y="0"/>
                  </a:lnTo>
                  <a:lnTo>
                    <a:pt x="40" y="2"/>
                  </a:lnTo>
                  <a:lnTo>
                    <a:pt x="45" y="2"/>
                  </a:lnTo>
                  <a:lnTo>
                    <a:pt x="47" y="2"/>
                  </a:lnTo>
                  <a:lnTo>
                    <a:pt x="48" y="2"/>
                  </a:lnTo>
                  <a:lnTo>
                    <a:pt x="53" y="2"/>
                  </a:lnTo>
                  <a:lnTo>
                    <a:pt x="55" y="2"/>
                  </a:lnTo>
                  <a:lnTo>
                    <a:pt x="57" y="2"/>
                  </a:lnTo>
                  <a:lnTo>
                    <a:pt x="59" y="2"/>
                  </a:lnTo>
                  <a:lnTo>
                    <a:pt x="60" y="2"/>
                  </a:lnTo>
                  <a:lnTo>
                    <a:pt x="62" y="2"/>
                  </a:lnTo>
                  <a:lnTo>
                    <a:pt x="64" y="2"/>
                  </a:lnTo>
                  <a:lnTo>
                    <a:pt x="64" y="2"/>
                  </a:lnTo>
                  <a:lnTo>
                    <a:pt x="67" y="2"/>
                  </a:lnTo>
                  <a:lnTo>
                    <a:pt x="69" y="2"/>
                  </a:lnTo>
                  <a:lnTo>
                    <a:pt x="72" y="2"/>
                  </a:lnTo>
                  <a:lnTo>
                    <a:pt x="74" y="2"/>
                  </a:lnTo>
                  <a:lnTo>
                    <a:pt x="76" y="2"/>
                  </a:lnTo>
                  <a:lnTo>
                    <a:pt x="79" y="4"/>
                  </a:lnTo>
                  <a:lnTo>
                    <a:pt x="79" y="4"/>
                  </a:lnTo>
                  <a:lnTo>
                    <a:pt x="86" y="4"/>
                  </a:lnTo>
                  <a:lnTo>
                    <a:pt x="91" y="4"/>
                  </a:lnTo>
                  <a:lnTo>
                    <a:pt x="98" y="4"/>
                  </a:lnTo>
                  <a:lnTo>
                    <a:pt x="100" y="4"/>
                  </a:lnTo>
                  <a:lnTo>
                    <a:pt x="102" y="4"/>
                  </a:lnTo>
                  <a:lnTo>
                    <a:pt x="105" y="4"/>
                  </a:lnTo>
                  <a:lnTo>
                    <a:pt x="107" y="4"/>
                  </a:lnTo>
                  <a:lnTo>
                    <a:pt x="110" y="4"/>
                  </a:lnTo>
                  <a:lnTo>
                    <a:pt x="117" y="5"/>
                  </a:lnTo>
                  <a:lnTo>
                    <a:pt x="119" y="5"/>
                  </a:lnTo>
                  <a:lnTo>
                    <a:pt x="121" y="5"/>
                  </a:lnTo>
                  <a:lnTo>
                    <a:pt x="122" y="5"/>
                  </a:lnTo>
                  <a:lnTo>
                    <a:pt x="124" y="5"/>
                  </a:lnTo>
                  <a:lnTo>
                    <a:pt x="124" y="5"/>
                  </a:lnTo>
                  <a:lnTo>
                    <a:pt x="129" y="5"/>
                  </a:lnTo>
                  <a:lnTo>
                    <a:pt x="133" y="5"/>
                  </a:lnTo>
                  <a:lnTo>
                    <a:pt x="134" y="5"/>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3" name="Freeform 172"/>
            <p:cNvSpPr>
              <a:spLocks/>
            </p:cNvSpPr>
            <p:nvPr/>
          </p:nvSpPr>
          <p:spPr bwMode="auto">
            <a:xfrm>
              <a:off x="5184071" y="2433431"/>
              <a:ext cx="485775" cy="458788"/>
            </a:xfrm>
            <a:custGeom>
              <a:avLst/>
              <a:gdLst/>
              <a:ahLst/>
              <a:cxnLst>
                <a:cxn ang="0">
                  <a:pos x="162" y="22"/>
                </a:cxn>
                <a:cxn ang="0">
                  <a:pos x="186" y="31"/>
                </a:cxn>
                <a:cxn ang="0">
                  <a:pos x="212" y="40"/>
                </a:cxn>
                <a:cxn ang="0">
                  <a:pos x="227" y="45"/>
                </a:cxn>
                <a:cxn ang="0">
                  <a:pos x="251" y="52"/>
                </a:cxn>
                <a:cxn ang="0">
                  <a:pos x="275" y="62"/>
                </a:cxn>
                <a:cxn ang="0">
                  <a:pos x="294" y="67"/>
                </a:cxn>
                <a:cxn ang="0">
                  <a:pos x="305" y="77"/>
                </a:cxn>
                <a:cxn ang="0">
                  <a:pos x="300" y="89"/>
                </a:cxn>
                <a:cxn ang="0">
                  <a:pos x="294" y="105"/>
                </a:cxn>
                <a:cxn ang="0">
                  <a:pos x="287" y="119"/>
                </a:cxn>
                <a:cxn ang="0">
                  <a:pos x="281" y="138"/>
                </a:cxn>
                <a:cxn ang="0">
                  <a:pos x="272" y="157"/>
                </a:cxn>
                <a:cxn ang="0">
                  <a:pos x="265" y="179"/>
                </a:cxn>
                <a:cxn ang="0">
                  <a:pos x="253" y="210"/>
                </a:cxn>
                <a:cxn ang="0">
                  <a:pos x="241" y="236"/>
                </a:cxn>
                <a:cxn ang="0">
                  <a:pos x="229" y="262"/>
                </a:cxn>
                <a:cxn ang="0">
                  <a:pos x="227" y="267"/>
                </a:cxn>
                <a:cxn ang="0">
                  <a:pos x="227" y="275"/>
                </a:cxn>
                <a:cxn ang="0">
                  <a:pos x="231" y="277"/>
                </a:cxn>
                <a:cxn ang="0">
                  <a:pos x="226" y="280"/>
                </a:cxn>
                <a:cxn ang="0">
                  <a:pos x="231" y="282"/>
                </a:cxn>
                <a:cxn ang="0">
                  <a:pos x="226" y="286"/>
                </a:cxn>
                <a:cxn ang="0">
                  <a:pos x="210" y="289"/>
                </a:cxn>
                <a:cxn ang="0">
                  <a:pos x="198" y="287"/>
                </a:cxn>
                <a:cxn ang="0">
                  <a:pos x="186" y="282"/>
                </a:cxn>
                <a:cxn ang="0">
                  <a:pos x="176" y="282"/>
                </a:cxn>
                <a:cxn ang="0">
                  <a:pos x="158" y="282"/>
                </a:cxn>
                <a:cxn ang="0">
                  <a:pos x="146" y="279"/>
                </a:cxn>
                <a:cxn ang="0">
                  <a:pos x="131" y="277"/>
                </a:cxn>
                <a:cxn ang="0">
                  <a:pos x="119" y="279"/>
                </a:cxn>
                <a:cxn ang="0">
                  <a:pos x="109" y="282"/>
                </a:cxn>
                <a:cxn ang="0">
                  <a:pos x="100" y="286"/>
                </a:cxn>
                <a:cxn ang="0">
                  <a:pos x="84" y="284"/>
                </a:cxn>
                <a:cxn ang="0">
                  <a:pos x="67" y="279"/>
                </a:cxn>
                <a:cxn ang="0">
                  <a:pos x="55" y="277"/>
                </a:cxn>
                <a:cxn ang="0">
                  <a:pos x="45" y="268"/>
                </a:cxn>
                <a:cxn ang="0">
                  <a:pos x="43" y="256"/>
                </a:cxn>
                <a:cxn ang="0">
                  <a:pos x="41" y="246"/>
                </a:cxn>
                <a:cxn ang="0">
                  <a:pos x="31" y="258"/>
                </a:cxn>
                <a:cxn ang="0">
                  <a:pos x="16" y="243"/>
                </a:cxn>
                <a:cxn ang="0">
                  <a:pos x="5" y="219"/>
                </a:cxn>
                <a:cxn ang="0">
                  <a:pos x="14" y="208"/>
                </a:cxn>
                <a:cxn ang="0">
                  <a:pos x="23" y="193"/>
                </a:cxn>
                <a:cxn ang="0">
                  <a:pos x="5" y="188"/>
                </a:cxn>
                <a:cxn ang="0">
                  <a:pos x="0" y="172"/>
                </a:cxn>
                <a:cxn ang="0">
                  <a:pos x="4" y="165"/>
                </a:cxn>
                <a:cxn ang="0">
                  <a:pos x="19" y="157"/>
                </a:cxn>
                <a:cxn ang="0">
                  <a:pos x="23" y="145"/>
                </a:cxn>
                <a:cxn ang="0">
                  <a:pos x="24" y="134"/>
                </a:cxn>
                <a:cxn ang="0">
                  <a:pos x="31" y="126"/>
                </a:cxn>
                <a:cxn ang="0">
                  <a:pos x="45" y="117"/>
                </a:cxn>
                <a:cxn ang="0">
                  <a:pos x="50" y="108"/>
                </a:cxn>
                <a:cxn ang="0">
                  <a:pos x="55" y="100"/>
                </a:cxn>
                <a:cxn ang="0">
                  <a:pos x="57" y="89"/>
                </a:cxn>
                <a:cxn ang="0">
                  <a:pos x="60" y="81"/>
                </a:cxn>
                <a:cxn ang="0">
                  <a:pos x="67" y="64"/>
                </a:cxn>
                <a:cxn ang="0">
                  <a:pos x="79" y="33"/>
                </a:cxn>
                <a:cxn ang="0">
                  <a:pos x="97" y="2"/>
                </a:cxn>
                <a:cxn ang="0">
                  <a:pos x="115" y="7"/>
                </a:cxn>
              </a:cxnLst>
              <a:rect l="0" t="0" r="r" b="b"/>
              <a:pathLst>
                <a:path w="306" h="289">
                  <a:moveTo>
                    <a:pt x="141" y="17"/>
                  </a:moveTo>
                  <a:lnTo>
                    <a:pt x="143" y="17"/>
                  </a:lnTo>
                  <a:lnTo>
                    <a:pt x="152" y="21"/>
                  </a:lnTo>
                  <a:lnTo>
                    <a:pt x="152" y="21"/>
                  </a:lnTo>
                  <a:lnTo>
                    <a:pt x="155" y="21"/>
                  </a:lnTo>
                  <a:lnTo>
                    <a:pt x="162" y="22"/>
                  </a:lnTo>
                  <a:lnTo>
                    <a:pt x="164" y="24"/>
                  </a:lnTo>
                  <a:lnTo>
                    <a:pt x="169" y="26"/>
                  </a:lnTo>
                  <a:lnTo>
                    <a:pt x="171" y="26"/>
                  </a:lnTo>
                  <a:lnTo>
                    <a:pt x="174" y="28"/>
                  </a:lnTo>
                  <a:lnTo>
                    <a:pt x="177" y="28"/>
                  </a:lnTo>
                  <a:lnTo>
                    <a:pt x="186" y="31"/>
                  </a:lnTo>
                  <a:lnTo>
                    <a:pt x="191" y="33"/>
                  </a:lnTo>
                  <a:lnTo>
                    <a:pt x="193" y="34"/>
                  </a:lnTo>
                  <a:lnTo>
                    <a:pt x="195" y="34"/>
                  </a:lnTo>
                  <a:lnTo>
                    <a:pt x="201" y="36"/>
                  </a:lnTo>
                  <a:lnTo>
                    <a:pt x="203" y="36"/>
                  </a:lnTo>
                  <a:lnTo>
                    <a:pt x="212" y="40"/>
                  </a:lnTo>
                  <a:lnTo>
                    <a:pt x="212" y="40"/>
                  </a:lnTo>
                  <a:lnTo>
                    <a:pt x="214" y="40"/>
                  </a:lnTo>
                  <a:lnTo>
                    <a:pt x="217" y="41"/>
                  </a:lnTo>
                  <a:lnTo>
                    <a:pt x="222" y="43"/>
                  </a:lnTo>
                  <a:lnTo>
                    <a:pt x="226" y="45"/>
                  </a:lnTo>
                  <a:lnTo>
                    <a:pt x="227" y="45"/>
                  </a:lnTo>
                  <a:lnTo>
                    <a:pt x="229" y="46"/>
                  </a:lnTo>
                  <a:lnTo>
                    <a:pt x="231" y="46"/>
                  </a:lnTo>
                  <a:lnTo>
                    <a:pt x="241" y="50"/>
                  </a:lnTo>
                  <a:lnTo>
                    <a:pt x="246" y="50"/>
                  </a:lnTo>
                  <a:lnTo>
                    <a:pt x="248" y="52"/>
                  </a:lnTo>
                  <a:lnTo>
                    <a:pt x="251" y="52"/>
                  </a:lnTo>
                  <a:lnTo>
                    <a:pt x="255" y="53"/>
                  </a:lnTo>
                  <a:lnTo>
                    <a:pt x="262" y="57"/>
                  </a:lnTo>
                  <a:lnTo>
                    <a:pt x="265" y="57"/>
                  </a:lnTo>
                  <a:lnTo>
                    <a:pt x="269" y="59"/>
                  </a:lnTo>
                  <a:lnTo>
                    <a:pt x="274" y="60"/>
                  </a:lnTo>
                  <a:lnTo>
                    <a:pt x="275" y="62"/>
                  </a:lnTo>
                  <a:lnTo>
                    <a:pt x="277" y="62"/>
                  </a:lnTo>
                  <a:lnTo>
                    <a:pt x="279" y="64"/>
                  </a:lnTo>
                  <a:lnTo>
                    <a:pt x="284" y="65"/>
                  </a:lnTo>
                  <a:lnTo>
                    <a:pt x="286" y="65"/>
                  </a:lnTo>
                  <a:lnTo>
                    <a:pt x="287" y="65"/>
                  </a:lnTo>
                  <a:lnTo>
                    <a:pt x="294" y="67"/>
                  </a:lnTo>
                  <a:lnTo>
                    <a:pt x="296" y="67"/>
                  </a:lnTo>
                  <a:lnTo>
                    <a:pt x="301" y="69"/>
                  </a:lnTo>
                  <a:lnTo>
                    <a:pt x="303" y="71"/>
                  </a:lnTo>
                  <a:lnTo>
                    <a:pt x="306" y="72"/>
                  </a:lnTo>
                  <a:lnTo>
                    <a:pt x="306" y="74"/>
                  </a:lnTo>
                  <a:lnTo>
                    <a:pt x="305" y="77"/>
                  </a:lnTo>
                  <a:lnTo>
                    <a:pt x="303" y="79"/>
                  </a:lnTo>
                  <a:lnTo>
                    <a:pt x="303" y="81"/>
                  </a:lnTo>
                  <a:lnTo>
                    <a:pt x="301" y="83"/>
                  </a:lnTo>
                  <a:lnTo>
                    <a:pt x="301" y="86"/>
                  </a:lnTo>
                  <a:lnTo>
                    <a:pt x="301" y="89"/>
                  </a:lnTo>
                  <a:lnTo>
                    <a:pt x="300" y="89"/>
                  </a:lnTo>
                  <a:lnTo>
                    <a:pt x="300" y="91"/>
                  </a:lnTo>
                  <a:lnTo>
                    <a:pt x="300" y="93"/>
                  </a:lnTo>
                  <a:lnTo>
                    <a:pt x="300" y="95"/>
                  </a:lnTo>
                  <a:lnTo>
                    <a:pt x="298" y="96"/>
                  </a:lnTo>
                  <a:lnTo>
                    <a:pt x="294" y="103"/>
                  </a:lnTo>
                  <a:lnTo>
                    <a:pt x="294" y="105"/>
                  </a:lnTo>
                  <a:lnTo>
                    <a:pt x="293" y="108"/>
                  </a:lnTo>
                  <a:lnTo>
                    <a:pt x="291" y="110"/>
                  </a:lnTo>
                  <a:lnTo>
                    <a:pt x="291" y="112"/>
                  </a:lnTo>
                  <a:lnTo>
                    <a:pt x="289" y="114"/>
                  </a:lnTo>
                  <a:lnTo>
                    <a:pt x="289" y="115"/>
                  </a:lnTo>
                  <a:lnTo>
                    <a:pt x="287" y="119"/>
                  </a:lnTo>
                  <a:lnTo>
                    <a:pt x="287" y="120"/>
                  </a:lnTo>
                  <a:lnTo>
                    <a:pt x="287" y="122"/>
                  </a:lnTo>
                  <a:lnTo>
                    <a:pt x="284" y="127"/>
                  </a:lnTo>
                  <a:lnTo>
                    <a:pt x="282" y="132"/>
                  </a:lnTo>
                  <a:lnTo>
                    <a:pt x="282" y="134"/>
                  </a:lnTo>
                  <a:lnTo>
                    <a:pt x="281" y="138"/>
                  </a:lnTo>
                  <a:lnTo>
                    <a:pt x="279" y="141"/>
                  </a:lnTo>
                  <a:lnTo>
                    <a:pt x="279" y="143"/>
                  </a:lnTo>
                  <a:lnTo>
                    <a:pt x="275" y="150"/>
                  </a:lnTo>
                  <a:lnTo>
                    <a:pt x="275" y="151"/>
                  </a:lnTo>
                  <a:lnTo>
                    <a:pt x="274" y="153"/>
                  </a:lnTo>
                  <a:lnTo>
                    <a:pt x="272" y="157"/>
                  </a:lnTo>
                  <a:lnTo>
                    <a:pt x="272" y="158"/>
                  </a:lnTo>
                  <a:lnTo>
                    <a:pt x="272" y="162"/>
                  </a:lnTo>
                  <a:lnTo>
                    <a:pt x="270" y="167"/>
                  </a:lnTo>
                  <a:lnTo>
                    <a:pt x="267" y="176"/>
                  </a:lnTo>
                  <a:lnTo>
                    <a:pt x="265" y="176"/>
                  </a:lnTo>
                  <a:lnTo>
                    <a:pt x="265" y="179"/>
                  </a:lnTo>
                  <a:lnTo>
                    <a:pt x="260" y="188"/>
                  </a:lnTo>
                  <a:lnTo>
                    <a:pt x="260" y="189"/>
                  </a:lnTo>
                  <a:lnTo>
                    <a:pt x="258" y="193"/>
                  </a:lnTo>
                  <a:lnTo>
                    <a:pt x="257" y="194"/>
                  </a:lnTo>
                  <a:lnTo>
                    <a:pt x="255" y="203"/>
                  </a:lnTo>
                  <a:lnTo>
                    <a:pt x="253" y="210"/>
                  </a:lnTo>
                  <a:lnTo>
                    <a:pt x="250" y="217"/>
                  </a:lnTo>
                  <a:lnTo>
                    <a:pt x="248" y="219"/>
                  </a:lnTo>
                  <a:lnTo>
                    <a:pt x="246" y="222"/>
                  </a:lnTo>
                  <a:lnTo>
                    <a:pt x="244" y="225"/>
                  </a:lnTo>
                  <a:lnTo>
                    <a:pt x="243" y="229"/>
                  </a:lnTo>
                  <a:lnTo>
                    <a:pt x="241" y="236"/>
                  </a:lnTo>
                  <a:lnTo>
                    <a:pt x="239" y="239"/>
                  </a:lnTo>
                  <a:lnTo>
                    <a:pt x="239" y="241"/>
                  </a:lnTo>
                  <a:lnTo>
                    <a:pt x="238" y="243"/>
                  </a:lnTo>
                  <a:lnTo>
                    <a:pt x="234" y="251"/>
                  </a:lnTo>
                  <a:lnTo>
                    <a:pt x="229" y="262"/>
                  </a:lnTo>
                  <a:lnTo>
                    <a:pt x="229" y="262"/>
                  </a:lnTo>
                  <a:lnTo>
                    <a:pt x="229" y="263"/>
                  </a:lnTo>
                  <a:lnTo>
                    <a:pt x="227" y="263"/>
                  </a:lnTo>
                  <a:lnTo>
                    <a:pt x="227" y="265"/>
                  </a:lnTo>
                  <a:lnTo>
                    <a:pt x="229" y="265"/>
                  </a:lnTo>
                  <a:lnTo>
                    <a:pt x="229" y="267"/>
                  </a:lnTo>
                  <a:lnTo>
                    <a:pt x="227" y="267"/>
                  </a:lnTo>
                  <a:lnTo>
                    <a:pt x="227" y="268"/>
                  </a:lnTo>
                  <a:lnTo>
                    <a:pt x="227" y="270"/>
                  </a:lnTo>
                  <a:lnTo>
                    <a:pt x="227" y="270"/>
                  </a:lnTo>
                  <a:lnTo>
                    <a:pt x="227" y="272"/>
                  </a:lnTo>
                  <a:lnTo>
                    <a:pt x="227" y="274"/>
                  </a:lnTo>
                  <a:lnTo>
                    <a:pt x="227" y="275"/>
                  </a:lnTo>
                  <a:lnTo>
                    <a:pt x="229" y="275"/>
                  </a:lnTo>
                  <a:lnTo>
                    <a:pt x="229" y="274"/>
                  </a:lnTo>
                  <a:lnTo>
                    <a:pt x="231" y="274"/>
                  </a:lnTo>
                  <a:lnTo>
                    <a:pt x="232" y="274"/>
                  </a:lnTo>
                  <a:lnTo>
                    <a:pt x="232" y="275"/>
                  </a:lnTo>
                  <a:lnTo>
                    <a:pt x="231" y="277"/>
                  </a:lnTo>
                  <a:lnTo>
                    <a:pt x="229" y="277"/>
                  </a:lnTo>
                  <a:lnTo>
                    <a:pt x="227" y="277"/>
                  </a:lnTo>
                  <a:lnTo>
                    <a:pt x="227" y="277"/>
                  </a:lnTo>
                  <a:lnTo>
                    <a:pt x="226" y="277"/>
                  </a:lnTo>
                  <a:lnTo>
                    <a:pt x="226" y="279"/>
                  </a:lnTo>
                  <a:lnTo>
                    <a:pt x="226" y="280"/>
                  </a:lnTo>
                  <a:lnTo>
                    <a:pt x="227" y="282"/>
                  </a:lnTo>
                  <a:lnTo>
                    <a:pt x="227" y="282"/>
                  </a:lnTo>
                  <a:lnTo>
                    <a:pt x="227" y="280"/>
                  </a:lnTo>
                  <a:lnTo>
                    <a:pt x="229" y="280"/>
                  </a:lnTo>
                  <a:lnTo>
                    <a:pt x="229" y="282"/>
                  </a:lnTo>
                  <a:lnTo>
                    <a:pt x="231" y="282"/>
                  </a:lnTo>
                  <a:lnTo>
                    <a:pt x="231" y="284"/>
                  </a:lnTo>
                  <a:lnTo>
                    <a:pt x="231" y="286"/>
                  </a:lnTo>
                  <a:lnTo>
                    <a:pt x="229" y="286"/>
                  </a:lnTo>
                  <a:lnTo>
                    <a:pt x="227" y="286"/>
                  </a:lnTo>
                  <a:lnTo>
                    <a:pt x="227" y="286"/>
                  </a:lnTo>
                  <a:lnTo>
                    <a:pt x="226" y="286"/>
                  </a:lnTo>
                  <a:lnTo>
                    <a:pt x="222" y="287"/>
                  </a:lnTo>
                  <a:lnTo>
                    <a:pt x="220" y="287"/>
                  </a:lnTo>
                  <a:lnTo>
                    <a:pt x="217" y="287"/>
                  </a:lnTo>
                  <a:lnTo>
                    <a:pt x="214" y="289"/>
                  </a:lnTo>
                  <a:lnTo>
                    <a:pt x="212" y="289"/>
                  </a:lnTo>
                  <a:lnTo>
                    <a:pt x="210" y="289"/>
                  </a:lnTo>
                  <a:lnTo>
                    <a:pt x="208" y="289"/>
                  </a:lnTo>
                  <a:lnTo>
                    <a:pt x="207" y="289"/>
                  </a:lnTo>
                  <a:lnTo>
                    <a:pt x="205" y="289"/>
                  </a:lnTo>
                  <a:lnTo>
                    <a:pt x="201" y="287"/>
                  </a:lnTo>
                  <a:lnTo>
                    <a:pt x="200" y="287"/>
                  </a:lnTo>
                  <a:lnTo>
                    <a:pt x="198" y="287"/>
                  </a:lnTo>
                  <a:lnTo>
                    <a:pt x="196" y="287"/>
                  </a:lnTo>
                  <a:lnTo>
                    <a:pt x="196" y="286"/>
                  </a:lnTo>
                  <a:lnTo>
                    <a:pt x="195" y="286"/>
                  </a:lnTo>
                  <a:lnTo>
                    <a:pt x="191" y="284"/>
                  </a:lnTo>
                  <a:lnTo>
                    <a:pt x="189" y="284"/>
                  </a:lnTo>
                  <a:lnTo>
                    <a:pt x="186" y="282"/>
                  </a:lnTo>
                  <a:lnTo>
                    <a:pt x="184" y="282"/>
                  </a:lnTo>
                  <a:lnTo>
                    <a:pt x="183" y="282"/>
                  </a:lnTo>
                  <a:lnTo>
                    <a:pt x="181" y="282"/>
                  </a:lnTo>
                  <a:lnTo>
                    <a:pt x="179" y="282"/>
                  </a:lnTo>
                  <a:lnTo>
                    <a:pt x="177" y="282"/>
                  </a:lnTo>
                  <a:lnTo>
                    <a:pt x="176" y="282"/>
                  </a:lnTo>
                  <a:lnTo>
                    <a:pt x="172" y="280"/>
                  </a:lnTo>
                  <a:lnTo>
                    <a:pt x="171" y="282"/>
                  </a:lnTo>
                  <a:lnTo>
                    <a:pt x="167" y="282"/>
                  </a:lnTo>
                  <a:lnTo>
                    <a:pt x="165" y="282"/>
                  </a:lnTo>
                  <a:lnTo>
                    <a:pt x="162" y="282"/>
                  </a:lnTo>
                  <a:lnTo>
                    <a:pt x="158" y="282"/>
                  </a:lnTo>
                  <a:lnTo>
                    <a:pt x="157" y="282"/>
                  </a:lnTo>
                  <a:lnTo>
                    <a:pt x="152" y="282"/>
                  </a:lnTo>
                  <a:lnTo>
                    <a:pt x="152" y="282"/>
                  </a:lnTo>
                  <a:lnTo>
                    <a:pt x="150" y="280"/>
                  </a:lnTo>
                  <a:lnTo>
                    <a:pt x="148" y="280"/>
                  </a:lnTo>
                  <a:lnTo>
                    <a:pt x="146" y="279"/>
                  </a:lnTo>
                  <a:lnTo>
                    <a:pt x="143" y="277"/>
                  </a:lnTo>
                  <a:lnTo>
                    <a:pt x="140" y="277"/>
                  </a:lnTo>
                  <a:lnTo>
                    <a:pt x="136" y="277"/>
                  </a:lnTo>
                  <a:lnTo>
                    <a:pt x="136" y="277"/>
                  </a:lnTo>
                  <a:lnTo>
                    <a:pt x="134" y="277"/>
                  </a:lnTo>
                  <a:lnTo>
                    <a:pt x="131" y="277"/>
                  </a:lnTo>
                  <a:lnTo>
                    <a:pt x="129" y="277"/>
                  </a:lnTo>
                  <a:lnTo>
                    <a:pt x="126" y="277"/>
                  </a:lnTo>
                  <a:lnTo>
                    <a:pt x="124" y="277"/>
                  </a:lnTo>
                  <a:lnTo>
                    <a:pt x="121" y="277"/>
                  </a:lnTo>
                  <a:lnTo>
                    <a:pt x="119" y="277"/>
                  </a:lnTo>
                  <a:lnTo>
                    <a:pt x="119" y="279"/>
                  </a:lnTo>
                  <a:lnTo>
                    <a:pt x="117" y="279"/>
                  </a:lnTo>
                  <a:lnTo>
                    <a:pt x="115" y="279"/>
                  </a:lnTo>
                  <a:lnTo>
                    <a:pt x="114" y="279"/>
                  </a:lnTo>
                  <a:lnTo>
                    <a:pt x="114" y="280"/>
                  </a:lnTo>
                  <a:lnTo>
                    <a:pt x="112" y="280"/>
                  </a:lnTo>
                  <a:lnTo>
                    <a:pt x="109" y="282"/>
                  </a:lnTo>
                  <a:lnTo>
                    <a:pt x="107" y="284"/>
                  </a:lnTo>
                  <a:lnTo>
                    <a:pt x="107" y="284"/>
                  </a:lnTo>
                  <a:lnTo>
                    <a:pt x="105" y="286"/>
                  </a:lnTo>
                  <a:lnTo>
                    <a:pt x="103" y="286"/>
                  </a:lnTo>
                  <a:lnTo>
                    <a:pt x="102" y="286"/>
                  </a:lnTo>
                  <a:lnTo>
                    <a:pt x="100" y="286"/>
                  </a:lnTo>
                  <a:lnTo>
                    <a:pt x="98" y="286"/>
                  </a:lnTo>
                  <a:lnTo>
                    <a:pt x="95" y="286"/>
                  </a:lnTo>
                  <a:lnTo>
                    <a:pt x="91" y="286"/>
                  </a:lnTo>
                  <a:lnTo>
                    <a:pt x="91" y="286"/>
                  </a:lnTo>
                  <a:lnTo>
                    <a:pt x="90" y="284"/>
                  </a:lnTo>
                  <a:lnTo>
                    <a:pt x="84" y="284"/>
                  </a:lnTo>
                  <a:lnTo>
                    <a:pt x="83" y="282"/>
                  </a:lnTo>
                  <a:lnTo>
                    <a:pt x="79" y="282"/>
                  </a:lnTo>
                  <a:lnTo>
                    <a:pt x="76" y="280"/>
                  </a:lnTo>
                  <a:lnTo>
                    <a:pt x="72" y="280"/>
                  </a:lnTo>
                  <a:lnTo>
                    <a:pt x="69" y="280"/>
                  </a:lnTo>
                  <a:lnTo>
                    <a:pt x="67" y="279"/>
                  </a:lnTo>
                  <a:lnTo>
                    <a:pt x="64" y="279"/>
                  </a:lnTo>
                  <a:lnTo>
                    <a:pt x="60" y="279"/>
                  </a:lnTo>
                  <a:lnTo>
                    <a:pt x="59" y="279"/>
                  </a:lnTo>
                  <a:lnTo>
                    <a:pt x="59" y="277"/>
                  </a:lnTo>
                  <a:lnTo>
                    <a:pt x="57" y="277"/>
                  </a:lnTo>
                  <a:lnTo>
                    <a:pt x="55" y="277"/>
                  </a:lnTo>
                  <a:lnTo>
                    <a:pt x="54" y="277"/>
                  </a:lnTo>
                  <a:lnTo>
                    <a:pt x="52" y="277"/>
                  </a:lnTo>
                  <a:lnTo>
                    <a:pt x="50" y="275"/>
                  </a:lnTo>
                  <a:lnTo>
                    <a:pt x="47" y="274"/>
                  </a:lnTo>
                  <a:lnTo>
                    <a:pt x="47" y="272"/>
                  </a:lnTo>
                  <a:lnTo>
                    <a:pt x="45" y="268"/>
                  </a:lnTo>
                  <a:lnTo>
                    <a:pt x="45" y="267"/>
                  </a:lnTo>
                  <a:lnTo>
                    <a:pt x="43" y="265"/>
                  </a:lnTo>
                  <a:lnTo>
                    <a:pt x="43" y="263"/>
                  </a:lnTo>
                  <a:lnTo>
                    <a:pt x="43" y="262"/>
                  </a:lnTo>
                  <a:lnTo>
                    <a:pt x="43" y="258"/>
                  </a:lnTo>
                  <a:lnTo>
                    <a:pt x="43" y="256"/>
                  </a:lnTo>
                  <a:lnTo>
                    <a:pt x="43" y="255"/>
                  </a:lnTo>
                  <a:lnTo>
                    <a:pt x="43" y="253"/>
                  </a:lnTo>
                  <a:lnTo>
                    <a:pt x="43" y="249"/>
                  </a:lnTo>
                  <a:lnTo>
                    <a:pt x="43" y="248"/>
                  </a:lnTo>
                  <a:lnTo>
                    <a:pt x="41" y="248"/>
                  </a:lnTo>
                  <a:lnTo>
                    <a:pt x="41" y="246"/>
                  </a:lnTo>
                  <a:lnTo>
                    <a:pt x="40" y="246"/>
                  </a:lnTo>
                  <a:lnTo>
                    <a:pt x="38" y="246"/>
                  </a:lnTo>
                  <a:lnTo>
                    <a:pt x="38" y="246"/>
                  </a:lnTo>
                  <a:lnTo>
                    <a:pt x="31" y="255"/>
                  </a:lnTo>
                  <a:lnTo>
                    <a:pt x="31" y="256"/>
                  </a:lnTo>
                  <a:lnTo>
                    <a:pt x="31" y="258"/>
                  </a:lnTo>
                  <a:lnTo>
                    <a:pt x="28" y="256"/>
                  </a:lnTo>
                  <a:lnTo>
                    <a:pt x="23" y="255"/>
                  </a:lnTo>
                  <a:lnTo>
                    <a:pt x="21" y="251"/>
                  </a:lnTo>
                  <a:lnTo>
                    <a:pt x="17" y="248"/>
                  </a:lnTo>
                  <a:lnTo>
                    <a:pt x="17" y="246"/>
                  </a:lnTo>
                  <a:lnTo>
                    <a:pt x="16" y="243"/>
                  </a:lnTo>
                  <a:lnTo>
                    <a:pt x="16" y="239"/>
                  </a:lnTo>
                  <a:lnTo>
                    <a:pt x="14" y="236"/>
                  </a:lnTo>
                  <a:lnTo>
                    <a:pt x="14" y="234"/>
                  </a:lnTo>
                  <a:lnTo>
                    <a:pt x="14" y="232"/>
                  </a:lnTo>
                  <a:lnTo>
                    <a:pt x="9" y="225"/>
                  </a:lnTo>
                  <a:lnTo>
                    <a:pt x="5" y="219"/>
                  </a:lnTo>
                  <a:lnTo>
                    <a:pt x="5" y="215"/>
                  </a:lnTo>
                  <a:lnTo>
                    <a:pt x="7" y="213"/>
                  </a:lnTo>
                  <a:lnTo>
                    <a:pt x="9" y="212"/>
                  </a:lnTo>
                  <a:lnTo>
                    <a:pt x="11" y="210"/>
                  </a:lnTo>
                  <a:lnTo>
                    <a:pt x="12" y="210"/>
                  </a:lnTo>
                  <a:lnTo>
                    <a:pt x="14" y="208"/>
                  </a:lnTo>
                  <a:lnTo>
                    <a:pt x="16" y="206"/>
                  </a:lnTo>
                  <a:lnTo>
                    <a:pt x="17" y="205"/>
                  </a:lnTo>
                  <a:lnTo>
                    <a:pt x="19" y="201"/>
                  </a:lnTo>
                  <a:lnTo>
                    <a:pt x="23" y="200"/>
                  </a:lnTo>
                  <a:lnTo>
                    <a:pt x="23" y="196"/>
                  </a:lnTo>
                  <a:lnTo>
                    <a:pt x="23" y="193"/>
                  </a:lnTo>
                  <a:lnTo>
                    <a:pt x="21" y="191"/>
                  </a:lnTo>
                  <a:lnTo>
                    <a:pt x="19" y="189"/>
                  </a:lnTo>
                  <a:lnTo>
                    <a:pt x="16" y="188"/>
                  </a:lnTo>
                  <a:lnTo>
                    <a:pt x="12" y="188"/>
                  </a:lnTo>
                  <a:lnTo>
                    <a:pt x="11" y="188"/>
                  </a:lnTo>
                  <a:lnTo>
                    <a:pt x="5" y="188"/>
                  </a:lnTo>
                  <a:lnTo>
                    <a:pt x="4" y="186"/>
                  </a:lnTo>
                  <a:lnTo>
                    <a:pt x="0" y="186"/>
                  </a:lnTo>
                  <a:lnTo>
                    <a:pt x="0" y="182"/>
                  </a:lnTo>
                  <a:lnTo>
                    <a:pt x="0" y="179"/>
                  </a:lnTo>
                  <a:lnTo>
                    <a:pt x="0" y="177"/>
                  </a:lnTo>
                  <a:lnTo>
                    <a:pt x="0" y="172"/>
                  </a:lnTo>
                  <a:lnTo>
                    <a:pt x="0" y="170"/>
                  </a:lnTo>
                  <a:lnTo>
                    <a:pt x="0" y="169"/>
                  </a:lnTo>
                  <a:lnTo>
                    <a:pt x="0" y="169"/>
                  </a:lnTo>
                  <a:lnTo>
                    <a:pt x="0" y="167"/>
                  </a:lnTo>
                  <a:lnTo>
                    <a:pt x="2" y="167"/>
                  </a:lnTo>
                  <a:lnTo>
                    <a:pt x="4" y="165"/>
                  </a:lnTo>
                  <a:lnTo>
                    <a:pt x="7" y="165"/>
                  </a:lnTo>
                  <a:lnTo>
                    <a:pt x="11" y="165"/>
                  </a:lnTo>
                  <a:lnTo>
                    <a:pt x="14" y="163"/>
                  </a:lnTo>
                  <a:lnTo>
                    <a:pt x="16" y="162"/>
                  </a:lnTo>
                  <a:lnTo>
                    <a:pt x="17" y="158"/>
                  </a:lnTo>
                  <a:lnTo>
                    <a:pt x="19" y="157"/>
                  </a:lnTo>
                  <a:lnTo>
                    <a:pt x="21" y="157"/>
                  </a:lnTo>
                  <a:lnTo>
                    <a:pt x="23" y="153"/>
                  </a:lnTo>
                  <a:lnTo>
                    <a:pt x="23" y="151"/>
                  </a:lnTo>
                  <a:lnTo>
                    <a:pt x="23" y="150"/>
                  </a:lnTo>
                  <a:lnTo>
                    <a:pt x="23" y="148"/>
                  </a:lnTo>
                  <a:lnTo>
                    <a:pt x="23" y="145"/>
                  </a:lnTo>
                  <a:lnTo>
                    <a:pt x="23" y="141"/>
                  </a:lnTo>
                  <a:lnTo>
                    <a:pt x="23" y="141"/>
                  </a:lnTo>
                  <a:lnTo>
                    <a:pt x="23" y="139"/>
                  </a:lnTo>
                  <a:lnTo>
                    <a:pt x="23" y="138"/>
                  </a:lnTo>
                  <a:lnTo>
                    <a:pt x="24" y="136"/>
                  </a:lnTo>
                  <a:lnTo>
                    <a:pt x="24" y="134"/>
                  </a:lnTo>
                  <a:lnTo>
                    <a:pt x="26" y="132"/>
                  </a:lnTo>
                  <a:lnTo>
                    <a:pt x="28" y="129"/>
                  </a:lnTo>
                  <a:lnTo>
                    <a:pt x="29" y="129"/>
                  </a:lnTo>
                  <a:lnTo>
                    <a:pt x="31" y="127"/>
                  </a:lnTo>
                  <a:lnTo>
                    <a:pt x="31" y="126"/>
                  </a:lnTo>
                  <a:lnTo>
                    <a:pt x="31" y="126"/>
                  </a:lnTo>
                  <a:lnTo>
                    <a:pt x="35" y="124"/>
                  </a:lnTo>
                  <a:lnTo>
                    <a:pt x="38" y="122"/>
                  </a:lnTo>
                  <a:lnTo>
                    <a:pt x="40" y="122"/>
                  </a:lnTo>
                  <a:lnTo>
                    <a:pt x="41" y="120"/>
                  </a:lnTo>
                  <a:lnTo>
                    <a:pt x="43" y="119"/>
                  </a:lnTo>
                  <a:lnTo>
                    <a:pt x="45" y="117"/>
                  </a:lnTo>
                  <a:lnTo>
                    <a:pt x="45" y="115"/>
                  </a:lnTo>
                  <a:lnTo>
                    <a:pt x="47" y="114"/>
                  </a:lnTo>
                  <a:lnTo>
                    <a:pt x="47" y="112"/>
                  </a:lnTo>
                  <a:lnTo>
                    <a:pt x="48" y="112"/>
                  </a:lnTo>
                  <a:lnTo>
                    <a:pt x="50" y="110"/>
                  </a:lnTo>
                  <a:lnTo>
                    <a:pt x="50" y="108"/>
                  </a:lnTo>
                  <a:lnTo>
                    <a:pt x="52" y="107"/>
                  </a:lnTo>
                  <a:lnTo>
                    <a:pt x="52" y="105"/>
                  </a:lnTo>
                  <a:lnTo>
                    <a:pt x="54" y="103"/>
                  </a:lnTo>
                  <a:lnTo>
                    <a:pt x="54" y="102"/>
                  </a:lnTo>
                  <a:lnTo>
                    <a:pt x="54" y="100"/>
                  </a:lnTo>
                  <a:lnTo>
                    <a:pt x="55" y="100"/>
                  </a:lnTo>
                  <a:lnTo>
                    <a:pt x="55" y="98"/>
                  </a:lnTo>
                  <a:lnTo>
                    <a:pt x="55" y="96"/>
                  </a:lnTo>
                  <a:lnTo>
                    <a:pt x="57" y="95"/>
                  </a:lnTo>
                  <a:lnTo>
                    <a:pt x="57" y="93"/>
                  </a:lnTo>
                  <a:lnTo>
                    <a:pt x="57" y="91"/>
                  </a:lnTo>
                  <a:lnTo>
                    <a:pt x="57" y="89"/>
                  </a:lnTo>
                  <a:lnTo>
                    <a:pt x="59" y="88"/>
                  </a:lnTo>
                  <a:lnTo>
                    <a:pt x="59" y="86"/>
                  </a:lnTo>
                  <a:lnTo>
                    <a:pt x="59" y="84"/>
                  </a:lnTo>
                  <a:lnTo>
                    <a:pt x="60" y="84"/>
                  </a:lnTo>
                  <a:lnTo>
                    <a:pt x="60" y="83"/>
                  </a:lnTo>
                  <a:lnTo>
                    <a:pt x="60" y="81"/>
                  </a:lnTo>
                  <a:lnTo>
                    <a:pt x="60" y="81"/>
                  </a:lnTo>
                  <a:lnTo>
                    <a:pt x="60" y="79"/>
                  </a:lnTo>
                  <a:lnTo>
                    <a:pt x="64" y="72"/>
                  </a:lnTo>
                  <a:lnTo>
                    <a:pt x="64" y="71"/>
                  </a:lnTo>
                  <a:lnTo>
                    <a:pt x="67" y="65"/>
                  </a:lnTo>
                  <a:lnTo>
                    <a:pt x="67" y="64"/>
                  </a:lnTo>
                  <a:lnTo>
                    <a:pt x="69" y="62"/>
                  </a:lnTo>
                  <a:lnTo>
                    <a:pt x="69" y="59"/>
                  </a:lnTo>
                  <a:lnTo>
                    <a:pt x="74" y="50"/>
                  </a:lnTo>
                  <a:lnTo>
                    <a:pt x="76" y="41"/>
                  </a:lnTo>
                  <a:lnTo>
                    <a:pt x="76" y="38"/>
                  </a:lnTo>
                  <a:lnTo>
                    <a:pt x="79" y="33"/>
                  </a:lnTo>
                  <a:lnTo>
                    <a:pt x="83" y="21"/>
                  </a:lnTo>
                  <a:lnTo>
                    <a:pt x="90" y="7"/>
                  </a:lnTo>
                  <a:lnTo>
                    <a:pt x="91" y="3"/>
                  </a:lnTo>
                  <a:lnTo>
                    <a:pt x="91" y="0"/>
                  </a:lnTo>
                  <a:lnTo>
                    <a:pt x="93" y="0"/>
                  </a:lnTo>
                  <a:lnTo>
                    <a:pt x="97" y="2"/>
                  </a:lnTo>
                  <a:lnTo>
                    <a:pt x="103" y="3"/>
                  </a:lnTo>
                  <a:lnTo>
                    <a:pt x="103" y="5"/>
                  </a:lnTo>
                  <a:lnTo>
                    <a:pt x="107" y="5"/>
                  </a:lnTo>
                  <a:lnTo>
                    <a:pt x="107" y="5"/>
                  </a:lnTo>
                  <a:lnTo>
                    <a:pt x="114" y="7"/>
                  </a:lnTo>
                  <a:lnTo>
                    <a:pt x="115" y="7"/>
                  </a:lnTo>
                  <a:lnTo>
                    <a:pt x="121" y="10"/>
                  </a:lnTo>
                  <a:lnTo>
                    <a:pt x="127" y="12"/>
                  </a:lnTo>
                  <a:lnTo>
                    <a:pt x="136" y="16"/>
                  </a:lnTo>
                  <a:lnTo>
                    <a:pt x="141" y="17"/>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4" name="Freeform 173"/>
            <p:cNvSpPr>
              <a:spLocks/>
            </p:cNvSpPr>
            <p:nvPr/>
          </p:nvSpPr>
          <p:spPr bwMode="auto">
            <a:xfrm>
              <a:off x="4069646" y="2493756"/>
              <a:ext cx="609600" cy="466725"/>
            </a:xfrm>
            <a:custGeom>
              <a:avLst/>
              <a:gdLst/>
              <a:ahLst/>
              <a:cxnLst>
                <a:cxn ang="0">
                  <a:pos x="381" y="55"/>
                </a:cxn>
                <a:cxn ang="0">
                  <a:pos x="379" y="88"/>
                </a:cxn>
                <a:cxn ang="0">
                  <a:pos x="377" y="125"/>
                </a:cxn>
                <a:cxn ang="0">
                  <a:pos x="377" y="143"/>
                </a:cxn>
                <a:cxn ang="0">
                  <a:pos x="375" y="174"/>
                </a:cxn>
                <a:cxn ang="0">
                  <a:pos x="372" y="224"/>
                </a:cxn>
                <a:cxn ang="0">
                  <a:pos x="372" y="241"/>
                </a:cxn>
                <a:cxn ang="0">
                  <a:pos x="370" y="260"/>
                </a:cxn>
                <a:cxn ang="0">
                  <a:pos x="363" y="280"/>
                </a:cxn>
                <a:cxn ang="0">
                  <a:pos x="343" y="279"/>
                </a:cxn>
                <a:cxn ang="0">
                  <a:pos x="326" y="279"/>
                </a:cxn>
                <a:cxn ang="0">
                  <a:pos x="307" y="277"/>
                </a:cxn>
                <a:cxn ang="0">
                  <a:pos x="283" y="277"/>
                </a:cxn>
                <a:cxn ang="0">
                  <a:pos x="240" y="275"/>
                </a:cxn>
                <a:cxn ang="0">
                  <a:pos x="202" y="273"/>
                </a:cxn>
                <a:cxn ang="0">
                  <a:pos x="172" y="272"/>
                </a:cxn>
                <a:cxn ang="0">
                  <a:pos x="143" y="292"/>
                </a:cxn>
                <a:cxn ang="0">
                  <a:pos x="121" y="291"/>
                </a:cxn>
                <a:cxn ang="0">
                  <a:pos x="95" y="289"/>
                </a:cxn>
                <a:cxn ang="0">
                  <a:pos x="69" y="289"/>
                </a:cxn>
                <a:cxn ang="0">
                  <a:pos x="35" y="287"/>
                </a:cxn>
                <a:cxn ang="0">
                  <a:pos x="9" y="285"/>
                </a:cxn>
                <a:cxn ang="0">
                  <a:pos x="0" y="253"/>
                </a:cxn>
                <a:cxn ang="0">
                  <a:pos x="2" y="227"/>
                </a:cxn>
                <a:cxn ang="0">
                  <a:pos x="4" y="210"/>
                </a:cxn>
                <a:cxn ang="0">
                  <a:pos x="6" y="179"/>
                </a:cxn>
                <a:cxn ang="0">
                  <a:pos x="7" y="124"/>
                </a:cxn>
                <a:cxn ang="0">
                  <a:pos x="11" y="115"/>
                </a:cxn>
                <a:cxn ang="0">
                  <a:pos x="25" y="119"/>
                </a:cxn>
                <a:cxn ang="0">
                  <a:pos x="38" y="119"/>
                </a:cxn>
                <a:cxn ang="0">
                  <a:pos x="52" y="107"/>
                </a:cxn>
                <a:cxn ang="0">
                  <a:pos x="54" y="94"/>
                </a:cxn>
                <a:cxn ang="0">
                  <a:pos x="49" y="84"/>
                </a:cxn>
                <a:cxn ang="0">
                  <a:pos x="54" y="74"/>
                </a:cxn>
                <a:cxn ang="0">
                  <a:pos x="68" y="72"/>
                </a:cxn>
                <a:cxn ang="0">
                  <a:pos x="85" y="65"/>
                </a:cxn>
                <a:cxn ang="0">
                  <a:pos x="93" y="79"/>
                </a:cxn>
                <a:cxn ang="0">
                  <a:pos x="85" y="91"/>
                </a:cxn>
                <a:cxn ang="0">
                  <a:pos x="83" y="112"/>
                </a:cxn>
                <a:cxn ang="0">
                  <a:pos x="100" y="107"/>
                </a:cxn>
                <a:cxn ang="0">
                  <a:pos x="105" y="88"/>
                </a:cxn>
                <a:cxn ang="0">
                  <a:pos x="117" y="82"/>
                </a:cxn>
                <a:cxn ang="0">
                  <a:pos x="138" y="74"/>
                </a:cxn>
                <a:cxn ang="0">
                  <a:pos x="162" y="58"/>
                </a:cxn>
                <a:cxn ang="0">
                  <a:pos x="181" y="60"/>
                </a:cxn>
                <a:cxn ang="0">
                  <a:pos x="203" y="70"/>
                </a:cxn>
                <a:cxn ang="0">
                  <a:pos x="222" y="64"/>
                </a:cxn>
                <a:cxn ang="0">
                  <a:pos x="238" y="65"/>
                </a:cxn>
                <a:cxn ang="0">
                  <a:pos x="250" y="62"/>
                </a:cxn>
                <a:cxn ang="0">
                  <a:pos x="257" y="51"/>
                </a:cxn>
                <a:cxn ang="0">
                  <a:pos x="267" y="43"/>
                </a:cxn>
                <a:cxn ang="0">
                  <a:pos x="277" y="39"/>
                </a:cxn>
                <a:cxn ang="0">
                  <a:pos x="281" y="34"/>
                </a:cxn>
                <a:cxn ang="0">
                  <a:pos x="291" y="36"/>
                </a:cxn>
                <a:cxn ang="0">
                  <a:pos x="308" y="39"/>
                </a:cxn>
                <a:cxn ang="0">
                  <a:pos x="320" y="43"/>
                </a:cxn>
                <a:cxn ang="0">
                  <a:pos x="332" y="57"/>
                </a:cxn>
                <a:cxn ang="0">
                  <a:pos x="353" y="60"/>
                </a:cxn>
                <a:cxn ang="0">
                  <a:pos x="377" y="50"/>
                </a:cxn>
                <a:cxn ang="0">
                  <a:pos x="372" y="27"/>
                </a:cxn>
                <a:cxn ang="0">
                  <a:pos x="374" y="12"/>
                </a:cxn>
                <a:cxn ang="0">
                  <a:pos x="384" y="0"/>
                </a:cxn>
              </a:cxnLst>
              <a:rect l="0" t="0" r="r" b="b"/>
              <a:pathLst>
                <a:path w="384" h="294">
                  <a:moveTo>
                    <a:pt x="384" y="0"/>
                  </a:moveTo>
                  <a:lnTo>
                    <a:pt x="384" y="12"/>
                  </a:lnTo>
                  <a:lnTo>
                    <a:pt x="382" y="27"/>
                  </a:lnTo>
                  <a:lnTo>
                    <a:pt x="382" y="33"/>
                  </a:lnTo>
                  <a:lnTo>
                    <a:pt x="382" y="38"/>
                  </a:lnTo>
                  <a:lnTo>
                    <a:pt x="382" y="39"/>
                  </a:lnTo>
                  <a:lnTo>
                    <a:pt x="382" y="45"/>
                  </a:lnTo>
                  <a:lnTo>
                    <a:pt x="381" y="55"/>
                  </a:lnTo>
                  <a:lnTo>
                    <a:pt x="381" y="57"/>
                  </a:lnTo>
                  <a:lnTo>
                    <a:pt x="381" y="69"/>
                  </a:lnTo>
                  <a:lnTo>
                    <a:pt x="381" y="70"/>
                  </a:lnTo>
                  <a:lnTo>
                    <a:pt x="381" y="77"/>
                  </a:lnTo>
                  <a:lnTo>
                    <a:pt x="381" y="79"/>
                  </a:lnTo>
                  <a:lnTo>
                    <a:pt x="379" y="82"/>
                  </a:lnTo>
                  <a:lnTo>
                    <a:pt x="379" y="84"/>
                  </a:lnTo>
                  <a:lnTo>
                    <a:pt x="379" y="88"/>
                  </a:lnTo>
                  <a:lnTo>
                    <a:pt x="379" y="101"/>
                  </a:lnTo>
                  <a:lnTo>
                    <a:pt x="379" y="105"/>
                  </a:lnTo>
                  <a:lnTo>
                    <a:pt x="379" y="107"/>
                  </a:lnTo>
                  <a:lnTo>
                    <a:pt x="379" y="110"/>
                  </a:lnTo>
                  <a:lnTo>
                    <a:pt x="379" y="113"/>
                  </a:lnTo>
                  <a:lnTo>
                    <a:pt x="379" y="115"/>
                  </a:lnTo>
                  <a:lnTo>
                    <a:pt x="377" y="124"/>
                  </a:lnTo>
                  <a:lnTo>
                    <a:pt x="377" y="125"/>
                  </a:lnTo>
                  <a:lnTo>
                    <a:pt x="377" y="127"/>
                  </a:lnTo>
                  <a:lnTo>
                    <a:pt x="377" y="129"/>
                  </a:lnTo>
                  <a:lnTo>
                    <a:pt x="377" y="131"/>
                  </a:lnTo>
                  <a:lnTo>
                    <a:pt x="377" y="132"/>
                  </a:lnTo>
                  <a:lnTo>
                    <a:pt x="377" y="134"/>
                  </a:lnTo>
                  <a:lnTo>
                    <a:pt x="377" y="134"/>
                  </a:lnTo>
                  <a:lnTo>
                    <a:pt x="377" y="139"/>
                  </a:lnTo>
                  <a:lnTo>
                    <a:pt x="377" y="143"/>
                  </a:lnTo>
                  <a:lnTo>
                    <a:pt x="377" y="144"/>
                  </a:lnTo>
                  <a:lnTo>
                    <a:pt x="377" y="146"/>
                  </a:lnTo>
                  <a:lnTo>
                    <a:pt x="377" y="148"/>
                  </a:lnTo>
                  <a:lnTo>
                    <a:pt x="375" y="148"/>
                  </a:lnTo>
                  <a:lnTo>
                    <a:pt x="375" y="160"/>
                  </a:lnTo>
                  <a:lnTo>
                    <a:pt x="375" y="162"/>
                  </a:lnTo>
                  <a:lnTo>
                    <a:pt x="375" y="168"/>
                  </a:lnTo>
                  <a:lnTo>
                    <a:pt x="375" y="174"/>
                  </a:lnTo>
                  <a:lnTo>
                    <a:pt x="375" y="181"/>
                  </a:lnTo>
                  <a:lnTo>
                    <a:pt x="375" y="182"/>
                  </a:lnTo>
                  <a:lnTo>
                    <a:pt x="374" y="191"/>
                  </a:lnTo>
                  <a:lnTo>
                    <a:pt x="374" y="194"/>
                  </a:lnTo>
                  <a:lnTo>
                    <a:pt x="374" y="203"/>
                  </a:lnTo>
                  <a:lnTo>
                    <a:pt x="374" y="208"/>
                  </a:lnTo>
                  <a:lnTo>
                    <a:pt x="372" y="222"/>
                  </a:lnTo>
                  <a:lnTo>
                    <a:pt x="372" y="224"/>
                  </a:lnTo>
                  <a:lnTo>
                    <a:pt x="372" y="225"/>
                  </a:lnTo>
                  <a:lnTo>
                    <a:pt x="372" y="227"/>
                  </a:lnTo>
                  <a:lnTo>
                    <a:pt x="372" y="234"/>
                  </a:lnTo>
                  <a:lnTo>
                    <a:pt x="372" y="236"/>
                  </a:lnTo>
                  <a:lnTo>
                    <a:pt x="372" y="237"/>
                  </a:lnTo>
                  <a:lnTo>
                    <a:pt x="372" y="239"/>
                  </a:lnTo>
                  <a:lnTo>
                    <a:pt x="372" y="239"/>
                  </a:lnTo>
                  <a:lnTo>
                    <a:pt x="372" y="241"/>
                  </a:lnTo>
                  <a:lnTo>
                    <a:pt x="372" y="242"/>
                  </a:lnTo>
                  <a:lnTo>
                    <a:pt x="370" y="246"/>
                  </a:lnTo>
                  <a:lnTo>
                    <a:pt x="370" y="248"/>
                  </a:lnTo>
                  <a:lnTo>
                    <a:pt x="370" y="251"/>
                  </a:lnTo>
                  <a:lnTo>
                    <a:pt x="370" y="253"/>
                  </a:lnTo>
                  <a:lnTo>
                    <a:pt x="370" y="254"/>
                  </a:lnTo>
                  <a:lnTo>
                    <a:pt x="370" y="256"/>
                  </a:lnTo>
                  <a:lnTo>
                    <a:pt x="370" y="260"/>
                  </a:lnTo>
                  <a:lnTo>
                    <a:pt x="370" y="261"/>
                  </a:lnTo>
                  <a:lnTo>
                    <a:pt x="370" y="263"/>
                  </a:lnTo>
                  <a:lnTo>
                    <a:pt x="370" y="268"/>
                  </a:lnTo>
                  <a:lnTo>
                    <a:pt x="370" y="277"/>
                  </a:lnTo>
                  <a:lnTo>
                    <a:pt x="370" y="280"/>
                  </a:lnTo>
                  <a:lnTo>
                    <a:pt x="369" y="280"/>
                  </a:lnTo>
                  <a:lnTo>
                    <a:pt x="365" y="280"/>
                  </a:lnTo>
                  <a:lnTo>
                    <a:pt x="363" y="280"/>
                  </a:lnTo>
                  <a:lnTo>
                    <a:pt x="362" y="280"/>
                  </a:lnTo>
                  <a:lnTo>
                    <a:pt x="358" y="280"/>
                  </a:lnTo>
                  <a:lnTo>
                    <a:pt x="356" y="280"/>
                  </a:lnTo>
                  <a:lnTo>
                    <a:pt x="355" y="279"/>
                  </a:lnTo>
                  <a:lnTo>
                    <a:pt x="353" y="279"/>
                  </a:lnTo>
                  <a:lnTo>
                    <a:pt x="350" y="279"/>
                  </a:lnTo>
                  <a:lnTo>
                    <a:pt x="348" y="279"/>
                  </a:lnTo>
                  <a:lnTo>
                    <a:pt x="343" y="279"/>
                  </a:lnTo>
                  <a:lnTo>
                    <a:pt x="341" y="279"/>
                  </a:lnTo>
                  <a:lnTo>
                    <a:pt x="339" y="279"/>
                  </a:lnTo>
                  <a:lnTo>
                    <a:pt x="338" y="279"/>
                  </a:lnTo>
                  <a:lnTo>
                    <a:pt x="336" y="279"/>
                  </a:lnTo>
                  <a:lnTo>
                    <a:pt x="332" y="279"/>
                  </a:lnTo>
                  <a:lnTo>
                    <a:pt x="331" y="279"/>
                  </a:lnTo>
                  <a:lnTo>
                    <a:pt x="326" y="279"/>
                  </a:lnTo>
                  <a:lnTo>
                    <a:pt x="326" y="279"/>
                  </a:lnTo>
                  <a:lnTo>
                    <a:pt x="324" y="279"/>
                  </a:lnTo>
                  <a:lnTo>
                    <a:pt x="322" y="279"/>
                  </a:lnTo>
                  <a:lnTo>
                    <a:pt x="320" y="277"/>
                  </a:lnTo>
                  <a:lnTo>
                    <a:pt x="319" y="277"/>
                  </a:lnTo>
                  <a:lnTo>
                    <a:pt x="317" y="277"/>
                  </a:lnTo>
                  <a:lnTo>
                    <a:pt x="312" y="277"/>
                  </a:lnTo>
                  <a:lnTo>
                    <a:pt x="308" y="277"/>
                  </a:lnTo>
                  <a:lnTo>
                    <a:pt x="307" y="277"/>
                  </a:lnTo>
                  <a:lnTo>
                    <a:pt x="305" y="277"/>
                  </a:lnTo>
                  <a:lnTo>
                    <a:pt x="303" y="277"/>
                  </a:lnTo>
                  <a:lnTo>
                    <a:pt x="301" y="277"/>
                  </a:lnTo>
                  <a:lnTo>
                    <a:pt x="295" y="277"/>
                  </a:lnTo>
                  <a:lnTo>
                    <a:pt x="295" y="277"/>
                  </a:lnTo>
                  <a:lnTo>
                    <a:pt x="291" y="277"/>
                  </a:lnTo>
                  <a:lnTo>
                    <a:pt x="288" y="277"/>
                  </a:lnTo>
                  <a:lnTo>
                    <a:pt x="283" y="277"/>
                  </a:lnTo>
                  <a:lnTo>
                    <a:pt x="281" y="277"/>
                  </a:lnTo>
                  <a:lnTo>
                    <a:pt x="277" y="277"/>
                  </a:lnTo>
                  <a:lnTo>
                    <a:pt x="274" y="275"/>
                  </a:lnTo>
                  <a:lnTo>
                    <a:pt x="267" y="275"/>
                  </a:lnTo>
                  <a:lnTo>
                    <a:pt x="264" y="275"/>
                  </a:lnTo>
                  <a:lnTo>
                    <a:pt x="258" y="275"/>
                  </a:lnTo>
                  <a:lnTo>
                    <a:pt x="257" y="275"/>
                  </a:lnTo>
                  <a:lnTo>
                    <a:pt x="240" y="275"/>
                  </a:lnTo>
                  <a:lnTo>
                    <a:pt x="234" y="273"/>
                  </a:lnTo>
                  <a:lnTo>
                    <a:pt x="229" y="273"/>
                  </a:lnTo>
                  <a:lnTo>
                    <a:pt x="227" y="273"/>
                  </a:lnTo>
                  <a:lnTo>
                    <a:pt x="222" y="273"/>
                  </a:lnTo>
                  <a:lnTo>
                    <a:pt x="219" y="273"/>
                  </a:lnTo>
                  <a:lnTo>
                    <a:pt x="212" y="273"/>
                  </a:lnTo>
                  <a:lnTo>
                    <a:pt x="207" y="273"/>
                  </a:lnTo>
                  <a:lnTo>
                    <a:pt x="202" y="273"/>
                  </a:lnTo>
                  <a:lnTo>
                    <a:pt x="200" y="273"/>
                  </a:lnTo>
                  <a:lnTo>
                    <a:pt x="195" y="273"/>
                  </a:lnTo>
                  <a:lnTo>
                    <a:pt x="191" y="272"/>
                  </a:lnTo>
                  <a:lnTo>
                    <a:pt x="190" y="272"/>
                  </a:lnTo>
                  <a:lnTo>
                    <a:pt x="183" y="272"/>
                  </a:lnTo>
                  <a:lnTo>
                    <a:pt x="178" y="272"/>
                  </a:lnTo>
                  <a:lnTo>
                    <a:pt x="176" y="272"/>
                  </a:lnTo>
                  <a:lnTo>
                    <a:pt x="172" y="272"/>
                  </a:lnTo>
                  <a:lnTo>
                    <a:pt x="167" y="270"/>
                  </a:lnTo>
                  <a:lnTo>
                    <a:pt x="167" y="277"/>
                  </a:lnTo>
                  <a:lnTo>
                    <a:pt x="167" y="287"/>
                  </a:lnTo>
                  <a:lnTo>
                    <a:pt x="167" y="294"/>
                  </a:lnTo>
                  <a:lnTo>
                    <a:pt x="164" y="294"/>
                  </a:lnTo>
                  <a:lnTo>
                    <a:pt x="159" y="294"/>
                  </a:lnTo>
                  <a:lnTo>
                    <a:pt x="147" y="292"/>
                  </a:lnTo>
                  <a:lnTo>
                    <a:pt x="143" y="292"/>
                  </a:lnTo>
                  <a:lnTo>
                    <a:pt x="141" y="292"/>
                  </a:lnTo>
                  <a:lnTo>
                    <a:pt x="140" y="292"/>
                  </a:lnTo>
                  <a:lnTo>
                    <a:pt x="136" y="292"/>
                  </a:lnTo>
                  <a:lnTo>
                    <a:pt x="131" y="292"/>
                  </a:lnTo>
                  <a:lnTo>
                    <a:pt x="129" y="292"/>
                  </a:lnTo>
                  <a:lnTo>
                    <a:pt x="128" y="292"/>
                  </a:lnTo>
                  <a:lnTo>
                    <a:pt x="124" y="292"/>
                  </a:lnTo>
                  <a:lnTo>
                    <a:pt x="121" y="291"/>
                  </a:lnTo>
                  <a:lnTo>
                    <a:pt x="119" y="291"/>
                  </a:lnTo>
                  <a:lnTo>
                    <a:pt x="114" y="291"/>
                  </a:lnTo>
                  <a:lnTo>
                    <a:pt x="112" y="291"/>
                  </a:lnTo>
                  <a:lnTo>
                    <a:pt x="107" y="291"/>
                  </a:lnTo>
                  <a:lnTo>
                    <a:pt x="102" y="291"/>
                  </a:lnTo>
                  <a:lnTo>
                    <a:pt x="98" y="291"/>
                  </a:lnTo>
                  <a:lnTo>
                    <a:pt x="97" y="291"/>
                  </a:lnTo>
                  <a:lnTo>
                    <a:pt x="95" y="289"/>
                  </a:lnTo>
                  <a:lnTo>
                    <a:pt x="90" y="289"/>
                  </a:lnTo>
                  <a:lnTo>
                    <a:pt x="86" y="289"/>
                  </a:lnTo>
                  <a:lnTo>
                    <a:pt x="85" y="289"/>
                  </a:lnTo>
                  <a:lnTo>
                    <a:pt x="85" y="289"/>
                  </a:lnTo>
                  <a:lnTo>
                    <a:pt x="78" y="289"/>
                  </a:lnTo>
                  <a:lnTo>
                    <a:pt x="73" y="289"/>
                  </a:lnTo>
                  <a:lnTo>
                    <a:pt x="69" y="289"/>
                  </a:lnTo>
                  <a:lnTo>
                    <a:pt x="69" y="289"/>
                  </a:lnTo>
                  <a:lnTo>
                    <a:pt x="68" y="289"/>
                  </a:lnTo>
                  <a:lnTo>
                    <a:pt x="61" y="287"/>
                  </a:lnTo>
                  <a:lnTo>
                    <a:pt x="54" y="287"/>
                  </a:lnTo>
                  <a:lnTo>
                    <a:pt x="47" y="287"/>
                  </a:lnTo>
                  <a:lnTo>
                    <a:pt x="42" y="287"/>
                  </a:lnTo>
                  <a:lnTo>
                    <a:pt x="38" y="287"/>
                  </a:lnTo>
                  <a:lnTo>
                    <a:pt x="37" y="287"/>
                  </a:lnTo>
                  <a:lnTo>
                    <a:pt x="35" y="287"/>
                  </a:lnTo>
                  <a:lnTo>
                    <a:pt x="33" y="287"/>
                  </a:lnTo>
                  <a:lnTo>
                    <a:pt x="28" y="285"/>
                  </a:lnTo>
                  <a:lnTo>
                    <a:pt x="26" y="285"/>
                  </a:lnTo>
                  <a:lnTo>
                    <a:pt x="25" y="285"/>
                  </a:lnTo>
                  <a:lnTo>
                    <a:pt x="25" y="285"/>
                  </a:lnTo>
                  <a:lnTo>
                    <a:pt x="23" y="285"/>
                  </a:lnTo>
                  <a:lnTo>
                    <a:pt x="11" y="285"/>
                  </a:lnTo>
                  <a:lnTo>
                    <a:pt x="9" y="285"/>
                  </a:lnTo>
                  <a:lnTo>
                    <a:pt x="2" y="284"/>
                  </a:lnTo>
                  <a:lnTo>
                    <a:pt x="0" y="285"/>
                  </a:lnTo>
                  <a:lnTo>
                    <a:pt x="0" y="284"/>
                  </a:lnTo>
                  <a:lnTo>
                    <a:pt x="0" y="277"/>
                  </a:lnTo>
                  <a:lnTo>
                    <a:pt x="0" y="265"/>
                  </a:lnTo>
                  <a:lnTo>
                    <a:pt x="0" y="263"/>
                  </a:lnTo>
                  <a:lnTo>
                    <a:pt x="0" y="256"/>
                  </a:lnTo>
                  <a:lnTo>
                    <a:pt x="0" y="253"/>
                  </a:lnTo>
                  <a:lnTo>
                    <a:pt x="0" y="251"/>
                  </a:lnTo>
                  <a:lnTo>
                    <a:pt x="2" y="242"/>
                  </a:lnTo>
                  <a:lnTo>
                    <a:pt x="2" y="236"/>
                  </a:lnTo>
                  <a:lnTo>
                    <a:pt x="2" y="234"/>
                  </a:lnTo>
                  <a:lnTo>
                    <a:pt x="2" y="232"/>
                  </a:lnTo>
                  <a:lnTo>
                    <a:pt x="2" y="230"/>
                  </a:lnTo>
                  <a:lnTo>
                    <a:pt x="2" y="229"/>
                  </a:lnTo>
                  <a:lnTo>
                    <a:pt x="2" y="227"/>
                  </a:lnTo>
                  <a:lnTo>
                    <a:pt x="2" y="225"/>
                  </a:lnTo>
                  <a:lnTo>
                    <a:pt x="2" y="224"/>
                  </a:lnTo>
                  <a:lnTo>
                    <a:pt x="2" y="224"/>
                  </a:lnTo>
                  <a:lnTo>
                    <a:pt x="2" y="222"/>
                  </a:lnTo>
                  <a:lnTo>
                    <a:pt x="4" y="218"/>
                  </a:lnTo>
                  <a:lnTo>
                    <a:pt x="4" y="215"/>
                  </a:lnTo>
                  <a:lnTo>
                    <a:pt x="4" y="213"/>
                  </a:lnTo>
                  <a:lnTo>
                    <a:pt x="4" y="210"/>
                  </a:lnTo>
                  <a:lnTo>
                    <a:pt x="4" y="208"/>
                  </a:lnTo>
                  <a:lnTo>
                    <a:pt x="4" y="208"/>
                  </a:lnTo>
                  <a:lnTo>
                    <a:pt x="4" y="201"/>
                  </a:lnTo>
                  <a:lnTo>
                    <a:pt x="4" y="196"/>
                  </a:lnTo>
                  <a:lnTo>
                    <a:pt x="4" y="187"/>
                  </a:lnTo>
                  <a:lnTo>
                    <a:pt x="6" y="182"/>
                  </a:lnTo>
                  <a:lnTo>
                    <a:pt x="6" y="181"/>
                  </a:lnTo>
                  <a:lnTo>
                    <a:pt x="6" y="179"/>
                  </a:lnTo>
                  <a:lnTo>
                    <a:pt x="6" y="175"/>
                  </a:lnTo>
                  <a:lnTo>
                    <a:pt x="6" y="170"/>
                  </a:lnTo>
                  <a:lnTo>
                    <a:pt x="6" y="163"/>
                  </a:lnTo>
                  <a:lnTo>
                    <a:pt x="6" y="151"/>
                  </a:lnTo>
                  <a:lnTo>
                    <a:pt x="7" y="138"/>
                  </a:lnTo>
                  <a:lnTo>
                    <a:pt x="7" y="136"/>
                  </a:lnTo>
                  <a:lnTo>
                    <a:pt x="7" y="132"/>
                  </a:lnTo>
                  <a:lnTo>
                    <a:pt x="7" y="124"/>
                  </a:lnTo>
                  <a:lnTo>
                    <a:pt x="7" y="122"/>
                  </a:lnTo>
                  <a:lnTo>
                    <a:pt x="7" y="120"/>
                  </a:lnTo>
                  <a:lnTo>
                    <a:pt x="7" y="119"/>
                  </a:lnTo>
                  <a:lnTo>
                    <a:pt x="7" y="113"/>
                  </a:lnTo>
                  <a:lnTo>
                    <a:pt x="9" y="112"/>
                  </a:lnTo>
                  <a:lnTo>
                    <a:pt x="9" y="113"/>
                  </a:lnTo>
                  <a:lnTo>
                    <a:pt x="9" y="113"/>
                  </a:lnTo>
                  <a:lnTo>
                    <a:pt x="11" y="115"/>
                  </a:lnTo>
                  <a:lnTo>
                    <a:pt x="12" y="115"/>
                  </a:lnTo>
                  <a:lnTo>
                    <a:pt x="14" y="117"/>
                  </a:lnTo>
                  <a:lnTo>
                    <a:pt x="16" y="119"/>
                  </a:lnTo>
                  <a:lnTo>
                    <a:pt x="18" y="119"/>
                  </a:lnTo>
                  <a:lnTo>
                    <a:pt x="19" y="119"/>
                  </a:lnTo>
                  <a:lnTo>
                    <a:pt x="23" y="119"/>
                  </a:lnTo>
                  <a:lnTo>
                    <a:pt x="25" y="119"/>
                  </a:lnTo>
                  <a:lnTo>
                    <a:pt x="25" y="119"/>
                  </a:lnTo>
                  <a:lnTo>
                    <a:pt x="26" y="119"/>
                  </a:lnTo>
                  <a:lnTo>
                    <a:pt x="28" y="119"/>
                  </a:lnTo>
                  <a:lnTo>
                    <a:pt x="30" y="119"/>
                  </a:lnTo>
                  <a:lnTo>
                    <a:pt x="31" y="119"/>
                  </a:lnTo>
                  <a:lnTo>
                    <a:pt x="33" y="119"/>
                  </a:lnTo>
                  <a:lnTo>
                    <a:pt x="35" y="119"/>
                  </a:lnTo>
                  <a:lnTo>
                    <a:pt x="37" y="119"/>
                  </a:lnTo>
                  <a:lnTo>
                    <a:pt x="38" y="119"/>
                  </a:lnTo>
                  <a:lnTo>
                    <a:pt x="38" y="117"/>
                  </a:lnTo>
                  <a:lnTo>
                    <a:pt x="42" y="115"/>
                  </a:lnTo>
                  <a:lnTo>
                    <a:pt x="43" y="115"/>
                  </a:lnTo>
                  <a:lnTo>
                    <a:pt x="45" y="113"/>
                  </a:lnTo>
                  <a:lnTo>
                    <a:pt x="47" y="112"/>
                  </a:lnTo>
                  <a:lnTo>
                    <a:pt x="49" y="108"/>
                  </a:lnTo>
                  <a:lnTo>
                    <a:pt x="50" y="108"/>
                  </a:lnTo>
                  <a:lnTo>
                    <a:pt x="52" y="107"/>
                  </a:lnTo>
                  <a:lnTo>
                    <a:pt x="54" y="105"/>
                  </a:lnTo>
                  <a:lnTo>
                    <a:pt x="54" y="103"/>
                  </a:lnTo>
                  <a:lnTo>
                    <a:pt x="55" y="103"/>
                  </a:lnTo>
                  <a:lnTo>
                    <a:pt x="55" y="103"/>
                  </a:lnTo>
                  <a:lnTo>
                    <a:pt x="55" y="100"/>
                  </a:lnTo>
                  <a:lnTo>
                    <a:pt x="55" y="98"/>
                  </a:lnTo>
                  <a:lnTo>
                    <a:pt x="54" y="96"/>
                  </a:lnTo>
                  <a:lnTo>
                    <a:pt x="54" y="94"/>
                  </a:lnTo>
                  <a:lnTo>
                    <a:pt x="54" y="93"/>
                  </a:lnTo>
                  <a:lnTo>
                    <a:pt x="54" y="93"/>
                  </a:lnTo>
                  <a:lnTo>
                    <a:pt x="52" y="89"/>
                  </a:lnTo>
                  <a:lnTo>
                    <a:pt x="50" y="88"/>
                  </a:lnTo>
                  <a:lnTo>
                    <a:pt x="50" y="88"/>
                  </a:lnTo>
                  <a:lnTo>
                    <a:pt x="50" y="86"/>
                  </a:lnTo>
                  <a:lnTo>
                    <a:pt x="49" y="86"/>
                  </a:lnTo>
                  <a:lnTo>
                    <a:pt x="49" y="84"/>
                  </a:lnTo>
                  <a:lnTo>
                    <a:pt x="49" y="82"/>
                  </a:lnTo>
                  <a:lnTo>
                    <a:pt x="49" y="81"/>
                  </a:lnTo>
                  <a:lnTo>
                    <a:pt x="50" y="79"/>
                  </a:lnTo>
                  <a:lnTo>
                    <a:pt x="50" y="77"/>
                  </a:lnTo>
                  <a:lnTo>
                    <a:pt x="52" y="77"/>
                  </a:lnTo>
                  <a:lnTo>
                    <a:pt x="52" y="76"/>
                  </a:lnTo>
                  <a:lnTo>
                    <a:pt x="54" y="76"/>
                  </a:lnTo>
                  <a:lnTo>
                    <a:pt x="54" y="74"/>
                  </a:lnTo>
                  <a:lnTo>
                    <a:pt x="54" y="74"/>
                  </a:lnTo>
                  <a:lnTo>
                    <a:pt x="55" y="74"/>
                  </a:lnTo>
                  <a:lnTo>
                    <a:pt x="57" y="74"/>
                  </a:lnTo>
                  <a:lnTo>
                    <a:pt x="59" y="74"/>
                  </a:lnTo>
                  <a:lnTo>
                    <a:pt x="62" y="74"/>
                  </a:lnTo>
                  <a:lnTo>
                    <a:pt x="64" y="72"/>
                  </a:lnTo>
                  <a:lnTo>
                    <a:pt x="66" y="72"/>
                  </a:lnTo>
                  <a:lnTo>
                    <a:pt x="68" y="72"/>
                  </a:lnTo>
                  <a:lnTo>
                    <a:pt x="69" y="70"/>
                  </a:lnTo>
                  <a:lnTo>
                    <a:pt x="69" y="70"/>
                  </a:lnTo>
                  <a:lnTo>
                    <a:pt x="74" y="70"/>
                  </a:lnTo>
                  <a:lnTo>
                    <a:pt x="78" y="69"/>
                  </a:lnTo>
                  <a:lnTo>
                    <a:pt x="81" y="65"/>
                  </a:lnTo>
                  <a:lnTo>
                    <a:pt x="83" y="65"/>
                  </a:lnTo>
                  <a:lnTo>
                    <a:pt x="85" y="64"/>
                  </a:lnTo>
                  <a:lnTo>
                    <a:pt x="85" y="65"/>
                  </a:lnTo>
                  <a:lnTo>
                    <a:pt x="85" y="65"/>
                  </a:lnTo>
                  <a:lnTo>
                    <a:pt x="86" y="67"/>
                  </a:lnTo>
                  <a:lnTo>
                    <a:pt x="90" y="70"/>
                  </a:lnTo>
                  <a:lnTo>
                    <a:pt x="92" y="74"/>
                  </a:lnTo>
                  <a:lnTo>
                    <a:pt x="93" y="74"/>
                  </a:lnTo>
                  <a:lnTo>
                    <a:pt x="93" y="74"/>
                  </a:lnTo>
                  <a:lnTo>
                    <a:pt x="93" y="77"/>
                  </a:lnTo>
                  <a:lnTo>
                    <a:pt x="93" y="79"/>
                  </a:lnTo>
                  <a:lnTo>
                    <a:pt x="93" y="81"/>
                  </a:lnTo>
                  <a:lnTo>
                    <a:pt x="93" y="82"/>
                  </a:lnTo>
                  <a:lnTo>
                    <a:pt x="92" y="84"/>
                  </a:lnTo>
                  <a:lnTo>
                    <a:pt x="90" y="86"/>
                  </a:lnTo>
                  <a:lnTo>
                    <a:pt x="88" y="88"/>
                  </a:lnTo>
                  <a:lnTo>
                    <a:pt x="88" y="88"/>
                  </a:lnTo>
                  <a:lnTo>
                    <a:pt x="85" y="89"/>
                  </a:lnTo>
                  <a:lnTo>
                    <a:pt x="85" y="91"/>
                  </a:lnTo>
                  <a:lnTo>
                    <a:pt x="83" y="91"/>
                  </a:lnTo>
                  <a:lnTo>
                    <a:pt x="81" y="93"/>
                  </a:lnTo>
                  <a:lnTo>
                    <a:pt x="78" y="100"/>
                  </a:lnTo>
                  <a:lnTo>
                    <a:pt x="78" y="103"/>
                  </a:lnTo>
                  <a:lnTo>
                    <a:pt x="78" y="103"/>
                  </a:lnTo>
                  <a:lnTo>
                    <a:pt x="78" y="105"/>
                  </a:lnTo>
                  <a:lnTo>
                    <a:pt x="80" y="108"/>
                  </a:lnTo>
                  <a:lnTo>
                    <a:pt x="83" y="112"/>
                  </a:lnTo>
                  <a:lnTo>
                    <a:pt x="85" y="113"/>
                  </a:lnTo>
                  <a:lnTo>
                    <a:pt x="88" y="113"/>
                  </a:lnTo>
                  <a:lnTo>
                    <a:pt x="90" y="113"/>
                  </a:lnTo>
                  <a:lnTo>
                    <a:pt x="93" y="113"/>
                  </a:lnTo>
                  <a:lnTo>
                    <a:pt x="95" y="112"/>
                  </a:lnTo>
                  <a:lnTo>
                    <a:pt x="98" y="108"/>
                  </a:lnTo>
                  <a:lnTo>
                    <a:pt x="98" y="107"/>
                  </a:lnTo>
                  <a:lnTo>
                    <a:pt x="100" y="107"/>
                  </a:lnTo>
                  <a:lnTo>
                    <a:pt x="100" y="105"/>
                  </a:lnTo>
                  <a:lnTo>
                    <a:pt x="100" y="103"/>
                  </a:lnTo>
                  <a:lnTo>
                    <a:pt x="100" y="101"/>
                  </a:lnTo>
                  <a:lnTo>
                    <a:pt x="102" y="96"/>
                  </a:lnTo>
                  <a:lnTo>
                    <a:pt x="102" y="94"/>
                  </a:lnTo>
                  <a:lnTo>
                    <a:pt x="104" y="91"/>
                  </a:lnTo>
                  <a:lnTo>
                    <a:pt x="104" y="89"/>
                  </a:lnTo>
                  <a:lnTo>
                    <a:pt x="105" y="88"/>
                  </a:lnTo>
                  <a:lnTo>
                    <a:pt x="105" y="88"/>
                  </a:lnTo>
                  <a:lnTo>
                    <a:pt x="105" y="86"/>
                  </a:lnTo>
                  <a:lnTo>
                    <a:pt x="107" y="86"/>
                  </a:lnTo>
                  <a:lnTo>
                    <a:pt x="109" y="84"/>
                  </a:lnTo>
                  <a:lnTo>
                    <a:pt x="112" y="82"/>
                  </a:lnTo>
                  <a:lnTo>
                    <a:pt x="114" y="81"/>
                  </a:lnTo>
                  <a:lnTo>
                    <a:pt x="114" y="82"/>
                  </a:lnTo>
                  <a:lnTo>
                    <a:pt x="117" y="82"/>
                  </a:lnTo>
                  <a:lnTo>
                    <a:pt x="119" y="82"/>
                  </a:lnTo>
                  <a:lnTo>
                    <a:pt x="121" y="82"/>
                  </a:lnTo>
                  <a:lnTo>
                    <a:pt x="126" y="82"/>
                  </a:lnTo>
                  <a:lnTo>
                    <a:pt x="128" y="82"/>
                  </a:lnTo>
                  <a:lnTo>
                    <a:pt x="129" y="82"/>
                  </a:lnTo>
                  <a:lnTo>
                    <a:pt x="133" y="79"/>
                  </a:lnTo>
                  <a:lnTo>
                    <a:pt x="136" y="76"/>
                  </a:lnTo>
                  <a:lnTo>
                    <a:pt x="138" y="74"/>
                  </a:lnTo>
                  <a:lnTo>
                    <a:pt x="145" y="67"/>
                  </a:lnTo>
                  <a:lnTo>
                    <a:pt x="145" y="65"/>
                  </a:lnTo>
                  <a:lnTo>
                    <a:pt x="147" y="65"/>
                  </a:lnTo>
                  <a:lnTo>
                    <a:pt x="150" y="64"/>
                  </a:lnTo>
                  <a:lnTo>
                    <a:pt x="154" y="62"/>
                  </a:lnTo>
                  <a:lnTo>
                    <a:pt x="159" y="60"/>
                  </a:lnTo>
                  <a:lnTo>
                    <a:pt x="160" y="58"/>
                  </a:lnTo>
                  <a:lnTo>
                    <a:pt x="162" y="58"/>
                  </a:lnTo>
                  <a:lnTo>
                    <a:pt x="164" y="58"/>
                  </a:lnTo>
                  <a:lnTo>
                    <a:pt x="166" y="58"/>
                  </a:lnTo>
                  <a:lnTo>
                    <a:pt x="169" y="58"/>
                  </a:lnTo>
                  <a:lnTo>
                    <a:pt x="172" y="58"/>
                  </a:lnTo>
                  <a:lnTo>
                    <a:pt x="174" y="58"/>
                  </a:lnTo>
                  <a:lnTo>
                    <a:pt x="176" y="58"/>
                  </a:lnTo>
                  <a:lnTo>
                    <a:pt x="179" y="58"/>
                  </a:lnTo>
                  <a:lnTo>
                    <a:pt x="181" y="60"/>
                  </a:lnTo>
                  <a:lnTo>
                    <a:pt x="186" y="62"/>
                  </a:lnTo>
                  <a:lnTo>
                    <a:pt x="190" y="65"/>
                  </a:lnTo>
                  <a:lnTo>
                    <a:pt x="191" y="67"/>
                  </a:lnTo>
                  <a:lnTo>
                    <a:pt x="193" y="69"/>
                  </a:lnTo>
                  <a:lnTo>
                    <a:pt x="197" y="70"/>
                  </a:lnTo>
                  <a:lnTo>
                    <a:pt x="200" y="70"/>
                  </a:lnTo>
                  <a:lnTo>
                    <a:pt x="202" y="70"/>
                  </a:lnTo>
                  <a:lnTo>
                    <a:pt x="203" y="70"/>
                  </a:lnTo>
                  <a:lnTo>
                    <a:pt x="205" y="69"/>
                  </a:lnTo>
                  <a:lnTo>
                    <a:pt x="209" y="67"/>
                  </a:lnTo>
                  <a:lnTo>
                    <a:pt x="212" y="67"/>
                  </a:lnTo>
                  <a:lnTo>
                    <a:pt x="214" y="65"/>
                  </a:lnTo>
                  <a:lnTo>
                    <a:pt x="215" y="65"/>
                  </a:lnTo>
                  <a:lnTo>
                    <a:pt x="221" y="64"/>
                  </a:lnTo>
                  <a:lnTo>
                    <a:pt x="221" y="64"/>
                  </a:lnTo>
                  <a:lnTo>
                    <a:pt x="222" y="64"/>
                  </a:lnTo>
                  <a:lnTo>
                    <a:pt x="224" y="64"/>
                  </a:lnTo>
                  <a:lnTo>
                    <a:pt x="227" y="64"/>
                  </a:lnTo>
                  <a:lnTo>
                    <a:pt x="229" y="64"/>
                  </a:lnTo>
                  <a:lnTo>
                    <a:pt x="231" y="64"/>
                  </a:lnTo>
                  <a:lnTo>
                    <a:pt x="234" y="64"/>
                  </a:lnTo>
                  <a:lnTo>
                    <a:pt x="234" y="65"/>
                  </a:lnTo>
                  <a:lnTo>
                    <a:pt x="236" y="65"/>
                  </a:lnTo>
                  <a:lnTo>
                    <a:pt x="238" y="65"/>
                  </a:lnTo>
                  <a:lnTo>
                    <a:pt x="240" y="65"/>
                  </a:lnTo>
                  <a:lnTo>
                    <a:pt x="241" y="65"/>
                  </a:lnTo>
                  <a:lnTo>
                    <a:pt x="243" y="65"/>
                  </a:lnTo>
                  <a:lnTo>
                    <a:pt x="246" y="65"/>
                  </a:lnTo>
                  <a:lnTo>
                    <a:pt x="248" y="65"/>
                  </a:lnTo>
                  <a:lnTo>
                    <a:pt x="250" y="64"/>
                  </a:lnTo>
                  <a:lnTo>
                    <a:pt x="250" y="64"/>
                  </a:lnTo>
                  <a:lnTo>
                    <a:pt x="250" y="62"/>
                  </a:lnTo>
                  <a:lnTo>
                    <a:pt x="252" y="62"/>
                  </a:lnTo>
                  <a:lnTo>
                    <a:pt x="252" y="60"/>
                  </a:lnTo>
                  <a:lnTo>
                    <a:pt x="253" y="58"/>
                  </a:lnTo>
                  <a:lnTo>
                    <a:pt x="253" y="58"/>
                  </a:lnTo>
                  <a:lnTo>
                    <a:pt x="255" y="57"/>
                  </a:lnTo>
                  <a:lnTo>
                    <a:pt x="255" y="55"/>
                  </a:lnTo>
                  <a:lnTo>
                    <a:pt x="255" y="53"/>
                  </a:lnTo>
                  <a:lnTo>
                    <a:pt x="257" y="51"/>
                  </a:lnTo>
                  <a:lnTo>
                    <a:pt x="258" y="50"/>
                  </a:lnTo>
                  <a:lnTo>
                    <a:pt x="258" y="48"/>
                  </a:lnTo>
                  <a:lnTo>
                    <a:pt x="260" y="48"/>
                  </a:lnTo>
                  <a:lnTo>
                    <a:pt x="262" y="46"/>
                  </a:lnTo>
                  <a:lnTo>
                    <a:pt x="264" y="45"/>
                  </a:lnTo>
                  <a:lnTo>
                    <a:pt x="265" y="45"/>
                  </a:lnTo>
                  <a:lnTo>
                    <a:pt x="265" y="45"/>
                  </a:lnTo>
                  <a:lnTo>
                    <a:pt x="267" y="43"/>
                  </a:lnTo>
                  <a:lnTo>
                    <a:pt x="269" y="43"/>
                  </a:lnTo>
                  <a:lnTo>
                    <a:pt x="270" y="43"/>
                  </a:lnTo>
                  <a:lnTo>
                    <a:pt x="272" y="43"/>
                  </a:lnTo>
                  <a:lnTo>
                    <a:pt x="274" y="43"/>
                  </a:lnTo>
                  <a:lnTo>
                    <a:pt x="274" y="43"/>
                  </a:lnTo>
                  <a:lnTo>
                    <a:pt x="276" y="41"/>
                  </a:lnTo>
                  <a:lnTo>
                    <a:pt x="277" y="41"/>
                  </a:lnTo>
                  <a:lnTo>
                    <a:pt x="277" y="39"/>
                  </a:lnTo>
                  <a:lnTo>
                    <a:pt x="277" y="38"/>
                  </a:lnTo>
                  <a:lnTo>
                    <a:pt x="276" y="38"/>
                  </a:lnTo>
                  <a:lnTo>
                    <a:pt x="276" y="36"/>
                  </a:lnTo>
                  <a:lnTo>
                    <a:pt x="277" y="36"/>
                  </a:lnTo>
                  <a:lnTo>
                    <a:pt x="277" y="34"/>
                  </a:lnTo>
                  <a:lnTo>
                    <a:pt x="279" y="34"/>
                  </a:lnTo>
                  <a:lnTo>
                    <a:pt x="281" y="34"/>
                  </a:lnTo>
                  <a:lnTo>
                    <a:pt x="281" y="34"/>
                  </a:lnTo>
                  <a:lnTo>
                    <a:pt x="281" y="36"/>
                  </a:lnTo>
                  <a:lnTo>
                    <a:pt x="283" y="36"/>
                  </a:lnTo>
                  <a:lnTo>
                    <a:pt x="284" y="34"/>
                  </a:lnTo>
                  <a:lnTo>
                    <a:pt x="286" y="34"/>
                  </a:lnTo>
                  <a:lnTo>
                    <a:pt x="288" y="34"/>
                  </a:lnTo>
                  <a:lnTo>
                    <a:pt x="289" y="34"/>
                  </a:lnTo>
                  <a:lnTo>
                    <a:pt x="289" y="36"/>
                  </a:lnTo>
                  <a:lnTo>
                    <a:pt x="291" y="36"/>
                  </a:lnTo>
                  <a:lnTo>
                    <a:pt x="293" y="38"/>
                  </a:lnTo>
                  <a:lnTo>
                    <a:pt x="295" y="38"/>
                  </a:lnTo>
                  <a:lnTo>
                    <a:pt x="295" y="38"/>
                  </a:lnTo>
                  <a:lnTo>
                    <a:pt x="301" y="38"/>
                  </a:lnTo>
                  <a:lnTo>
                    <a:pt x="303" y="39"/>
                  </a:lnTo>
                  <a:lnTo>
                    <a:pt x="305" y="39"/>
                  </a:lnTo>
                  <a:lnTo>
                    <a:pt x="307" y="39"/>
                  </a:lnTo>
                  <a:lnTo>
                    <a:pt x="308" y="39"/>
                  </a:lnTo>
                  <a:lnTo>
                    <a:pt x="310" y="39"/>
                  </a:lnTo>
                  <a:lnTo>
                    <a:pt x="310" y="39"/>
                  </a:lnTo>
                  <a:lnTo>
                    <a:pt x="312" y="39"/>
                  </a:lnTo>
                  <a:lnTo>
                    <a:pt x="313" y="39"/>
                  </a:lnTo>
                  <a:lnTo>
                    <a:pt x="315" y="39"/>
                  </a:lnTo>
                  <a:lnTo>
                    <a:pt x="319" y="41"/>
                  </a:lnTo>
                  <a:lnTo>
                    <a:pt x="320" y="41"/>
                  </a:lnTo>
                  <a:lnTo>
                    <a:pt x="320" y="43"/>
                  </a:lnTo>
                  <a:lnTo>
                    <a:pt x="322" y="43"/>
                  </a:lnTo>
                  <a:lnTo>
                    <a:pt x="324" y="43"/>
                  </a:lnTo>
                  <a:lnTo>
                    <a:pt x="326" y="45"/>
                  </a:lnTo>
                  <a:lnTo>
                    <a:pt x="326" y="46"/>
                  </a:lnTo>
                  <a:lnTo>
                    <a:pt x="329" y="50"/>
                  </a:lnTo>
                  <a:lnTo>
                    <a:pt x="329" y="53"/>
                  </a:lnTo>
                  <a:lnTo>
                    <a:pt x="331" y="55"/>
                  </a:lnTo>
                  <a:lnTo>
                    <a:pt x="332" y="57"/>
                  </a:lnTo>
                  <a:lnTo>
                    <a:pt x="334" y="57"/>
                  </a:lnTo>
                  <a:lnTo>
                    <a:pt x="334" y="58"/>
                  </a:lnTo>
                  <a:lnTo>
                    <a:pt x="336" y="58"/>
                  </a:lnTo>
                  <a:lnTo>
                    <a:pt x="339" y="58"/>
                  </a:lnTo>
                  <a:lnTo>
                    <a:pt x="343" y="58"/>
                  </a:lnTo>
                  <a:lnTo>
                    <a:pt x="348" y="58"/>
                  </a:lnTo>
                  <a:lnTo>
                    <a:pt x="353" y="58"/>
                  </a:lnTo>
                  <a:lnTo>
                    <a:pt x="353" y="60"/>
                  </a:lnTo>
                  <a:lnTo>
                    <a:pt x="360" y="58"/>
                  </a:lnTo>
                  <a:lnTo>
                    <a:pt x="363" y="58"/>
                  </a:lnTo>
                  <a:lnTo>
                    <a:pt x="367" y="58"/>
                  </a:lnTo>
                  <a:lnTo>
                    <a:pt x="370" y="58"/>
                  </a:lnTo>
                  <a:lnTo>
                    <a:pt x="370" y="57"/>
                  </a:lnTo>
                  <a:lnTo>
                    <a:pt x="374" y="53"/>
                  </a:lnTo>
                  <a:lnTo>
                    <a:pt x="375" y="51"/>
                  </a:lnTo>
                  <a:lnTo>
                    <a:pt x="377" y="50"/>
                  </a:lnTo>
                  <a:lnTo>
                    <a:pt x="377" y="46"/>
                  </a:lnTo>
                  <a:lnTo>
                    <a:pt x="377" y="45"/>
                  </a:lnTo>
                  <a:lnTo>
                    <a:pt x="377" y="43"/>
                  </a:lnTo>
                  <a:lnTo>
                    <a:pt x="375" y="36"/>
                  </a:lnTo>
                  <a:lnTo>
                    <a:pt x="374" y="33"/>
                  </a:lnTo>
                  <a:lnTo>
                    <a:pt x="374" y="31"/>
                  </a:lnTo>
                  <a:lnTo>
                    <a:pt x="374" y="27"/>
                  </a:lnTo>
                  <a:lnTo>
                    <a:pt x="372" y="27"/>
                  </a:lnTo>
                  <a:lnTo>
                    <a:pt x="372" y="26"/>
                  </a:lnTo>
                  <a:lnTo>
                    <a:pt x="372" y="24"/>
                  </a:lnTo>
                  <a:lnTo>
                    <a:pt x="372" y="22"/>
                  </a:lnTo>
                  <a:lnTo>
                    <a:pt x="372" y="19"/>
                  </a:lnTo>
                  <a:lnTo>
                    <a:pt x="372" y="17"/>
                  </a:lnTo>
                  <a:lnTo>
                    <a:pt x="372" y="15"/>
                  </a:lnTo>
                  <a:lnTo>
                    <a:pt x="372" y="12"/>
                  </a:lnTo>
                  <a:lnTo>
                    <a:pt x="374" y="12"/>
                  </a:lnTo>
                  <a:lnTo>
                    <a:pt x="374" y="10"/>
                  </a:lnTo>
                  <a:lnTo>
                    <a:pt x="374" y="8"/>
                  </a:lnTo>
                  <a:lnTo>
                    <a:pt x="375" y="7"/>
                  </a:lnTo>
                  <a:lnTo>
                    <a:pt x="377" y="5"/>
                  </a:lnTo>
                  <a:lnTo>
                    <a:pt x="379" y="3"/>
                  </a:lnTo>
                  <a:lnTo>
                    <a:pt x="381" y="2"/>
                  </a:lnTo>
                  <a:lnTo>
                    <a:pt x="382" y="0"/>
                  </a:lnTo>
                  <a:lnTo>
                    <a:pt x="384"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5" name="Freeform 174"/>
            <p:cNvSpPr>
              <a:spLocks/>
            </p:cNvSpPr>
            <p:nvPr/>
          </p:nvSpPr>
          <p:spPr bwMode="auto">
            <a:xfrm>
              <a:off x="5542846" y="2547731"/>
              <a:ext cx="436563" cy="735013"/>
            </a:xfrm>
            <a:custGeom>
              <a:avLst/>
              <a:gdLst/>
              <a:ahLst/>
              <a:cxnLst>
                <a:cxn ang="0">
                  <a:pos x="106" y="0"/>
                </a:cxn>
                <a:cxn ang="0">
                  <a:pos x="137" y="0"/>
                </a:cxn>
                <a:cxn ang="0">
                  <a:pos x="185" y="2"/>
                </a:cxn>
                <a:cxn ang="0">
                  <a:pos x="209" y="4"/>
                </a:cxn>
                <a:cxn ang="0">
                  <a:pos x="247" y="4"/>
                </a:cxn>
                <a:cxn ang="0">
                  <a:pos x="275" y="23"/>
                </a:cxn>
                <a:cxn ang="0">
                  <a:pos x="275" y="57"/>
                </a:cxn>
                <a:cxn ang="0">
                  <a:pos x="275" y="81"/>
                </a:cxn>
                <a:cxn ang="0">
                  <a:pos x="273" y="131"/>
                </a:cxn>
                <a:cxn ang="0">
                  <a:pos x="261" y="145"/>
                </a:cxn>
                <a:cxn ang="0">
                  <a:pos x="259" y="171"/>
                </a:cxn>
                <a:cxn ang="0">
                  <a:pos x="258" y="190"/>
                </a:cxn>
                <a:cxn ang="0">
                  <a:pos x="254" y="205"/>
                </a:cxn>
                <a:cxn ang="0">
                  <a:pos x="249" y="231"/>
                </a:cxn>
                <a:cxn ang="0">
                  <a:pos x="244" y="248"/>
                </a:cxn>
                <a:cxn ang="0">
                  <a:pos x="240" y="267"/>
                </a:cxn>
                <a:cxn ang="0">
                  <a:pos x="247" y="277"/>
                </a:cxn>
                <a:cxn ang="0">
                  <a:pos x="246" y="288"/>
                </a:cxn>
                <a:cxn ang="0">
                  <a:pos x="251" y="293"/>
                </a:cxn>
                <a:cxn ang="0">
                  <a:pos x="251" y="303"/>
                </a:cxn>
                <a:cxn ang="0">
                  <a:pos x="258" y="308"/>
                </a:cxn>
                <a:cxn ang="0">
                  <a:pos x="254" y="319"/>
                </a:cxn>
                <a:cxn ang="0">
                  <a:pos x="256" y="327"/>
                </a:cxn>
                <a:cxn ang="0">
                  <a:pos x="259" y="332"/>
                </a:cxn>
                <a:cxn ang="0">
                  <a:pos x="251" y="339"/>
                </a:cxn>
                <a:cxn ang="0">
                  <a:pos x="251" y="344"/>
                </a:cxn>
                <a:cxn ang="0">
                  <a:pos x="249" y="348"/>
                </a:cxn>
                <a:cxn ang="0">
                  <a:pos x="242" y="356"/>
                </a:cxn>
                <a:cxn ang="0">
                  <a:pos x="244" y="367"/>
                </a:cxn>
                <a:cxn ang="0">
                  <a:pos x="237" y="377"/>
                </a:cxn>
                <a:cxn ang="0">
                  <a:pos x="230" y="386"/>
                </a:cxn>
                <a:cxn ang="0">
                  <a:pos x="225" y="394"/>
                </a:cxn>
                <a:cxn ang="0">
                  <a:pos x="223" y="403"/>
                </a:cxn>
                <a:cxn ang="0">
                  <a:pos x="211" y="411"/>
                </a:cxn>
                <a:cxn ang="0">
                  <a:pos x="208" y="422"/>
                </a:cxn>
                <a:cxn ang="0">
                  <a:pos x="211" y="453"/>
                </a:cxn>
                <a:cxn ang="0">
                  <a:pos x="196" y="463"/>
                </a:cxn>
                <a:cxn ang="0">
                  <a:pos x="168" y="448"/>
                </a:cxn>
                <a:cxn ang="0">
                  <a:pos x="135" y="441"/>
                </a:cxn>
                <a:cxn ang="0">
                  <a:pos x="135" y="408"/>
                </a:cxn>
                <a:cxn ang="0">
                  <a:pos x="111" y="394"/>
                </a:cxn>
                <a:cxn ang="0">
                  <a:pos x="99" y="386"/>
                </a:cxn>
                <a:cxn ang="0">
                  <a:pos x="99" y="363"/>
                </a:cxn>
                <a:cxn ang="0">
                  <a:pos x="113" y="341"/>
                </a:cxn>
                <a:cxn ang="0">
                  <a:pos x="94" y="329"/>
                </a:cxn>
                <a:cxn ang="0">
                  <a:pos x="77" y="322"/>
                </a:cxn>
                <a:cxn ang="0">
                  <a:pos x="70" y="303"/>
                </a:cxn>
                <a:cxn ang="0">
                  <a:pos x="53" y="284"/>
                </a:cxn>
                <a:cxn ang="0">
                  <a:pos x="51" y="260"/>
                </a:cxn>
                <a:cxn ang="0">
                  <a:pos x="32" y="239"/>
                </a:cxn>
                <a:cxn ang="0">
                  <a:pos x="15" y="224"/>
                </a:cxn>
                <a:cxn ang="0">
                  <a:pos x="1" y="208"/>
                </a:cxn>
                <a:cxn ang="0">
                  <a:pos x="6" y="202"/>
                </a:cxn>
                <a:cxn ang="0">
                  <a:pos x="3" y="195"/>
                </a:cxn>
                <a:cxn ang="0">
                  <a:pos x="15" y="164"/>
                </a:cxn>
                <a:cxn ang="0">
                  <a:pos x="34" y="116"/>
                </a:cxn>
                <a:cxn ang="0">
                  <a:pos x="53" y="71"/>
                </a:cxn>
                <a:cxn ang="0">
                  <a:pos x="65" y="40"/>
                </a:cxn>
                <a:cxn ang="0">
                  <a:pos x="75" y="14"/>
                </a:cxn>
              </a:cxnLst>
              <a:rect l="0" t="0" r="r" b="b"/>
              <a:pathLst>
                <a:path w="275" h="463">
                  <a:moveTo>
                    <a:pt x="80" y="0"/>
                  </a:moveTo>
                  <a:lnTo>
                    <a:pt x="84" y="0"/>
                  </a:lnTo>
                  <a:lnTo>
                    <a:pt x="89" y="0"/>
                  </a:lnTo>
                  <a:lnTo>
                    <a:pt x="91" y="0"/>
                  </a:lnTo>
                  <a:lnTo>
                    <a:pt x="92" y="0"/>
                  </a:lnTo>
                  <a:lnTo>
                    <a:pt x="96" y="0"/>
                  </a:lnTo>
                  <a:lnTo>
                    <a:pt x="98" y="0"/>
                  </a:lnTo>
                  <a:lnTo>
                    <a:pt x="101" y="0"/>
                  </a:lnTo>
                  <a:lnTo>
                    <a:pt x="103" y="0"/>
                  </a:lnTo>
                  <a:lnTo>
                    <a:pt x="104" y="0"/>
                  </a:lnTo>
                  <a:lnTo>
                    <a:pt x="106" y="0"/>
                  </a:lnTo>
                  <a:lnTo>
                    <a:pt x="108" y="0"/>
                  </a:lnTo>
                  <a:lnTo>
                    <a:pt x="111" y="0"/>
                  </a:lnTo>
                  <a:lnTo>
                    <a:pt x="113" y="0"/>
                  </a:lnTo>
                  <a:lnTo>
                    <a:pt x="115" y="0"/>
                  </a:lnTo>
                  <a:lnTo>
                    <a:pt x="117" y="0"/>
                  </a:lnTo>
                  <a:lnTo>
                    <a:pt x="118" y="0"/>
                  </a:lnTo>
                  <a:lnTo>
                    <a:pt x="120" y="0"/>
                  </a:lnTo>
                  <a:lnTo>
                    <a:pt x="129" y="0"/>
                  </a:lnTo>
                  <a:lnTo>
                    <a:pt x="134" y="0"/>
                  </a:lnTo>
                  <a:lnTo>
                    <a:pt x="135" y="0"/>
                  </a:lnTo>
                  <a:lnTo>
                    <a:pt x="137" y="0"/>
                  </a:lnTo>
                  <a:lnTo>
                    <a:pt x="144" y="0"/>
                  </a:lnTo>
                  <a:lnTo>
                    <a:pt x="146" y="0"/>
                  </a:lnTo>
                  <a:lnTo>
                    <a:pt x="151" y="0"/>
                  </a:lnTo>
                  <a:lnTo>
                    <a:pt x="156" y="0"/>
                  </a:lnTo>
                  <a:lnTo>
                    <a:pt x="158" y="0"/>
                  </a:lnTo>
                  <a:lnTo>
                    <a:pt x="160" y="2"/>
                  </a:lnTo>
                  <a:lnTo>
                    <a:pt x="163" y="2"/>
                  </a:lnTo>
                  <a:lnTo>
                    <a:pt x="166" y="2"/>
                  </a:lnTo>
                  <a:lnTo>
                    <a:pt x="173" y="2"/>
                  </a:lnTo>
                  <a:lnTo>
                    <a:pt x="175" y="2"/>
                  </a:lnTo>
                  <a:lnTo>
                    <a:pt x="185" y="2"/>
                  </a:lnTo>
                  <a:lnTo>
                    <a:pt x="189" y="2"/>
                  </a:lnTo>
                  <a:lnTo>
                    <a:pt x="194" y="2"/>
                  </a:lnTo>
                  <a:lnTo>
                    <a:pt x="196" y="2"/>
                  </a:lnTo>
                  <a:lnTo>
                    <a:pt x="197" y="2"/>
                  </a:lnTo>
                  <a:lnTo>
                    <a:pt x="197" y="2"/>
                  </a:lnTo>
                  <a:lnTo>
                    <a:pt x="199" y="4"/>
                  </a:lnTo>
                  <a:lnTo>
                    <a:pt x="201" y="4"/>
                  </a:lnTo>
                  <a:lnTo>
                    <a:pt x="203" y="4"/>
                  </a:lnTo>
                  <a:lnTo>
                    <a:pt x="204" y="4"/>
                  </a:lnTo>
                  <a:lnTo>
                    <a:pt x="206" y="4"/>
                  </a:lnTo>
                  <a:lnTo>
                    <a:pt x="209" y="4"/>
                  </a:lnTo>
                  <a:lnTo>
                    <a:pt x="211" y="4"/>
                  </a:lnTo>
                  <a:lnTo>
                    <a:pt x="211" y="4"/>
                  </a:lnTo>
                  <a:lnTo>
                    <a:pt x="213" y="4"/>
                  </a:lnTo>
                  <a:lnTo>
                    <a:pt x="215" y="4"/>
                  </a:lnTo>
                  <a:lnTo>
                    <a:pt x="216" y="4"/>
                  </a:lnTo>
                  <a:lnTo>
                    <a:pt x="220" y="4"/>
                  </a:lnTo>
                  <a:lnTo>
                    <a:pt x="227" y="4"/>
                  </a:lnTo>
                  <a:lnTo>
                    <a:pt x="230" y="4"/>
                  </a:lnTo>
                  <a:lnTo>
                    <a:pt x="237" y="4"/>
                  </a:lnTo>
                  <a:lnTo>
                    <a:pt x="242" y="4"/>
                  </a:lnTo>
                  <a:lnTo>
                    <a:pt x="247" y="4"/>
                  </a:lnTo>
                  <a:lnTo>
                    <a:pt x="252" y="5"/>
                  </a:lnTo>
                  <a:lnTo>
                    <a:pt x="254" y="5"/>
                  </a:lnTo>
                  <a:lnTo>
                    <a:pt x="258" y="5"/>
                  </a:lnTo>
                  <a:lnTo>
                    <a:pt x="258" y="5"/>
                  </a:lnTo>
                  <a:lnTo>
                    <a:pt x="259" y="5"/>
                  </a:lnTo>
                  <a:lnTo>
                    <a:pt x="263" y="5"/>
                  </a:lnTo>
                  <a:lnTo>
                    <a:pt x="266" y="5"/>
                  </a:lnTo>
                  <a:lnTo>
                    <a:pt x="275" y="5"/>
                  </a:lnTo>
                  <a:lnTo>
                    <a:pt x="275" y="9"/>
                  </a:lnTo>
                  <a:lnTo>
                    <a:pt x="275" y="16"/>
                  </a:lnTo>
                  <a:lnTo>
                    <a:pt x="275" y="23"/>
                  </a:lnTo>
                  <a:lnTo>
                    <a:pt x="275" y="24"/>
                  </a:lnTo>
                  <a:lnTo>
                    <a:pt x="275" y="30"/>
                  </a:lnTo>
                  <a:lnTo>
                    <a:pt x="275" y="36"/>
                  </a:lnTo>
                  <a:lnTo>
                    <a:pt x="275" y="40"/>
                  </a:lnTo>
                  <a:lnTo>
                    <a:pt x="275" y="40"/>
                  </a:lnTo>
                  <a:lnTo>
                    <a:pt x="275" y="43"/>
                  </a:lnTo>
                  <a:lnTo>
                    <a:pt x="275" y="47"/>
                  </a:lnTo>
                  <a:lnTo>
                    <a:pt x="275" y="50"/>
                  </a:lnTo>
                  <a:lnTo>
                    <a:pt x="275" y="54"/>
                  </a:lnTo>
                  <a:lnTo>
                    <a:pt x="275" y="55"/>
                  </a:lnTo>
                  <a:lnTo>
                    <a:pt x="275" y="57"/>
                  </a:lnTo>
                  <a:lnTo>
                    <a:pt x="275" y="59"/>
                  </a:lnTo>
                  <a:lnTo>
                    <a:pt x="275" y="60"/>
                  </a:lnTo>
                  <a:lnTo>
                    <a:pt x="275" y="64"/>
                  </a:lnTo>
                  <a:lnTo>
                    <a:pt x="275" y="67"/>
                  </a:lnTo>
                  <a:lnTo>
                    <a:pt x="275" y="69"/>
                  </a:lnTo>
                  <a:lnTo>
                    <a:pt x="275" y="69"/>
                  </a:lnTo>
                  <a:lnTo>
                    <a:pt x="275" y="71"/>
                  </a:lnTo>
                  <a:lnTo>
                    <a:pt x="275" y="73"/>
                  </a:lnTo>
                  <a:lnTo>
                    <a:pt x="275" y="74"/>
                  </a:lnTo>
                  <a:lnTo>
                    <a:pt x="275" y="78"/>
                  </a:lnTo>
                  <a:lnTo>
                    <a:pt x="275" y="81"/>
                  </a:lnTo>
                  <a:lnTo>
                    <a:pt x="273" y="88"/>
                  </a:lnTo>
                  <a:lnTo>
                    <a:pt x="273" y="90"/>
                  </a:lnTo>
                  <a:lnTo>
                    <a:pt x="273" y="91"/>
                  </a:lnTo>
                  <a:lnTo>
                    <a:pt x="273" y="93"/>
                  </a:lnTo>
                  <a:lnTo>
                    <a:pt x="273" y="98"/>
                  </a:lnTo>
                  <a:lnTo>
                    <a:pt x="273" y="104"/>
                  </a:lnTo>
                  <a:lnTo>
                    <a:pt x="273" y="109"/>
                  </a:lnTo>
                  <a:lnTo>
                    <a:pt x="273" y="117"/>
                  </a:lnTo>
                  <a:lnTo>
                    <a:pt x="273" y="122"/>
                  </a:lnTo>
                  <a:lnTo>
                    <a:pt x="273" y="126"/>
                  </a:lnTo>
                  <a:lnTo>
                    <a:pt x="273" y="131"/>
                  </a:lnTo>
                  <a:lnTo>
                    <a:pt x="273" y="134"/>
                  </a:lnTo>
                  <a:lnTo>
                    <a:pt x="273" y="136"/>
                  </a:lnTo>
                  <a:lnTo>
                    <a:pt x="273" y="140"/>
                  </a:lnTo>
                  <a:lnTo>
                    <a:pt x="271" y="140"/>
                  </a:lnTo>
                  <a:lnTo>
                    <a:pt x="271" y="140"/>
                  </a:lnTo>
                  <a:lnTo>
                    <a:pt x="266" y="140"/>
                  </a:lnTo>
                  <a:lnTo>
                    <a:pt x="264" y="140"/>
                  </a:lnTo>
                  <a:lnTo>
                    <a:pt x="261" y="140"/>
                  </a:lnTo>
                  <a:lnTo>
                    <a:pt x="261" y="141"/>
                  </a:lnTo>
                  <a:lnTo>
                    <a:pt x="259" y="145"/>
                  </a:lnTo>
                  <a:lnTo>
                    <a:pt x="261" y="145"/>
                  </a:lnTo>
                  <a:lnTo>
                    <a:pt x="261" y="147"/>
                  </a:lnTo>
                  <a:lnTo>
                    <a:pt x="261" y="150"/>
                  </a:lnTo>
                  <a:lnTo>
                    <a:pt x="261" y="153"/>
                  </a:lnTo>
                  <a:lnTo>
                    <a:pt x="259" y="157"/>
                  </a:lnTo>
                  <a:lnTo>
                    <a:pt x="259" y="160"/>
                  </a:lnTo>
                  <a:lnTo>
                    <a:pt x="259" y="160"/>
                  </a:lnTo>
                  <a:lnTo>
                    <a:pt x="258" y="164"/>
                  </a:lnTo>
                  <a:lnTo>
                    <a:pt x="258" y="165"/>
                  </a:lnTo>
                  <a:lnTo>
                    <a:pt x="256" y="169"/>
                  </a:lnTo>
                  <a:lnTo>
                    <a:pt x="259" y="169"/>
                  </a:lnTo>
                  <a:lnTo>
                    <a:pt x="259" y="171"/>
                  </a:lnTo>
                  <a:lnTo>
                    <a:pt x="261" y="169"/>
                  </a:lnTo>
                  <a:lnTo>
                    <a:pt x="261" y="171"/>
                  </a:lnTo>
                  <a:lnTo>
                    <a:pt x="261" y="174"/>
                  </a:lnTo>
                  <a:lnTo>
                    <a:pt x="263" y="174"/>
                  </a:lnTo>
                  <a:lnTo>
                    <a:pt x="259" y="176"/>
                  </a:lnTo>
                  <a:lnTo>
                    <a:pt x="259" y="181"/>
                  </a:lnTo>
                  <a:lnTo>
                    <a:pt x="258" y="183"/>
                  </a:lnTo>
                  <a:lnTo>
                    <a:pt x="258" y="184"/>
                  </a:lnTo>
                  <a:lnTo>
                    <a:pt x="258" y="190"/>
                  </a:lnTo>
                  <a:lnTo>
                    <a:pt x="258" y="188"/>
                  </a:lnTo>
                  <a:lnTo>
                    <a:pt x="258" y="190"/>
                  </a:lnTo>
                  <a:lnTo>
                    <a:pt x="258" y="193"/>
                  </a:lnTo>
                  <a:lnTo>
                    <a:pt x="258" y="195"/>
                  </a:lnTo>
                  <a:lnTo>
                    <a:pt x="258" y="200"/>
                  </a:lnTo>
                  <a:lnTo>
                    <a:pt x="258" y="202"/>
                  </a:lnTo>
                  <a:lnTo>
                    <a:pt x="256" y="203"/>
                  </a:lnTo>
                  <a:lnTo>
                    <a:pt x="256" y="205"/>
                  </a:lnTo>
                  <a:lnTo>
                    <a:pt x="256" y="205"/>
                  </a:lnTo>
                  <a:lnTo>
                    <a:pt x="256" y="205"/>
                  </a:lnTo>
                  <a:lnTo>
                    <a:pt x="254" y="205"/>
                  </a:lnTo>
                  <a:lnTo>
                    <a:pt x="254" y="203"/>
                  </a:lnTo>
                  <a:lnTo>
                    <a:pt x="254" y="205"/>
                  </a:lnTo>
                  <a:lnTo>
                    <a:pt x="252" y="205"/>
                  </a:lnTo>
                  <a:lnTo>
                    <a:pt x="254" y="205"/>
                  </a:lnTo>
                  <a:lnTo>
                    <a:pt x="254" y="205"/>
                  </a:lnTo>
                  <a:lnTo>
                    <a:pt x="252" y="205"/>
                  </a:lnTo>
                  <a:lnTo>
                    <a:pt x="252" y="207"/>
                  </a:lnTo>
                  <a:lnTo>
                    <a:pt x="256" y="214"/>
                  </a:lnTo>
                  <a:lnTo>
                    <a:pt x="254" y="215"/>
                  </a:lnTo>
                  <a:lnTo>
                    <a:pt x="252" y="220"/>
                  </a:lnTo>
                  <a:lnTo>
                    <a:pt x="251" y="224"/>
                  </a:lnTo>
                  <a:lnTo>
                    <a:pt x="249" y="227"/>
                  </a:lnTo>
                  <a:lnTo>
                    <a:pt x="249" y="231"/>
                  </a:lnTo>
                  <a:lnTo>
                    <a:pt x="249" y="234"/>
                  </a:lnTo>
                  <a:lnTo>
                    <a:pt x="251" y="238"/>
                  </a:lnTo>
                  <a:lnTo>
                    <a:pt x="249" y="238"/>
                  </a:lnTo>
                  <a:lnTo>
                    <a:pt x="249" y="243"/>
                  </a:lnTo>
                  <a:lnTo>
                    <a:pt x="249" y="245"/>
                  </a:lnTo>
                  <a:lnTo>
                    <a:pt x="247" y="246"/>
                  </a:lnTo>
                  <a:lnTo>
                    <a:pt x="247" y="248"/>
                  </a:lnTo>
                  <a:lnTo>
                    <a:pt x="246" y="248"/>
                  </a:lnTo>
                  <a:lnTo>
                    <a:pt x="246" y="246"/>
                  </a:lnTo>
                  <a:lnTo>
                    <a:pt x="244" y="246"/>
                  </a:lnTo>
                  <a:lnTo>
                    <a:pt x="244" y="248"/>
                  </a:lnTo>
                  <a:lnTo>
                    <a:pt x="244" y="250"/>
                  </a:lnTo>
                  <a:lnTo>
                    <a:pt x="246" y="250"/>
                  </a:lnTo>
                  <a:lnTo>
                    <a:pt x="246" y="250"/>
                  </a:lnTo>
                  <a:lnTo>
                    <a:pt x="247" y="250"/>
                  </a:lnTo>
                  <a:lnTo>
                    <a:pt x="247" y="251"/>
                  </a:lnTo>
                  <a:lnTo>
                    <a:pt x="246" y="258"/>
                  </a:lnTo>
                  <a:lnTo>
                    <a:pt x="242" y="262"/>
                  </a:lnTo>
                  <a:lnTo>
                    <a:pt x="242" y="263"/>
                  </a:lnTo>
                  <a:lnTo>
                    <a:pt x="242" y="265"/>
                  </a:lnTo>
                  <a:lnTo>
                    <a:pt x="242" y="265"/>
                  </a:lnTo>
                  <a:lnTo>
                    <a:pt x="240" y="267"/>
                  </a:lnTo>
                  <a:lnTo>
                    <a:pt x="240" y="269"/>
                  </a:lnTo>
                  <a:lnTo>
                    <a:pt x="242" y="267"/>
                  </a:lnTo>
                  <a:lnTo>
                    <a:pt x="242" y="267"/>
                  </a:lnTo>
                  <a:lnTo>
                    <a:pt x="244" y="267"/>
                  </a:lnTo>
                  <a:lnTo>
                    <a:pt x="246" y="270"/>
                  </a:lnTo>
                  <a:lnTo>
                    <a:pt x="247" y="270"/>
                  </a:lnTo>
                  <a:lnTo>
                    <a:pt x="247" y="272"/>
                  </a:lnTo>
                  <a:lnTo>
                    <a:pt x="246" y="274"/>
                  </a:lnTo>
                  <a:lnTo>
                    <a:pt x="246" y="276"/>
                  </a:lnTo>
                  <a:lnTo>
                    <a:pt x="247" y="276"/>
                  </a:lnTo>
                  <a:lnTo>
                    <a:pt x="247" y="277"/>
                  </a:lnTo>
                  <a:lnTo>
                    <a:pt x="247" y="279"/>
                  </a:lnTo>
                  <a:lnTo>
                    <a:pt x="249" y="279"/>
                  </a:lnTo>
                  <a:lnTo>
                    <a:pt x="252" y="277"/>
                  </a:lnTo>
                  <a:lnTo>
                    <a:pt x="252" y="279"/>
                  </a:lnTo>
                  <a:lnTo>
                    <a:pt x="252" y="281"/>
                  </a:lnTo>
                  <a:lnTo>
                    <a:pt x="252" y="281"/>
                  </a:lnTo>
                  <a:lnTo>
                    <a:pt x="249" y="281"/>
                  </a:lnTo>
                  <a:lnTo>
                    <a:pt x="247" y="281"/>
                  </a:lnTo>
                  <a:lnTo>
                    <a:pt x="247" y="282"/>
                  </a:lnTo>
                  <a:lnTo>
                    <a:pt x="246" y="286"/>
                  </a:lnTo>
                  <a:lnTo>
                    <a:pt x="246" y="288"/>
                  </a:lnTo>
                  <a:lnTo>
                    <a:pt x="246" y="289"/>
                  </a:lnTo>
                  <a:lnTo>
                    <a:pt x="246" y="291"/>
                  </a:lnTo>
                  <a:lnTo>
                    <a:pt x="244" y="293"/>
                  </a:lnTo>
                  <a:lnTo>
                    <a:pt x="244" y="294"/>
                  </a:lnTo>
                  <a:lnTo>
                    <a:pt x="244" y="293"/>
                  </a:lnTo>
                  <a:lnTo>
                    <a:pt x="244" y="294"/>
                  </a:lnTo>
                  <a:lnTo>
                    <a:pt x="246" y="294"/>
                  </a:lnTo>
                  <a:lnTo>
                    <a:pt x="247" y="294"/>
                  </a:lnTo>
                  <a:lnTo>
                    <a:pt x="249" y="293"/>
                  </a:lnTo>
                  <a:lnTo>
                    <a:pt x="251" y="291"/>
                  </a:lnTo>
                  <a:lnTo>
                    <a:pt x="251" y="293"/>
                  </a:lnTo>
                  <a:lnTo>
                    <a:pt x="252" y="293"/>
                  </a:lnTo>
                  <a:lnTo>
                    <a:pt x="252" y="294"/>
                  </a:lnTo>
                  <a:lnTo>
                    <a:pt x="252" y="294"/>
                  </a:lnTo>
                  <a:lnTo>
                    <a:pt x="252" y="296"/>
                  </a:lnTo>
                  <a:lnTo>
                    <a:pt x="252" y="298"/>
                  </a:lnTo>
                  <a:lnTo>
                    <a:pt x="252" y="300"/>
                  </a:lnTo>
                  <a:lnTo>
                    <a:pt x="251" y="300"/>
                  </a:lnTo>
                  <a:lnTo>
                    <a:pt x="249" y="300"/>
                  </a:lnTo>
                  <a:lnTo>
                    <a:pt x="249" y="301"/>
                  </a:lnTo>
                  <a:lnTo>
                    <a:pt x="249" y="303"/>
                  </a:lnTo>
                  <a:lnTo>
                    <a:pt x="251" y="303"/>
                  </a:lnTo>
                  <a:lnTo>
                    <a:pt x="252" y="303"/>
                  </a:lnTo>
                  <a:lnTo>
                    <a:pt x="252" y="301"/>
                  </a:lnTo>
                  <a:lnTo>
                    <a:pt x="254" y="301"/>
                  </a:lnTo>
                  <a:lnTo>
                    <a:pt x="254" y="303"/>
                  </a:lnTo>
                  <a:lnTo>
                    <a:pt x="254" y="305"/>
                  </a:lnTo>
                  <a:lnTo>
                    <a:pt x="254" y="307"/>
                  </a:lnTo>
                  <a:lnTo>
                    <a:pt x="252" y="307"/>
                  </a:lnTo>
                  <a:lnTo>
                    <a:pt x="252" y="308"/>
                  </a:lnTo>
                  <a:lnTo>
                    <a:pt x="254" y="308"/>
                  </a:lnTo>
                  <a:lnTo>
                    <a:pt x="256" y="308"/>
                  </a:lnTo>
                  <a:lnTo>
                    <a:pt x="258" y="308"/>
                  </a:lnTo>
                  <a:lnTo>
                    <a:pt x="258" y="310"/>
                  </a:lnTo>
                  <a:lnTo>
                    <a:pt x="258" y="310"/>
                  </a:lnTo>
                  <a:lnTo>
                    <a:pt x="256" y="310"/>
                  </a:lnTo>
                  <a:lnTo>
                    <a:pt x="254" y="312"/>
                  </a:lnTo>
                  <a:lnTo>
                    <a:pt x="252" y="312"/>
                  </a:lnTo>
                  <a:lnTo>
                    <a:pt x="251" y="312"/>
                  </a:lnTo>
                  <a:lnTo>
                    <a:pt x="251" y="313"/>
                  </a:lnTo>
                  <a:lnTo>
                    <a:pt x="251" y="315"/>
                  </a:lnTo>
                  <a:lnTo>
                    <a:pt x="252" y="315"/>
                  </a:lnTo>
                  <a:lnTo>
                    <a:pt x="254" y="317"/>
                  </a:lnTo>
                  <a:lnTo>
                    <a:pt x="254" y="319"/>
                  </a:lnTo>
                  <a:lnTo>
                    <a:pt x="252" y="320"/>
                  </a:lnTo>
                  <a:lnTo>
                    <a:pt x="251" y="320"/>
                  </a:lnTo>
                  <a:lnTo>
                    <a:pt x="251" y="322"/>
                  </a:lnTo>
                  <a:lnTo>
                    <a:pt x="249" y="322"/>
                  </a:lnTo>
                  <a:lnTo>
                    <a:pt x="251" y="324"/>
                  </a:lnTo>
                  <a:lnTo>
                    <a:pt x="251" y="325"/>
                  </a:lnTo>
                  <a:lnTo>
                    <a:pt x="252" y="325"/>
                  </a:lnTo>
                  <a:lnTo>
                    <a:pt x="254" y="325"/>
                  </a:lnTo>
                  <a:lnTo>
                    <a:pt x="256" y="325"/>
                  </a:lnTo>
                  <a:lnTo>
                    <a:pt x="256" y="325"/>
                  </a:lnTo>
                  <a:lnTo>
                    <a:pt x="256" y="327"/>
                  </a:lnTo>
                  <a:lnTo>
                    <a:pt x="256" y="329"/>
                  </a:lnTo>
                  <a:lnTo>
                    <a:pt x="254" y="331"/>
                  </a:lnTo>
                  <a:lnTo>
                    <a:pt x="254" y="332"/>
                  </a:lnTo>
                  <a:lnTo>
                    <a:pt x="256" y="332"/>
                  </a:lnTo>
                  <a:lnTo>
                    <a:pt x="256" y="331"/>
                  </a:lnTo>
                  <a:lnTo>
                    <a:pt x="258" y="331"/>
                  </a:lnTo>
                  <a:lnTo>
                    <a:pt x="258" y="331"/>
                  </a:lnTo>
                  <a:lnTo>
                    <a:pt x="258" y="329"/>
                  </a:lnTo>
                  <a:lnTo>
                    <a:pt x="259" y="329"/>
                  </a:lnTo>
                  <a:lnTo>
                    <a:pt x="259" y="331"/>
                  </a:lnTo>
                  <a:lnTo>
                    <a:pt x="259" y="332"/>
                  </a:lnTo>
                  <a:lnTo>
                    <a:pt x="259" y="334"/>
                  </a:lnTo>
                  <a:lnTo>
                    <a:pt x="258" y="334"/>
                  </a:lnTo>
                  <a:lnTo>
                    <a:pt x="258" y="334"/>
                  </a:lnTo>
                  <a:lnTo>
                    <a:pt x="258" y="332"/>
                  </a:lnTo>
                  <a:lnTo>
                    <a:pt x="256" y="334"/>
                  </a:lnTo>
                  <a:lnTo>
                    <a:pt x="258" y="336"/>
                  </a:lnTo>
                  <a:lnTo>
                    <a:pt x="258" y="337"/>
                  </a:lnTo>
                  <a:lnTo>
                    <a:pt x="256" y="339"/>
                  </a:lnTo>
                  <a:lnTo>
                    <a:pt x="254" y="339"/>
                  </a:lnTo>
                  <a:lnTo>
                    <a:pt x="252" y="339"/>
                  </a:lnTo>
                  <a:lnTo>
                    <a:pt x="251" y="339"/>
                  </a:lnTo>
                  <a:lnTo>
                    <a:pt x="251" y="341"/>
                  </a:lnTo>
                  <a:lnTo>
                    <a:pt x="252" y="341"/>
                  </a:lnTo>
                  <a:lnTo>
                    <a:pt x="252" y="341"/>
                  </a:lnTo>
                  <a:lnTo>
                    <a:pt x="252" y="343"/>
                  </a:lnTo>
                  <a:lnTo>
                    <a:pt x="254" y="343"/>
                  </a:lnTo>
                  <a:lnTo>
                    <a:pt x="256" y="344"/>
                  </a:lnTo>
                  <a:lnTo>
                    <a:pt x="256" y="346"/>
                  </a:lnTo>
                  <a:lnTo>
                    <a:pt x="254" y="346"/>
                  </a:lnTo>
                  <a:lnTo>
                    <a:pt x="252" y="346"/>
                  </a:lnTo>
                  <a:lnTo>
                    <a:pt x="252" y="344"/>
                  </a:lnTo>
                  <a:lnTo>
                    <a:pt x="251" y="344"/>
                  </a:lnTo>
                  <a:lnTo>
                    <a:pt x="251" y="343"/>
                  </a:lnTo>
                  <a:lnTo>
                    <a:pt x="251" y="341"/>
                  </a:lnTo>
                  <a:lnTo>
                    <a:pt x="251" y="341"/>
                  </a:lnTo>
                  <a:lnTo>
                    <a:pt x="249" y="341"/>
                  </a:lnTo>
                  <a:lnTo>
                    <a:pt x="247" y="341"/>
                  </a:lnTo>
                  <a:lnTo>
                    <a:pt x="247" y="341"/>
                  </a:lnTo>
                  <a:lnTo>
                    <a:pt x="246" y="343"/>
                  </a:lnTo>
                  <a:lnTo>
                    <a:pt x="247" y="344"/>
                  </a:lnTo>
                  <a:lnTo>
                    <a:pt x="247" y="346"/>
                  </a:lnTo>
                  <a:lnTo>
                    <a:pt x="249" y="346"/>
                  </a:lnTo>
                  <a:lnTo>
                    <a:pt x="249" y="348"/>
                  </a:lnTo>
                  <a:lnTo>
                    <a:pt x="249" y="350"/>
                  </a:lnTo>
                  <a:lnTo>
                    <a:pt x="247" y="350"/>
                  </a:lnTo>
                  <a:lnTo>
                    <a:pt x="246" y="351"/>
                  </a:lnTo>
                  <a:lnTo>
                    <a:pt x="246" y="353"/>
                  </a:lnTo>
                  <a:lnTo>
                    <a:pt x="246" y="355"/>
                  </a:lnTo>
                  <a:lnTo>
                    <a:pt x="247" y="355"/>
                  </a:lnTo>
                  <a:lnTo>
                    <a:pt x="247" y="355"/>
                  </a:lnTo>
                  <a:lnTo>
                    <a:pt x="246" y="355"/>
                  </a:lnTo>
                  <a:lnTo>
                    <a:pt x="244" y="355"/>
                  </a:lnTo>
                  <a:lnTo>
                    <a:pt x="242" y="355"/>
                  </a:lnTo>
                  <a:lnTo>
                    <a:pt x="242" y="356"/>
                  </a:lnTo>
                  <a:lnTo>
                    <a:pt x="244" y="356"/>
                  </a:lnTo>
                  <a:lnTo>
                    <a:pt x="244" y="358"/>
                  </a:lnTo>
                  <a:lnTo>
                    <a:pt x="242" y="358"/>
                  </a:lnTo>
                  <a:lnTo>
                    <a:pt x="242" y="360"/>
                  </a:lnTo>
                  <a:lnTo>
                    <a:pt x="242" y="360"/>
                  </a:lnTo>
                  <a:lnTo>
                    <a:pt x="242" y="362"/>
                  </a:lnTo>
                  <a:lnTo>
                    <a:pt x="242" y="362"/>
                  </a:lnTo>
                  <a:lnTo>
                    <a:pt x="244" y="362"/>
                  </a:lnTo>
                  <a:lnTo>
                    <a:pt x="244" y="363"/>
                  </a:lnTo>
                  <a:lnTo>
                    <a:pt x="244" y="365"/>
                  </a:lnTo>
                  <a:lnTo>
                    <a:pt x="244" y="367"/>
                  </a:lnTo>
                  <a:lnTo>
                    <a:pt x="244" y="368"/>
                  </a:lnTo>
                  <a:lnTo>
                    <a:pt x="244" y="370"/>
                  </a:lnTo>
                  <a:lnTo>
                    <a:pt x="244" y="370"/>
                  </a:lnTo>
                  <a:lnTo>
                    <a:pt x="242" y="370"/>
                  </a:lnTo>
                  <a:lnTo>
                    <a:pt x="242" y="370"/>
                  </a:lnTo>
                  <a:lnTo>
                    <a:pt x="240" y="370"/>
                  </a:lnTo>
                  <a:lnTo>
                    <a:pt x="240" y="370"/>
                  </a:lnTo>
                  <a:lnTo>
                    <a:pt x="240" y="370"/>
                  </a:lnTo>
                  <a:lnTo>
                    <a:pt x="239" y="374"/>
                  </a:lnTo>
                  <a:lnTo>
                    <a:pt x="237" y="375"/>
                  </a:lnTo>
                  <a:lnTo>
                    <a:pt x="237" y="377"/>
                  </a:lnTo>
                  <a:lnTo>
                    <a:pt x="237" y="379"/>
                  </a:lnTo>
                  <a:lnTo>
                    <a:pt x="235" y="379"/>
                  </a:lnTo>
                  <a:lnTo>
                    <a:pt x="233" y="380"/>
                  </a:lnTo>
                  <a:lnTo>
                    <a:pt x="232" y="380"/>
                  </a:lnTo>
                  <a:lnTo>
                    <a:pt x="232" y="382"/>
                  </a:lnTo>
                  <a:lnTo>
                    <a:pt x="233" y="382"/>
                  </a:lnTo>
                  <a:lnTo>
                    <a:pt x="233" y="384"/>
                  </a:lnTo>
                  <a:lnTo>
                    <a:pt x="232" y="384"/>
                  </a:lnTo>
                  <a:lnTo>
                    <a:pt x="230" y="384"/>
                  </a:lnTo>
                  <a:lnTo>
                    <a:pt x="230" y="386"/>
                  </a:lnTo>
                  <a:lnTo>
                    <a:pt x="230" y="386"/>
                  </a:lnTo>
                  <a:lnTo>
                    <a:pt x="232" y="386"/>
                  </a:lnTo>
                  <a:lnTo>
                    <a:pt x="233" y="387"/>
                  </a:lnTo>
                  <a:lnTo>
                    <a:pt x="233" y="389"/>
                  </a:lnTo>
                  <a:lnTo>
                    <a:pt x="233" y="391"/>
                  </a:lnTo>
                  <a:lnTo>
                    <a:pt x="232" y="391"/>
                  </a:lnTo>
                  <a:lnTo>
                    <a:pt x="230" y="393"/>
                  </a:lnTo>
                  <a:lnTo>
                    <a:pt x="228" y="393"/>
                  </a:lnTo>
                  <a:lnTo>
                    <a:pt x="227" y="393"/>
                  </a:lnTo>
                  <a:lnTo>
                    <a:pt x="227" y="393"/>
                  </a:lnTo>
                  <a:lnTo>
                    <a:pt x="225" y="393"/>
                  </a:lnTo>
                  <a:lnTo>
                    <a:pt x="225" y="394"/>
                  </a:lnTo>
                  <a:lnTo>
                    <a:pt x="225" y="396"/>
                  </a:lnTo>
                  <a:lnTo>
                    <a:pt x="227" y="396"/>
                  </a:lnTo>
                  <a:lnTo>
                    <a:pt x="227" y="398"/>
                  </a:lnTo>
                  <a:lnTo>
                    <a:pt x="227" y="398"/>
                  </a:lnTo>
                  <a:lnTo>
                    <a:pt x="227" y="398"/>
                  </a:lnTo>
                  <a:lnTo>
                    <a:pt x="227" y="399"/>
                  </a:lnTo>
                  <a:lnTo>
                    <a:pt x="227" y="401"/>
                  </a:lnTo>
                  <a:lnTo>
                    <a:pt x="227" y="401"/>
                  </a:lnTo>
                  <a:lnTo>
                    <a:pt x="227" y="401"/>
                  </a:lnTo>
                  <a:lnTo>
                    <a:pt x="225" y="401"/>
                  </a:lnTo>
                  <a:lnTo>
                    <a:pt x="223" y="403"/>
                  </a:lnTo>
                  <a:lnTo>
                    <a:pt x="221" y="403"/>
                  </a:lnTo>
                  <a:lnTo>
                    <a:pt x="221" y="405"/>
                  </a:lnTo>
                  <a:lnTo>
                    <a:pt x="220" y="405"/>
                  </a:lnTo>
                  <a:lnTo>
                    <a:pt x="218" y="405"/>
                  </a:lnTo>
                  <a:lnTo>
                    <a:pt x="216" y="405"/>
                  </a:lnTo>
                  <a:lnTo>
                    <a:pt x="215" y="405"/>
                  </a:lnTo>
                  <a:lnTo>
                    <a:pt x="215" y="406"/>
                  </a:lnTo>
                  <a:lnTo>
                    <a:pt x="213" y="406"/>
                  </a:lnTo>
                  <a:lnTo>
                    <a:pt x="213" y="408"/>
                  </a:lnTo>
                  <a:lnTo>
                    <a:pt x="211" y="410"/>
                  </a:lnTo>
                  <a:lnTo>
                    <a:pt x="211" y="411"/>
                  </a:lnTo>
                  <a:lnTo>
                    <a:pt x="213" y="413"/>
                  </a:lnTo>
                  <a:lnTo>
                    <a:pt x="213" y="415"/>
                  </a:lnTo>
                  <a:lnTo>
                    <a:pt x="213" y="417"/>
                  </a:lnTo>
                  <a:lnTo>
                    <a:pt x="213" y="417"/>
                  </a:lnTo>
                  <a:lnTo>
                    <a:pt x="213" y="418"/>
                  </a:lnTo>
                  <a:lnTo>
                    <a:pt x="211" y="418"/>
                  </a:lnTo>
                  <a:lnTo>
                    <a:pt x="211" y="418"/>
                  </a:lnTo>
                  <a:lnTo>
                    <a:pt x="209" y="418"/>
                  </a:lnTo>
                  <a:lnTo>
                    <a:pt x="209" y="420"/>
                  </a:lnTo>
                  <a:lnTo>
                    <a:pt x="208" y="420"/>
                  </a:lnTo>
                  <a:lnTo>
                    <a:pt x="208" y="422"/>
                  </a:lnTo>
                  <a:lnTo>
                    <a:pt x="208" y="423"/>
                  </a:lnTo>
                  <a:lnTo>
                    <a:pt x="209" y="425"/>
                  </a:lnTo>
                  <a:lnTo>
                    <a:pt x="209" y="429"/>
                  </a:lnTo>
                  <a:lnTo>
                    <a:pt x="211" y="429"/>
                  </a:lnTo>
                  <a:lnTo>
                    <a:pt x="211" y="429"/>
                  </a:lnTo>
                  <a:lnTo>
                    <a:pt x="211" y="430"/>
                  </a:lnTo>
                  <a:lnTo>
                    <a:pt x="211" y="430"/>
                  </a:lnTo>
                  <a:lnTo>
                    <a:pt x="211" y="437"/>
                  </a:lnTo>
                  <a:lnTo>
                    <a:pt x="211" y="442"/>
                  </a:lnTo>
                  <a:lnTo>
                    <a:pt x="211" y="444"/>
                  </a:lnTo>
                  <a:lnTo>
                    <a:pt x="211" y="453"/>
                  </a:lnTo>
                  <a:lnTo>
                    <a:pt x="211" y="456"/>
                  </a:lnTo>
                  <a:lnTo>
                    <a:pt x="211" y="461"/>
                  </a:lnTo>
                  <a:lnTo>
                    <a:pt x="211" y="463"/>
                  </a:lnTo>
                  <a:lnTo>
                    <a:pt x="209" y="463"/>
                  </a:lnTo>
                  <a:lnTo>
                    <a:pt x="208" y="461"/>
                  </a:lnTo>
                  <a:lnTo>
                    <a:pt x="206" y="461"/>
                  </a:lnTo>
                  <a:lnTo>
                    <a:pt x="204" y="461"/>
                  </a:lnTo>
                  <a:lnTo>
                    <a:pt x="201" y="461"/>
                  </a:lnTo>
                  <a:lnTo>
                    <a:pt x="199" y="463"/>
                  </a:lnTo>
                  <a:lnTo>
                    <a:pt x="197" y="463"/>
                  </a:lnTo>
                  <a:lnTo>
                    <a:pt x="196" y="463"/>
                  </a:lnTo>
                  <a:lnTo>
                    <a:pt x="194" y="463"/>
                  </a:lnTo>
                  <a:lnTo>
                    <a:pt x="192" y="463"/>
                  </a:lnTo>
                  <a:lnTo>
                    <a:pt x="190" y="463"/>
                  </a:lnTo>
                  <a:lnTo>
                    <a:pt x="187" y="461"/>
                  </a:lnTo>
                  <a:lnTo>
                    <a:pt x="184" y="461"/>
                  </a:lnTo>
                  <a:lnTo>
                    <a:pt x="182" y="460"/>
                  </a:lnTo>
                  <a:lnTo>
                    <a:pt x="180" y="456"/>
                  </a:lnTo>
                  <a:lnTo>
                    <a:pt x="178" y="453"/>
                  </a:lnTo>
                  <a:lnTo>
                    <a:pt x="175" y="451"/>
                  </a:lnTo>
                  <a:lnTo>
                    <a:pt x="172" y="448"/>
                  </a:lnTo>
                  <a:lnTo>
                    <a:pt x="168" y="448"/>
                  </a:lnTo>
                  <a:lnTo>
                    <a:pt x="166" y="446"/>
                  </a:lnTo>
                  <a:lnTo>
                    <a:pt x="165" y="446"/>
                  </a:lnTo>
                  <a:lnTo>
                    <a:pt x="160" y="446"/>
                  </a:lnTo>
                  <a:lnTo>
                    <a:pt x="156" y="446"/>
                  </a:lnTo>
                  <a:lnTo>
                    <a:pt x="156" y="444"/>
                  </a:lnTo>
                  <a:lnTo>
                    <a:pt x="151" y="444"/>
                  </a:lnTo>
                  <a:lnTo>
                    <a:pt x="147" y="444"/>
                  </a:lnTo>
                  <a:lnTo>
                    <a:pt x="147" y="442"/>
                  </a:lnTo>
                  <a:lnTo>
                    <a:pt x="141" y="442"/>
                  </a:lnTo>
                  <a:lnTo>
                    <a:pt x="137" y="441"/>
                  </a:lnTo>
                  <a:lnTo>
                    <a:pt x="135" y="441"/>
                  </a:lnTo>
                  <a:lnTo>
                    <a:pt x="129" y="437"/>
                  </a:lnTo>
                  <a:lnTo>
                    <a:pt x="127" y="436"/>
                  </a:lnTo>
                  <a:lnTo>
                    <a:pt x="123" y="432"/>
                  </a:lnTo>
                  <a:lnTo>
                    <a:pt x="123" y="430"/>
                  </a:lnTo>
                  <a:lnTo>
                    <a:pt x="125" y="429"/>
                  </a:lnTo>
                  <a:lnTo>
                    <a:pt x="129" y="423"/>
                  </a:lnTo>
                  <a:lnTo>
                    <a:pt x="134" y="420"/>
                  </a:lnTo>
                  <a:lnTo>
                    <a:pt x="137" y="417"/>
                  </a:lnTo>
                  <a:lnTo>
                    <a:pt x="137" y="415"/>
                  </a:lnTo>
                  <a:lnTo>
                    <a:pt x="137" y="413"/>
                  </a:lnTo>
                  <a:lnTo>
                    <a:pt x="135" y="408"/>
                  </a:lnTo>
                  <a:lnTo>
                    <a:pt x="134" y="405"/>
                  </a:lnTo>
                  <a:lnTo>
                    <a:pt x="130" y="401"/>
                  </a:lnTo>
                  <a:lnTo>
                    <a:pt x="129" y="401"/>
                  </a:lnTo>
                  <a:lnTo>
                    <a:pt x="127" y="399"/>
                  </a:lnTo>
                  <a:lnTo>
                    <a:pt x="125" y="398"/>
                  </a:lnTo>
                  <a:lnTo>
                    <a:pt x="123" y="398"/>
                  </a:lnTo>
                  <a:lnTo>
                    <a:pt x="122" y="396"/>
                  </a:lnTo>
                  <a:lnTo>
                    <a:pt x="117" y="396"/>
                  </a:lnTo>
                  <a:lnTo>
                    <a:pt x="115" y="396"/>
                  </a:lnTo>
                  <a:lnTo>
                    <a:pt x="113" y="394"/>
                  </a:lnTo>
                  <a:lnTo>
                    <a:pt x="111" y="394"/>
                  </a:lnTo>
                  <a:lnTo>
                    <a:pt x="110" y="394"/>
                  </a:lnTo>
                  <a:lnTo>
                    <a:pt x="108" y="393"/>
                  </a:lnTo>
                  <a:lnTo>
                    <a:pt x="106" y="393"/>
                  </a:lnTo>
                  <a:lnTo>
                    <a:pt x="106" y="393"/>
                  </a:lnTo>
                  <a:lnTo>
                    <a:pt x="106" y="391"/>
                  </a:lnTo>
                  <a:lnTo>
                    <a:pt x="104" y="391"/>
                  </a:lnTo>
                  <a:lnTo>
                    <a:pt x="104" y="389"/>
                  </a:lnTo>
                  <a:lnTo>
                    <a:pt x="103" y="389"/>
                  </a:lnTo>
                  <a:lnTo>
                    <a:pt x="101" y="387"/>
                  </a:lnTo>
                  <a:lnTo>
                    <a:pt x="99" y="386"/>
                  </a:lnTo>
                  <a:lnTo>
                    <a:pt x="99" y="386"/>
                  </a:lnTo>
                  <a:lnTo>
                    <a:pt x="98" y="384"/>
                  </a:lnTo>
                  <a:lnTo>
                    <a:pt x="98" y="380"/>
                  </a:lnTo>
                  <a:lnTo>
                    <a:pt x="98" y="379"/>
                  </a:lnTo>
                  <a:lnTo>
                    <a:pt x="96" y="377"/>
                  </a:lnTo>
                  <a:lnTo>
                    <a:pt x="96" y="374"/>
                  </a:lnTo>
                  <a:lnTo>
                    <a:pt x="96" y="372"/>
                  </a:lnTo>
                  <a:lnTo>
                    <a:pt x="96" y="370"/>
                  </a:lnTo>
                  <a:lnTo>
                    <a:pt x="96" y="368"/>
                  </a:lnTo>
                  <a:lnTo>
                    <a:pt x="98" y="365"/>
                  </a:lnTo>
                  <a:lnTo>
                    <a:pt x="99" y="365"/>
                  </a:lnTo>
                  <a:lnTo>
                    <a:pt x="99" y="363"/>
                  </a:lnTo>
                  <a:lnTo>
                    <a:pt x="103" y="362"/>
                  </a:lnTo>
                  <a:lnTo>
                    <a:pt x="104" y="362"/>
                  </a:lnTo>
                  <a:lnTo>
                    <a:pt x="106" y="358"/>
                  </a:lnTo>
                  <a:lnTo>
                    <a:pt x="108" y="358"/>
                  </a:lnTo>
                  <a:lnTo>
                    <a:pt x="110" y="355"/>
                  </a:lnTo>
                  <a:lnTo>
                    <a:pt x="110" y="355"/>
                  </a:lnTo>
                  <a:lnTo>
                    <a:pt x="111" y="353"/>
                  </a:lnTo>
                  <a:lnTo>
                    <a:pt x="111" y="351"/>
                  </a:lnTo>
                  <a:lnTo>
                    <a:pt x="113" y="350"/>
                  </a:lnTo>
                  <a:lnTo>
                    <a:pt x="113" y="346"/>
                  </a:lnTo>
                  <a:lnTo>
                    <a:pt x="113" y="341"/>
                  </a:lnTo>
                  <a:lnTo>
                    <a:pt x="113" y="337"/>
                  </a:lnTo>
                  <a:lnTo>
                    <a:pt x="111" y="336"/>
                  </a:lnTo>
                  <a:lnTo>
                    <a:pt x="110" y="332"/>
                  </a:lnTo>
                  <a:lnTo>
                    <a:pt x="108" y="331"/>
                  </a:lnTo>
                  <a:lnTo>
                    <a:pt x="106" y="329"/>
                  </a:lnTo>
                  <a:lnTo>
                    <a:pt x="106" y="329"/>
                  </a:lnTo>
                  <a:lnTo>
                    <a:pt x="103" y="329"/>
                  </a:lnTo>
                  <a:lnTo>
                    <a:pt x="101" y="329"/>
                  </a:lnTo>
                  <a:lnTo>
                    <a:pt x="99" y="329"/>
                  </a:lnTo>
                  <a:lnTo>
                    <a:pt x="98" y="329"/>
                  </a:lnTo>
                  <a:lnTo>
                    <a:pt x="94" y="329"/>
                  </a:lnTo>
                  <a:lnTo>
                    <a:pt x="92" y="329"/>
                  </a:lnTo>
                  <a:lnTo>
                    <a:pt x="91" y="329"/>
                  </a:lnTo>
                  <a:lnTo>
                    <a:pt x="91" y="329"/>
                  </a:lnTo>
                  <a:lnTo>
                    <a:pt x="89" y="329"/>
                  </a:lnTo>
                  <a:lnTo>
                    <a:pt x="87" y="329"/>
                  </a:lnTo>
                  <a:lnTo>
                    <a:pt x="86" y="327"/>
                  </a:lnTo>
                  <a:lnTo>
                    <a:pt x="84" y="325"/>
                  </a:lnTo>
                  <a:lnTo>
                    <a:pt x="82" y="325"/>
                  </a:lnTo>
                  <a:lnTo>
                    <a:pt x="80" y="325"/>
                  </a:lnTo>
                  <a:lnTo>
                    <a:pt x="79" y="324"/>
                  </a:lnTo>
                  <a:lnTo>
                    <a:pt x="77" y="322"/>
                  </a:lnTo>
                  <a:lnTo>
                    <a:pt x="75" y="320"/>
                  </a:lnTo>
                  <a:lnTo>
                    <a:pt x="75" y="319"/>
                  </a:lnTo>
                  <a:lnTo>
                    <a:pt x="75" y="317"/>
                  </a:lnTo>
                  <a:lnTo>
                    <a:pt x="75" y="315"/>
                  </a:lnTo>
                  <a:lnTo>
                    <a:pt x="74" y="313"/>
                  </a:lnTo>
                  <a:lnTo>
                    <a:pt x="74" y="312"/>
                  </a:lnTo>
                  <a:lnTo>
                    <a:pt x="72" y="310"/>
                  </a:lnTo>
                  <a:lnTo>
                    <a:pt x="72" y="308"/>
                  </a:lnTo>
                  <a:lnTo>
                    <a:pt x="72" y="307"/>
                  </a:lnTo>
                  <a:lnTo>
                    <a:pt x="70" y="305"/>
                  </a:lnTo>
                  <a:lnTo>
                    <a:pt x="70" y="303"/>
                  </a:lnTo>
                  <a:lnTo>
                    <a:pt x="68" y="301"/>
                  </a:lnTo>
                  <a:lnTo>
                    <a:pt x="68" y="300"/>
                  </a:lnTo>
                  <a:lnTo>
                    <a:pt x="67" y="298"/>
                  </a:lnTo>
                  <a:lnTo>
                    <a:pt x="65" y="296"/>
                  </a:lnTo>
                  <a:lnTo>
                    <a:pt x="63" y="294"/>
                  </a:lnTo>
                  <a:lnTo>
                    <a:pt x="61" y="294"/>
                  </a:lnTo>
                  <a:lnTo>
                    <a:pt x="61" y="293"/>
                  </a:lnTo>
                  <a:lnTo>
                    <a:pt x="60" y="291"/>
                  </a:lnTo>
                  <a:lnTo>
                    <a:pt x="56" y="289"/>
                  </a:lnTo>
                  <a:lnTo>
                    <a:pt x="55" y="288"/>
                  </a:lnTo>
                  <a:lnTo>
                    <a:pt x="53" y="284"/>
                  </a:lnTo>
                  <a:lnTo>
                    <a:pt x="53" y="281"/>
                  </a:lnTo>
                  <a:lnTo>
                    <a:pt x="53" y="279"/>
                  </a:lnTo>
                  <a:lnTo>
                    <a:pt x="55" y="276"/>
                  </a:lnTo>
                  <a:lnTo>
                    <a:pt x="56" y="272"/>
                  </a:lnTo>
                  <a:lnTo>
                    <a:pt x="56" y="269"/>
                  </a:lnTo>
                  <a:lnTo>
                    <a:pt x="56" y="265"/>
                  </a:lnTo>
                  <a:lnTo>
                    <a:pt x="55" y="265"/>
                  </a:lnTo>
                  <a:lnTo>
                    <a:pt x="55" y="263"/>
                  </a:lnTo>
                  <a:lnTo>
                    <a:pt x="53" y="262"/>
                  </a:lnTo>
                  <a:lnTo>
                    <a:pt x="51" y="262"/>
                  </a:lnTo>
                  <a:lnTo>
                    <a:pt x="51" y="260"/>
                  </a:lnTo>
                  <a:lnTo>
                    <a:pt x="49" y="258"/>
                  </a:lnTo>
                  <a:lnTo>
                    <a:pt x="48" y="258"/>
                  </a:lnTo>
                  <a:lnTo>
                    <a:pt x="46" y="257"/>
                  </a:lnTo>
                  <a:lnTo>
                    <a:pt x="43" y="250"/>
                  </a:lnTo>
                  <a:lnTo>
                    <a:pt x="41" y="250"/>
                  </a:lnTo>
                  <a:lnTo>
                    <a:pt x="39" y="248"/>
                  </a:lnTo>
                  <a:lnTo>
                    <a:pt x="37" y="246"/>
                  </a:lnTo>
                  <a:lnTo>
                    <a:pt x="37" y="245"/>
                  </a:lnTo>
                  <a:lnTo>
                    <a:pt x="36" y="243"/>
                  </a:lnTo>
                  <a:lnTo>
                    <a:pt x="34" y="241"/>
                  </a:lnTo>
                  <a:lnTo>
                    <a:pt x="32" y="239"/>
                  </a:lnTo>
                  <a:lnTo>
                    <a:pt x="31" y="238"/>
                  </a:lnTo>
                  <a:lnTo>
                    <a:pt x="31" y="236"/>
                  </a:lnTo>
                  <a:lnTo>
                    <a:pt x="27" y="234"/>
                  </a:lnTo>
                  <a:lnTo>
                    <a:pt x="25" y="234"/>
                  </a:lnTo>
                  <a:lnTo>
                    <a:pt x="24" y="233"/>
                  </a:lnTo>
                  <a:lnTo>
                    <a:pt x="20" y="231"/>
                  </a:lnTo>
                  <a:lnTo>
                    <a:pt x="18" y="229"/>
                  </a:lnTo>
                  <a:lnTo>
                    <a:pt x="17" y="227"/>
                  </a:lnTo>
                  <a:lnTo>
                    <a:pt x="17" y="226"/>
                  </a:lnTo>
                  <a:lnTo>
                    <a:pt x="15" y="226"/>
                  </a:lnTo>
                  <a:lnTo>
                    <a:pt x="15" y="224"/>
                  </a:lnTo>
                  <a:lnTo>
                    <a:pt x="15" y="222"/>
                  </a:lnTo>
                  <a:lnTo>
                    <a:pt x="13" y="220"/>
                  </a:lnTo>
                  <a:lnTo>
                    <a:pt x="12" y="220"/>
                  </a:lnTo>
                  <a:lnTo>
                    <a:pt x="10" y="219"/>
                  </a:lnTo>
                  <a:lnTo>
                    <a:pt x="8" y="217"/>
                  </a:lnTo>
                  <a:lnTo>
                    <a:pt x="5" y="214"/>
                  </a:lnTo>
                  <a:lnTo>
                    <a:pt x="5" y="212"/>
                  </a:lnTo>
                  <a:lnTo>
                    <a:pt x="5" y="210"/>
                  </a:lnTo>
                  <a:lnTo>
                    <a:pt x="3" y="210"/>
                  </a:lnTo>
                  <a:lnTo>
                    <a:pt x="3" y="208"/>
                  </a:lnTo>
                  <a:lnTo>
                    <a:pt x="1" y="208"/>
                  </a:lnTo>
                  <a:lnTo>
                    <a:pt x="1" y="210"/>
                  </a:lnTo>
                  <a:lnTo>
                    <a:pt x="1" y="210"/>
                  </a:lnTo>
                  <a:lnTo>
                    <a:pt x="0" y="208"/>
                  </a:lnTo>
                  <a:lnTo>
                    <a:pt x="0" y="207"/>
                  </a:lnTo>
                  <a:lnTo>
                    <a:pt x="0" y="205"/>
                  </a:lnTo>
                  <a:lnTo>
                    <a:pt x="1" y="205"/>
                  </a:lnTo>
                  <a:lnTo>
                    <a:pt x="1" y="205"/>
                  </a:lnTo>
                  <a:lnTo>
                    <a:pt x="3" y="205"/>
                  </a:lnTo>
                  <a:lnTo>
                    <a:pt x="5" y="205"/>
                  </a:lnTo>
                  <a:lnTo>
                    <a:pt x="6" y="203"/>
                  </a:lnTo>
                  <a:lnTo>
                    <a:pt x="6" y="202"/>
                  </a:lnTo>
                  <a:lnTo>
                    <a:pt x="5" y="202"/>
                  </a:lnTo>
                  <a:lnTo>
                    <a:pt x="3" y="202"/>
                  </a:lnTo>
                  <a:lnTo>
                    <a:pt x="3" y="203"/>
                  </a:lnTo>
                  <a:lnTo>
                    <a:pt x="1" y="203"/>
                  </a:lnTo>
                  <a:lnTo>
                    <a:pt x="1" y="202"/>
                  </a:lnTo>
                  <a:lnTo>
                    <a:pt x="1" y="200"/>
                  </a:lnTo>
                  <a:lnTo>
                    <a:pt x="1" y="198"/>
                  </a:lnTo>
                  <a:lnTo>
                    <a:pt x="1" y="198"/>
                  </a:lnTo>
                  <a:lnTo>
                    <a:pt x="1" y="196"/>
                  </a:lnTo>
                  <a:lnTo>
                    <a:pt x="1" y="195"/>
                  </a:lnTo>
                  <a:lnTo>
                    <a:pt x="3" y="195"/>
                  </a:lnTo>
                  <a:lnTo>
                    <a:pt x="3" y="193"/>
                  </a:lnTo>
                  <a:lnTo>
                    <a:pt x="1" y="193"/>
                  </a:lnTo>
                  <a:lnTo>
                    <a:pt x="1" y="191"/>
                  </a:lnTo>
                  <a:lnTo>
                    <a:pt x="3" y="191"/>
                  </a:lnTo>
                  <a:lnTo>
                    <a:pt x="3" y="190"/>
                  </a:lnTo>
                  <a:lnTo>
                    <a:pt x="3" y="190"/>
                  </a:lnTo>
                  <a:lnTo>
                    <a:pt x="8" y="179"/>
                  </a:lnTo>
                  <a:lnTo>
                    <a:pt x="12" y="171"/>
                  </a:lnTo>
                  <a:lnTo>
                    <a:pt x="13" y="169"/>
                  </a:lnTo>
                  <a:lnTo>
                    <a:pt x="13" y="167"/>
                  </a:lnTo>
                  <a:lnTo>
                    <a:pt x="15" y="164"/>
                  </a:lnTo>
                  <a:lnTo>
                    <a:pt x="17" y="157"/>
                  </a:lnTo>
                  <a:lnTo>
                    <a:pt x="18" y="153"/>
                  </a:lnTo>
                  <a:lnTo>
                    <a:pt x="20" y="150"/>
                  </a:lnTo>
                  <a:lnTo>
                    <a:pt x="22" y="147"/>
                  </a:lnTo>
                  <a:lnTo>
                    <a:pt x="24" y="145"/>
                  </a:lnTo>
                  <a:lnTo>
                    <a:pt x="27" y="138"/>
                  </a:lnTo>
                  <a:lnTo>
                    <a:pt x="29" y="131"/>
                  </a:lnTo>
                  <a:lnTo>
                    <a:pt x="31" y="122"/>
                  </a:lnTo>
                  <a:lnTo>
                    <a:pt x="32" y="121"/>
                  </a:lnTo>
                  <a:lnTo>
                    <a:pt x="34" y="117"/>
                  </a:lnTo>
                  <a:lnTo>
                    <a:pt x="34" y="116"/>
                  </a:lnTo>
                  <a:lnTo>
                    <a:pt x="39" y="107"/>
                  </a:lnTo>
                  <a:lnTo>
                    <a:pt x="39" y="104"/>
                  </a:lnTo>
                  <a:lnTo>
                    <a:pt x="41" y="104"/>
                  </a:lnTo>
                  <a:lnTo>
                    <a:pt x="44" y="95"/>
                  </a:lnTo>
                  <a:lnTo>
                    <a:pt x="46" y="90"/>
                  </a:lnTo>
                  <a:lnTo>
                    <a:pt x="46" y="86"/>
                  </a:lnTo>
                  <a:lnTo>
                    <a:pt x="46" y="85"/>
                  </a:lnTo>
                  <a:lnTo>
                    <a:pt x="48" y="81"/>
                  </a:lnTo>
                  <a:lnTo>
                    <a:pt x="49" y="79"/>
                  </a:lnTo>
                  <a:lnTo>
                    <a:pt x="49" y="78"/>
                  </a:lnTo>
                  <a:lnTo>
                    <a:pt x="53" y="71"/>
                  </a:lnTo>
                  <a:lnTo>
                    <a:pt x="53" y="69"/>
                  </a:lnTo>
                  <a:lnTo>
                    <a:pt x="55" y="66"/>
                  </a:lnTo>
                  <a:lnTo>
                    <a:pt x="56" y="62"/>
                  </a:lnTo>
                  <a:lnTo>
                    <a:pt x="56" y="60"/>
                  </a:lnTo>
                  <a:lnTo>
                    <a:pt x="58" y="55"/>
                  </a:lnTo>
                  <a:lnTo>
                    <a:pt x="61" y="50"/>
                  </a:lnTo>
                  <a:lnTo>
                    <a:pt x="61" y="48"/>
                  </a:lnTo>
                  <a:lnTo>
                    <a:pt x="61" y="47"/>
                  </a:lnTo>
                  <a:lnTo>
                    <a:pt x="63" y="43"/>
                  </a:lnTo>
                  <a:lnTo>
                    <a:pt x="63" y="42"/>
                  </a:lnTo>
                  <a:lnTo>
                    <a:pt x="65" y="40"/>
                  </a:lnTo>
                  <a:lnTo>
                    <a:pt x="65" y="38"/>
                  </a:lnTo>
                  <a:lnTo>
                    <a:pt x="67" y="36"/>
                  </a:lnTo>
                  <a:lnTo>
                    <a:pt x="68" y="33"/>
                  </a:lnTo>
                  <a:lnTo>
                    <a:pt x="68" y="31"/>
                  </a:lnTo>
                  <a:lnTo>
                    <a:pt x="72" y="24"/>
                  </a:lnTo>
                  <a:lnTo>
                    <a:pt x="74" y="23"/>
                  </a:lnTo>
                  <a:lnTo>
                    <a:pt x="74" y="21"/>
                  </a:lnTo>
                  <a:lnTo>
                    <a:pt x="74" y="19"/>
                  </a:lnTo>
                  <a:lnTo>
                    <a:pt x="74" y="17"/>
                  </a:lnTo>
                  <a:lnTo>
                    <a:pt x="75" y="17"/>
                  </a:lnTo>
                  <a:lnTo>
                    <a:pt x="75" y="14"/>
                  </a:lnTo>
                  <a:lnTo>
                    <a:pt x="75" y="11"/>
                  </a:lnTo>
                  <a:lnTo>
                    <a:pt x="77" y="9"/>
                  </a:lnTo>
                  <a:lnTo>
                    <a:pt x="77" y="7"/>
                  </a:lnTo>
                  <a:lnTo>
                    <a:pt x="79" y="5"/>
                  </a:lnTo>
                  <a:lnTo>
                    <a:pt x="80" y="2"/>
                  </a:lnTo>
                  <a:lnTo>
                    <a:pt x="80" y="0"/>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6" name="Freeform 178"/>
            <p:cNvSpPr>
              <a:spLocks/>
            </p:cNvSpPr>
            <p:nvPr/>
          </p:nvSpPr>
          <p:spPr bwMode="auto">
            <a:xfrm>
              <a:off x="5873046" y="2769981"/>
              <a:ext cx="557213" cy="615950"/>
            </a:xfrm>
            <a:custGeom>
              <a:avLst/>
              <a:gdLst/>
              <a:ahLst/>
              <a:cxnLst>
                <a:cxn ang="0">
                  <a:pos x="351" y="24"/>
                </a:cxn>
                <a:cxn ang="0">
                  <a:pos x="351" y="58"/>
                </a:cxn>
                <a:cxn ang="0">
                  <a:pos x="351" y="94"/>
                </a:cxn>
                <a:cxn ang="0">
                  <a:pos x="349" y="137"/>
                </a:cxn>
                <a:cxn ang="0">
                  <a:pos x="349" y="170"/>
                </a:cxn>
                <a:cxn ang="0">
                  <a:pos x="349" y="218"/>
                </a:cxn>
                <a:cxn ang="0">
                  <a:pos x="347" y="244"/>
                </a:cxn>
                <a:cxn ang="0">
                  <a:pos x="347" y="265"/>
                </a:cxn>
                <a:cxn ang="0">
                  <a:pos x="335" y="277"/>
                </a:cxn>
                <a:cxn ang="0">
                  <a:pos x="308" y="271"/>
                </a:cxn>
                <a:cxn ang="0">
                  <a:pos x="283" y="285"/>
                </a:cxn>
                <a:cxn ang="0">
                  <a:pos x="261" y="290"/>
                </a:cxn>
                <a:cxn ang="0">
                  <a:pos x="228" y="299"/>
                </a:cxn>
                <a:cxn ang="0">
                  <a:pos x="208" y="313"/>
                </a:cxn>
                <a:cxn ang="0">
                  <a:pos x="197" y="332"/>
                </a:cxn>
                <a:cxn ang="0">
                  <a:pos x="167" y="359"/>
                </a:cxn>
                <a:cxn ang="0">
                  <a:pos x="132" y="378"/>
                </a:cxn>
                <a:cxn ang="0">
                  <a:pos x="84" y="388"/>
                </a:cxn>
                <a:cxn ang="0">
                  <a:pos x="53" y="382"/>
                </a:cxn>
                <a:cxn ang="0">
                  <a:pos x="38" y="373"/>
                </a:cxn>
                <a:cxn ang="0">
                  <a:pos x="15" y="356"/>
                </a:cxn>
                <a:cxn ang="0">
                  <a:pos x="13" y="340"/>
                </a:cxn>
                <a:cxn ang="0">
                  <a:pos x="5" y="325"/>
                </a:cxn>
                <a:cxn ang="0">
                  <a:pos x="3" y="290"/>
                </a:cxn>
                <a:cxn ang="0">
                  <a:pos x="3" y="278"/>
                </a:cxn>
                <a:cxn ang="0">
                  <a:pos x="5" y="266"/>
                </a:cxn>
                <a:cxn ang="0">
                  <a:pos x="19" y="261"/>
                </a:cxn>
                <a:cxn ang="0">
                  <a:pos x="17" y="253"/>
                </a:cxn>
                <a:cxn ang="0">
                  <a:pos x="22" y="246"/>
                </a:cxn>
                <a:cxn ang="0">
                  <a:pos x="29" y="239"/>
                </a:cxn>
                <a:cxn ang="0">
                  <a:pos x="36" y="230"/>
                </a:cxn>
                <a:cxn ang="0">
                  <a:pos x="34" y="218"/>
                </a:cxn>
                <a:cxn ang="0">
                  <a:pos x="38" y="213"/>
                </a:cxn>
                <a:cxn ang="0">
                  <a:pos x="39" y="201"/>
                </a:cxn>
                <a:cxn ang="0">
                  <a:pos x="48" y="204"/>
                </a:cxn>
                <a:cxn ang="0">
                  <a:pos x="50" y="197"/>
                </a:cxn>
                <a:cxn ang="0">
                  <a:pos x="50" y="189"/>
                </a:cxn>
                <a:cxn ang="0">
                  <a:pos x="48" y="185"/>
                </a:cxn>
                <a:cxn ang="0">
                  <a:pos x="46" y="177"/>
                </a:cxn>
                <a:cxn ang="0">
                  <a:pos x="50" y="168"/>
                </a:cxn>
                <a:cxn ang="0">
                  <a:pos x="44" y="163"/>
                </a:cxn>
                <a:cxn ang="0">
                  <a:pos x="44" y="154"/>
                </a:cxn>
                <a:cxn ang="0">
                  <a:pos x="36" y="153"/>
                </a:cxn>
                <a:cxn ang="0">
                  <a:pos x="44" y="139"/>
                </a:cxn>
                <a:cxn ang="0">
                  <a:pos x="38" y="130"/>
                </a:cxn>
                <a:cxn ang="0">
                  <a:pos x="38" y="118"/>
                </a:cxn>
                <a:cxn ang="0">
                  <a:pos x="39" y="108"/>
                </a:cxn>
                <a:cxn ang="0">
                  <a:pos x="44" y="80"/>
                </a:cxn>
                <a:cxn ang="0">
                  <a:pos x="46" y="65"/>
                </a:cxn>
                <a:cxn ang="0">
                  <a:pos x="50" y="48"/>
                </a:cxn>
                <a:cxn ang="0">
                  <a:pos x="51" y="31"/>
                </a:cxn>
                <a:cxn ang="0">
                  <a:pos x="53" y="7"/>
                </a:cxn>
                <a:cxn ang="0">
                  <a:pos x="75" y="0"/>
                </a:cxn>
                <a:cxn ang="0">
                  <a:pos x="103" y="1"/>
                </a:cxn>
                <a:cxn ang="0">
                  <a:pos x="132" y="1"/>
                </a:cxn>
                <a:cxn ang="0">
                  <a:pos x="170" y="1"/>
                </a:cxn>
                <a:cxn ang="0">
                  <a:pos x="206" y="1"/>
                </a:cxn>
                <a:cxn ang="0">
                  <a:pos x="263" y="1"/>
                </a:cxn>
                <a:cxn ang="0">
                  <a:pos x="282" y="1"/>
                </a:cxn>
                <a:cxn ang="0">
                  <a:pos x="304" y="1"/>
                </a:cxn>
                <a:cxn ang="0">
                  <a:pos x="330" y="1"/>
                </a:cxn>
              </a:cxnLst>
              <a:rect l="0" t="0" r="r" b="b"/>
              <a:pathLst>
                <a:path w="351" h="388">
                  <a:moveTo>
                    <a:pt x="351" y="1"/>
                  </a:moveTo>
                  <a:lnTo>
                    <a:pt x="351" y="3"/>
                  </a:lnTo>
                  <a:lnTo>
                    <a:pt x="351" y="10"/>
                  </a:lnTo>
                  <a:lnTo>
                    <a:pt x="351" y="12"/>
                  </a:lnTo>
                  <a:lnTo>
                    <a:pt x="351" y="13"/>
                  </a:lnTo>
                  <a:lnTo>
                    <a:pt x="351" y="15"/>
                  </a:lnTo>
                  <a:lnTo>
                    <a:pt x="351" y="22"/>
                  </a:lnTo>
                  <a:lnTo>
                    <a:pt x="351" y="24"/>
                  </a:lnTo>
                  <a:lnTo>
                    <a:pt x="351" y="24"/>
                  </a:lnTo>
                  <a:lnTo>
                    <a:pt x="351" y="24"/>
                  </a:lnTo>
                  <a:lnTo>
                    <a:pt x="351" y="25"/>
                  </a:lnTo>
                  <a:lnTo>
                    <a:pt x="351" y="29"/>
                  </a:lnTo>
                  <a:lnTo>
                    <a:pt x="351" y="32"/>
                  </a:lnTo>
                  <a:lnTo>
                    <a:pt x="351" y="34"/>
                  </a:lnTo>
                  <a:lnTo>
                    <a:pt x="351" y="37"/>
                  </a:lnTo>
                  <a:lnTo>
                    <a:pt x="351" y="41"/>
                  </a:lnTo>
                  <a:lnTo>
                    <a:pt x="351" y="44"/>
                  </a:lnTo>
                  <a:lnTo>
                    <a:pt x="351" y="46"/>
                  </a:lnTo>
                  <a:lnTo>
                    <a:pt x="351" y="48"/>
                  </a:lnTo>
                  <a:lnTo>
                    <a:pt x="351" y="58"/>
                  </a:lnTo>
                  <a:lnTo>
                    <a:pt x="351" y="60"/>
                  </a:lnTo>
                  <a:lnTo>
                    <a:pt x="351" y="68"/>
                  </a:lnTo>
                  <a:lnTo>
                    <a:pt x="351" y="70"/>
                  </a:lnTo>
                  <a:lnTo>
                    <a:pt x="351" y="74"/>
                  </a:lnTo>
                  <a:lnTo>
                    <a:pt x="351" y="80"/>
                  </a:lnTo>
                  <a:lnTo>
                    <a:pt x="351" y="80"/>
                  </a:lnTo>
                  <a:lnTo>
                    <a:pt x="351" y="87"/>
                  </a:lnTo>
                  <a:lnTo>
                    <a:pt x="351" y="93"/>
                  </a:lnTo>
                  <a:lnTo>
                    <a:pt x="351" y="94"/>
                  </a:lnTo>
                  <a:lnTo>
                    <a:pt x="351" y="94"/>
                  </a:lnTo>
                  <a:lnTo>
                    <a:pt x="351" y="98"/>
                  </a:lnTo>
                  <a:lnTo>
                    <a:pt x="351" y="99"/>
                  </a:lnTo>
                  <a:lnTo>
                    <a:pt x="351" y="106"/>
                  </a:lnTo>
                  <a:lnTo>
                    <a:pt x="351" y="110"/>
                  </a:lnTo>
                  <a:lnTo>
                    <a:pt x="351" y="113"/>
                  </a:lnTo>
                  <a:lnTo>
                    <a:pt x="351" y="115"/>
                  </a:lnTo>
                  <a:lnTo>
                    <a:pt x="351" y="122"/>
                  </a:lnTo>
                  <a:lnTo>
                    <a:pt x="351" y="123"/>
                  </a:lnTo>
                  <a:lnTo>
                    <a:pt x="349" y="130"/>
                  </a:lnTo>
                  <a:lnTo>
                    <a:pt x="349" y="137"/>
                  </a:lnTo>
                  <a:lnTo>
                    <a:pt x="349" y="141"/>
                  </a:lnTo>
                  <a:lnTo>
                    <a:pt x="349" y="148"/>
                  </a:lnTo>
                  <a:lnTo>
                    <a:pt x="349" y="151"/>
                  </a:lnTo>
                  <a:lnTo>
                    <a:pt x="349" y="153"/>
                  </a:lnTo>
                  <a:lnTo>
                    <a:pt x="349" y="154"/>
                  </a:lnTo>
                  <a:lnTo>
                    <a:pt x="349" y="156"/>
                  </a:lnTo>
                  <a:lnTo>
                    <a:pt x="349" y="160"/>
                  </a:lnTo>
                  <a:lnTo>
                    <a:pt x="349" y="167"/>
                  </a:lnTo>
                  <a:lnTo>
                    <a:pt x="349" y="168"/>
                  </a:lnTo>
                  <a:lnTo>
                    <a:pt x="349" y="170"/>
                  </a:lnTo>
                  <a:lnTo>
                    <a:pt x="349" y="173"/>
                  </a:lnTo>
                  <a:lnTo>
                    <a:pt x="349" y="175"/>
                  </a:lnTo>
                  <a:lnTo>
                    <a:pt x="349" y="184"/>
                  </a:lnTo>
                  <a:lnTo>
                    <a:pt x="349" y="185"/>
                  </a:lnTo>
                  <a:lnTo>
                    <a:pt x="349" y="185"/>
                  </a:lnTo>
                  <a:lnTo>
                    <a:pt x="349" y="189"/>
                  </a:lnTo>
                  <a:lnTo>
                    <a:pt x="349" y="197"/>
                  </a:lnTo>
                  <a:lnTo>
                    <a:pt x="349" y="201"/>
                  </a:lnTo>
                  <a:lnTo>
                    <a:pt x="349" y="208"/>
                  </a:lnTo>
                  <a:lnTo>
                    <a:pt x="349" y="218"/>
                  </a:lnTo>
                  <a:lnTo>
                    <a:pt x="349" y="222"/>
                  </a:lnTo>
                  <a:lnTo>
                    <a:pt x="349" y="223"/>
                  </a:lnTo>
                  <a:lnTo>
                    <a:pt x="349" y="225"/>
                  </a:lnTo>
                  <a:lnTo>
                    <a:pt x="349" y="230"/>
                  </a:lnTo>
                  <a:lnTo>
                    <a:pt x="349" y="237"/>
                  </a:lnTo>
                  <a:lnTo>
                    <a:pt x="349" y="239"/>
                  </a:lnTo>
                  <a:lnTo>
                    <a:pt x="349" y="240"/>
                  </a:lnTo>
                  <a:lnTo>
                    <a:pt x="349" y="242"/>
                  </a:lnTo>
                  <a:lnTo>
                    <a:pt x="347" y="242"/>
                  </a:lnTo>
                  <a:lnTo>
                    <a:pt x="347" y="244"/>
                  </a:lnTo>
                  <a:lnTo>
                    <a:pt x="347" y="246"/>
                  </a:lnTo>
                  <a:lnTo>
                    <a:pt x="347" y="247"/>
                  </a:lnTo>
                  <a:lnTo>
                    <a:pt x="347" y="249"/>
                  </a:lnTo>
                  <a:lnTo>
                    <a:pt x="347" y="251"/>
                  </a:lnTo>
                  <a:lnTo>
                    <a:pt x="347" y="253"/>
                  </a:lnTo>
                  <a:lnTo>
                    <a:pt x="347" y="254"/>
                  </a:lnTo>
                  <a:lnTo>
                    <a:pt x="347" y="256"/>
                  </a:lnTo>
                  <a:lnTo>
                    <a:pt x="347" y="258"/>
                  </a:lnTo>
                  <a:lnTo>
                    <a:pt x="347" y="261"/>
                  </a:lnTo>
                  <a:lnTo>
                    <a:pt x="347" y="265"/>
                  </a:lnTo>
                  <a:lnTo>
                    <a:pt x="347" y="266"/>
                  </a:lnTo>
                  <a:lnTo>
                    <a:pt x="347" y="270"/>
                  </a:lnTo>
                  <a:lnTo>
                    <a:pt x="347" y="271"/>
                  </a:lnTo>
                  <a:lnTo>
                    <a:pt x="347" y="273"/>
                  </a:lnTo>
                  <a:lnTo>
                    <a:pt x="347" y="275"/>
                  </a:lnTo>
                  <a:lnTo>
                    <a:pt x="345" y="275"/>
                  </a:lnTo>
                  <a:lnTo>
                    <a:pt x="344" y="275"/>
                  </a:lnTo>
                  <a:lnTo>
                    <a:pt x="342" y="277"/>
                  </a:lnTo>
                  <a:lnTo>
                    <a:pt x="340" y="277"/>
                  </a:lnTo>
                  <a:lnTo>
                    <a:pt x="335" y="277"/>
                  </a:lnTo>
                  <a:lnTo>
                    <a:pt x="332" y="275"/>
                  </a:lnTo>
                  <a:lnTo>
                    <a:pt x="330" y="275"/>
                  </a:lnTo>
                  <a:lnTo>
                    <a:pt x="328" y="275"/>
                  </a:lnTo>
                  <a:lnTo>
                    <a:pt x="325" y="273"/>
                  </a:lnTo>
                  <a:lnTo>
                    <a:pt x="323" y="273"/>
                  </a:lnTo>
                  <a:lnTo>
                    <a:pt x="321" y="273"/>
                  </a:lnTo>
                  <a:lnTo>
                    <a:pt x="321" y="271"/>
                  </a:lnTo>
                  <a:lnTo>
                    <a:pt x="318" y="271"/>
                  </a:lnTo>
                  <a:lnTo>
                    <a:pt x="316" y="271"/>
                  </a:lnTo>
                  <a:lnTo>
                    <a:pt x="308" y="271"/>
                  </a:lnTo>
                  <a:lnTo>
                    <a:pt x="306" y="271"/>
                  </a:lnTo>
                  <a:lnTo>
                    <a:pt x="302" y="271"/>
                  </a:lnTo>
                  <a:lnTo>
                    <a:pt x="301" y="273"/>
                  </a:lnTo>
                  <a:lnTo>
                    <a:pt x="299" y="273"/>
                  </a:lnTo>
                  <a:lnTo>
                    <a:pt x="296" y="273"/>
                  </a:lnTo>
                  <a:lnTo>
                    <a:pt x="296" y="275"/>
                  </a:lnTo>
                  <a:lnTo>
                    <a:pt x="292" y="277"/>
                  </a:lnTo>
                  <a:lnTo>
                    <a:pt x="290" y="277"/>
                  </a:lnTo>
                  <a:lnTo>
                    <a:pt x="285" y="283"/>
                  </a:lnTo>
                  <a:lnTo>
                    <a:pt x="283" y="285"/>
                  </a:lnTo>
                  <a:lnTo>
                    <a:pt x="282" y="287"/>
                  </a:lnTo>
                  <a:lnTo>
                    <a:pt x="280" y="289"/>
                  </a:lnTo>
                  <a:lnTo>
                    <a:pt x="278" y="289"/>
                  </a:lnTo>
                  <a:lnTo>
                    <a:pt x="278" y="290"/>
                  </a:lnTo>
                  <a:lnTo>
                    <a:pt x="277" y="290"/>
                  </a:lnTo>
                  <a:lnTo>
                    <a:pt x="275" y="290"/>
                  </a:lnTo>
                  <a:lnTo>
                    <a:pt x="271" y="290"/>
                  </a:lnTo>
                  <a:lnTo>
                    <a:pt x="268" y="290"/>
                  </a:lnTo>
                  <a:lnTo>
                    <a:pt x="266" y="290"/>
                  </a:lnTo>
                  <a:lnTo>
                    <a:pt x="261" y="290"/>
                  </a:lnTo>
                  <a:lnTo>
                    <a:pt x="259" y="290"/>
                  </a:lnTo>
                  <a:lnTo>
                    <a:pt x="256" y="290"/>
                  </a:lnTo>
                  <a:lnTo>
                    <a:pt x="253" y="290"/>
                  </a:lnTo>
                  <a:lnTo>
                    <a:pt x="249" y="290"/>
                  </a:lnTo>
                  <a:lnTo>
                    <a:pt x="242" y="292"/>
                  </a:lnTo>
                  <a:lnTo>
                    <a:pt x="235" y="296"/>
                  </a:lnTo>
                  <a:lnTo>
                    <a:pt x="234" y="297"/>
                  </a:lnTo>
                  <a:lnTo>
                    <a:pt x="232" y="297"/>
                  </a:lnTo>
                  <a:lnTo>
                    <a:pt x="230" y="299"/>
                  </a:lnTo>
                  <a:lnTo>
                    <a:pt x="228" y="299"/>
                  </a:lnTo>
                  <a:lnTo>
                    <a:pt x="223" y="301"/>
                  </a:lnTo>
                  <a:lnTo>
                    <a:pt x="218" y="304"/>
                  </a:lnTo>
                  <a:lnTo>
                    <a:pt x="216" y="304"/>
                  </a:lnTo>
                  <a:lnTo>
                    <a:pt x="215" y="306"/>
                  </a:lnTo>
                  <a:lnTo>
                    <a:pt x="215" y="306"/>
                  </a:lnTo>
                  <a:lnTo>
                    <a:pt x="211" y="309"/>
                  </a:lnTo>
                  <a:lnTo>
                    <a:pt x="210" y="309"/>
                  </a:lnTo>
                  <a:lnTo>
                    <a:pt x="210" y="311"/>
                  </a:lnTo>
                  <a:lnTo>
                    <a:pt x="208" y="311"/>
                  </a:lnTo>
                  <a:lnTo>
                    <a:pt x="208" y="313"/>
                  </a:lnTo>
                  <a:lnTo>
                    <a:pt x="206" y="314"/>
                  </a:lnTo>
                  <a:lnTo>
                    <a:pt x="206" y="316"/>
                  </a:lnTo>
                  <a:lnTo>
                    <a:pt x="204" y="318"/>
                  </a:lnTo>
                  <a:lnTo>
                    <a:pt x="203" y="320"/>
                  </a:lnTo>
                  <a:lnTo>
                    <a:pt x="203" y="321"/>
                  </a:lnTo>
                  <a:lnTo>
                    <a:pt x="201" y="323"/>
                  </a:lnTo>
                  <a:lnTo>
                    <a:pt x="199" y="326"/>
                  </a:lnTo>
                  <a:lnTo>
                    <a:pt x="199" y="328"/>
                  </a:lnTo>
                  <a:lnTo>
                    <a:pt x="199" y="330"/>
                  </a:lnTo>
                  <a:lnTo>
                    <a:pt x="197" y="332"/>
                  </a:lnTo>
                  <a:lnTo>
                    <a:pt x="192" y="337"/>
                  </a:lnTo>
                  <a:lnTo>
                    <a:pt x="191" y="337"/>
                  </a:lnTo>
                  <a:lnTo>
                    <a:pt x="189" y="339"/>
                  </a:lnTo>
                  <a:lnTo>
                    <a:pt x="187" y="340"/>
                  </a:lnTo>
                  <a:lnTo>
                    <a:pt x="184" y="344"/>
                  </a:lnTo>
                  <a:lnTo>
                    <a:pt x="180" y="347"/>
                  </a:lnTo>
                  <a:lnTo>
                    <a:pt x="177" y="351"/>
                  </a:lnTo>
                  <a:lnTo>
                    <a:pt x="170" y="357"/>
                  </a:lnTo>
                  <a:lnTo>
                    <a:pt x="168" y="359"/>
                  </a:lnTo>
                  <a:lnTo>
                    <a:pt x="167" y="359"/>
                  </a:lnTo>
                  <a:lnTo>
                    <a:pt x="165" y="359"/>
                  </a:lnTo>
                  <a:lnTo>
                    <a:pt x="161" y="361"/>
                  </a:lnTo>
                  <a:lnTo>
                    <a:pt x="154" y="363"/>
                  </a:lnTo>
                  <a:lnTo>
                    <a:pt x="153" y="363"/>
                  </a:lnTo>
                  <a:lnTo>
                    <a:pt x="149" y="364"/>
                  </a:lnTo>
                  <a:lnTo>
                    <a:pt x="146" y="366"/>
                  </a:lnTo>
                  <a:lnTo>
                    <a:pt x="144" y="366"/>
                  </a:lnTo>
                  <a:lnTo>
                    <a:pt x="141" y="370"/>
                  </a:lnTo>
                  <a:lnTo>
                    <a:pt x="136" y="375"/>
                  </a:lnTo>
                  <a:lnTo>
                    <a:pt x="132" y="378"/>
                  </a:lnTo>
                  <a:lnTo>
                    <a:pt x="130" y="380"/>
                  </a:lnTo>
                  <a:lnTo>
                    <a:pt x="125" y="382"/>
                  </a:lnTo>
                  <a:lnTo>
                    <a:pt x="120" y="383"/>
                  </a:lnTo>
                  <a:lnTo>
                    <a:pt x="113" y="385"/>
                  </a:lnTo>
                  <a:lnTo>
                    <a:pt x="106" y="387"/>
                  </a:lnTo>
                  <a:lnTo>
                    <a:pt x="105" y="388"/>
                  </a:lnTo>
                  <a:lnTo>
                    <a:pt x="101" y="388"/>
                  </a:lnTo>
                  <a:lnTo>
                    <a:pt x="98" y="388"/>
                  </a:lnTo>
                  <a:lnTo>
                    <a:pt x="89" y="388"/>
                  </a:lnTo>
                  <a:lnTo>
                    <a:pt x="84" y="388"/>
                  </a:lnTo>
                  <a:lnTo>
                    <a:pt x="77" y="387"/>
                  </a:lnTo>
                  <a:lnTo>
                    <a:pt x="75" y="387"/>
                  </a:lnTo>
                  <a:lnTo>
                    <a:pt x="68" y="385"/>
                  </a:lnTo>
                  <a:lnTo>
                    <a:pt x="63" y="385"/>
                  </a:lnTo>
                  <a:lnTo>
                    <a:pt x="62" y="383"/>
                  </a:lnTo>
                  <a:lnTo>
                    <a:pt x="60" y="383"/>
                  </a:lnTo>
                  <a:lnTo>
                    <a:pt x="58" y="382"/>
                  </a:lnTo>
                  <a:lnTo>
                    <a:pt x="56" y="382"/>
                  </a:lnTo>
                  <a:lnTo>
                    <a:pt x="55" y="382"/>
                  </a:lnTo>
                  <a:lnTo>
                    <a:pt x="53" y="382"/>
                  </a:lnTo>
                  <a:lnTo>
                    <a:pt x="51" y="380"/>
                  </a:lnTo>
                  <a:lnTo>
                    <a:pt x="50" y="380"/>
                  </a:lnTo>
                  <a:lnTo>
                    <a:pt x="50" y="378"/>
                  </a:lnTo>
                  <a:lnTo>
                    <a:pt x="48" y="378"/>
                  </a:lnTo>
                  <a:lnTo>
                    <a:pt x="46" y="376"/>
                  </a:lnTo>
                  <a:lnTo>
                    <a:pt x="44" y="376"/>
                  </a:lnTo>
                  <a:lnTo>
                    <a:pt x="43" y="376"/>
                  </a:lnTo>
                  <a:lnTo>
                    <a:pt x="41" y="375"/>
                  </a:lnTo>
                  <a:lnTo>
                    <a:pt x="39" y="375"/>
                  </a:lnTo>
                  <a:lnTo>
                    <a:pt x="38" y="373"/>
                  </a:lnTo>
                  <a:lnTo>
                    <a:pt x="36" y="373"/>
                  </a:lnTo>
                  <a:lnTo>
                    <a:pt x="34" y="373"/>
                  </a:lnTo>
                  <a:lnTo>
                    <a:pt x="34" y="371"/>
                  </a:lnTo>
                  <a:lnTo>
                    <a:pt x="32" y="370"/>
                  </a:lnTo>
                  <a:lnTo>
                    <a:pt x="31" y="368"/>
                  </a:lnTo>
                  <a:lnTo>
                    <a:pt x="27" y="366"/>
                  </a:lnTo>
                  <a:lnTo>
                    <a:pt x="24" y="364"/>
                  </a:lnTo>
                  <a:lnTo>
                    <a:pt x="22" y="364"/>
                  </a:lnTo>
                  <a:lnTo>
                    <a:pt x="19" y="359"/>
                  </a:lnTo>
                  <a:lnTo>
                    <a:pt x="15" y="356"/>
                  </a:lnTo>
                  <a:lnTo>
                    <a:pt x="13" y="354"/>
                  </a:lnTo>
                  <a:lnTo>
                    <a:pt x="13" y="352"/>
                  </a:lnTo>
                  <a:lnTo>
                    <a:pt x="13" y="351"/>
                  </a:lnTo>
                  <a:lnTo>
                    <a:pt x="13" y="351"/>
                  </a:lnTo>
                  <a:lnTo>
                    <a:pt x="13" y="349"/>
                  </a:lnTo>
                  <a:lnTo>
                    <a:pt x="13" y="347"/>
                  </a:lnTo>
                  <a:lnTo>
                    <a:pt x="13" y="345"/>
                  </a:lnTo>
                  <a:lnTo>
                    <a:pt x="13" y="344"/>
                  </a:lnTo>
                  <a:lnTo>
                    <a:pt x="13" y="342"/>
                  </a:lnTo>
                  <a:lnTo>
                    <a:pt x="13" y="340"/>
                  </a:lnTo>
                  <a:lnTo>
                    <a:pt x="13" y="339"/>
                  </a:lnTo>
                  <a:lnTo>
                    <a:pt x="13" y="337"/>
                  </a:lnTo>
                  <a:lnTo>
                    <a:pt x="13" y="335"/>
                  </a:lnTo>
                  <a:lnTo>
                    <a:pt x="12" y="333"/>
                  </a:lnTo>
                  <a:lnTo>
                    <a:pt x="10" y="332"/>
                  </a:lnTo>
                  <a:lnTo>
                    <a:pt x="10" y="330"/>
                  </a:lnTo>
                  <a:lnTo>
                    <a:pt x="8" y="328"/>
                  </a:lnTo>
                  <a:lnTo>
                    <a:pt x="7" y="326"/>
                  </a:lnTo>
                  <a:lnTo>
                    <a:pt x="5" y="326"/>
                  </a:lnTo>
                  <a:lnTo>
                    <a:pt x="5" y="325"/>
                  </a:lnTo>
                  <a:lnTo>
                    <a:pt x="3" y="325"/>
                  </a:lnTo>
                  <a:lnTo>
                    <a:pt x="3" y="323"/>
                  </a:lnTo>
                  <a:lnTo>
                    <a:pt x="3" y="321"/>
                  </a:lnTo>
                  <a:lnTo>
                    <a:pt x="3" y="316"/>
                  </a:lnTo>
                  <a:lnTo>
                    <a:pt x="3" y="313"/>
                  </a:lnTo>
                  <a:lnTo>
                    <a:pt x="3" y="304"/>
                  </a:lnTo>
                  <a:lnTo>
                    <a:pt x="3" y="302"/>
                  </a:lnTo>
                  <a:lnTo>
                    <a:pt x="3" y="297"/>
                  </a:lnTo>
                  <a:lnTo>
                    <a:pt x="3" y="290"/>
                  </a:lnTo>
                  <a:lnTo>
                    <a:pt x="3" y="290"/>
                  </a:lnTo>
                  <a:lnTo>
                    <a:pt x="3" y="289"/>
                  </a:lnTo>
                  <a:lnTo>
                    <a:pt x="3" y="289"/>
                  </a:lnTo>
                  <a:lnTo>
                    <a:pt x="1" y="289"/>
                  </a:lnTo>
                  <a:lnTo>
                    <a:pt x="1" y="285"/>
                  </a:lnTo>
                  <a:lnTo>
                    <a:pt x="0" y="283"/>
                  </a:lnTo>
                  <a:lnTo>
                    <a:pt x="0" y="282"/>
                  </a:lnTo>
                  <a:lnTo>
                    <a:pt x="0" y="280"/>
                  </a:lnTo>
                  <a:lnTo>
                    <a:pt x="1" y="280"/>
                  </a:lnTo>
                  <a:lnTo>
                    <a:pt x="1" y="278"/>
                  </a:lnTo>
                  <a:lnTo>
                    <a:pt x="3" y="278"/>
                  </a:lnTo>
                  <a:lnTo>
                    <a:pt x="3" y="278"/>
                  </a:lnTo>
                  <a:lnTo>
                    <a:pt x="5" y="278"/>
                  </a:lnTo>
                  <a:lnTo>
                    <a:pt x="5" y="277"/>
                  </a:lnTo>
                  <a:lnTo>
                    <a:pt x="5" y="277"/>
                  </a:lnTo>
                  <a:lnTo>
                    <a:pt x="5" y="275"/>
                  </a:lnTo>
                  <a:lnTo>
                    <a:pt x="5" y="273"/>
                  </a:lnTo>
                  <a:lnTo>
                    <a:pt x="3" y="271"/>
                  </a:lnTo>
                  <a:lnTo>
                    <a:pt x="3" y="270"/>
                  </a:lnTo>
                  <a:lnTo>
                    <a:pt x="5" y="268"/>
                  </a:lnTo>
                  <a:lnTo>
                    <a:pt x="5" y="266"/>
                  </a:lnTo>
                  <a:lnTo>
                    <a:pt x="7" y="266"/>
                  </a:lnTo>
                  <a:lnTo>
                    <a:pt x="7" y="265"/>
                  </a:lnTo>
                  <a:lnTo>
                    <a:pt x="8" y="265"/>
                  </a:lnTo>
                  <a:lnTo>
                    <a:pt x="10" y="265"/>
                  </a:lnTo>
                  <a:lnTo>
                    <a:pt x="12" y="265"/>
                  </a:lnTo>
                  <a:lnTo>
                    <a:pt x="13" y="265"/>
                  </a:lnTo>
                  <a:lnTo>
                    <a:pt x="13" y="263"/>
                  </a:lnTo>
                  <a:lnTo>
                    <a:pt x="15" y="263"/>
                  </a:lnTo>
                  <a:lnTo>
                    <a:pt x="17" y="261"/>
                  </a:lnTo>
                  <a:lnTo>
                    <a:pt x="19" y="261"/>
                  </a:lnTo>
                  <a:lnTo>
                    <a:pt x="19" y="261"/>
                  </a:lnTo>
                  <a:lnTo>
                    <a:pt x="19" y="261"/>
                  </a:lnTo>
                  <a:lnTo>
                    <a:pt x="19" y="259"/>
                  </a:lnTo>
                  <a:lnTo>
                    <a:pt x="19" y="258"/>
                  </a:lnTo>
                  <a:lnTo>
                    <a:pt x="19" y="258"/>
                  </a:lnTo>
                  <a:lnTo>
                    <a:pt x="19" y="258"/>
                  </a:lnTo>
                  <a:lnTo>
                    <a:pt x="19" y="256"/>
                  </a:lnTo>
                  <a:lnTo>
                    <a:pt x="17" y="256"/>
                  </a:lnTo>
                  <a:lnTo>
                    <a:pt x="17" y="254"/>
                  </a:lnTo>
                  <a:lnTo>
                    <a:pt x="17" y="253"/>
                  </a:lnTo>
                  <a:lnTo>
                    <a:pt x="19" y="253"/>
                  </a:lnTo>
                  <a:lnTo>
                    <a:pt x="19" y="253"/>
                  </a:lnTo>
                  <a:lnTo>
                    <a:pt x="20" y="253"/>
                  </a:lnTo>
                  <a:lnTo>
                    <a:pt x="22" y="253"/>
                  </a:lnTo>
                  <a:lnTo>
                    <a:pt x="24" y="251"/>
                  </a:lnTo>
                  <a:lnTo>
                    <a:pt x="25" y="251"/>
                  </a:lnTo>
                  <a:lnTo>
                    <a:pt x="25" y="249"/>
                  </a:lnTo>
                  <a:lnTo>
                    <a:pt x="25" y="247"/>
                  </a:lnTo>
                  <a:lnTo>
                    <a:pt x="24" y="246"/>
                  </a:lnTo>
                  <a:lnTo>
                    <a:pt x="22" y="246"/>
                  </a:lnTo>
                  <a:lnTo>
                    <a:pt x="22" y="246"/>
                  </a:lnTo>
                  <a:lnTo>
                    <a:pt x="22" y="244"/>
                  </a:lnTo>
                  <a:lnTo>
                    <a:pt x="24" y="244"/>
                  </a:lnTo>
                  <a:lnTo>
                    <a:pt x="25" y="244"/>
                  </a:lnTo>
                  <a:lnTo>
                    <a:pt x="25" y="242"/>
                  </a:lnTo>
                  <a:lnTo>
                    <a:pt x="24" y="242"/>
                  </a:lnTo>
                  <a:lnTo>
                    <a:pt x="24" y="240"/>
                  </a:lnTo>
                  <a:lnTo>
                    <a:pt x="25" y="240"/>
                  </a:lnTo>
                  <a:lnTo>
                    <a:pt x="27" y="239"/>
                  </a:lnTo>
                  <a:lnTo>
                    <a:pt x="29" y="239"/>
                  </a:lnTo>
                  <a:lnTo>
                    <a:pt x="29" y="237"/>
                  </a:lnTo>
                  <a:lnTo>
                    <a:pt x="29" y="235"/>
                  </a:lnTo>
                  <a:lnTo>
                    <a:pt x="31" y="234"/>
                  </a:lnTo>
                  <a:lnTo>
                    <a:pt x="32" y="230"/>
                  </a:lnTo>
                  <a:lnTo>
                    <a:pt x="32" y="230"/>
                  </a:lnTo>
                  <a:lnTo>
                    <a:pt x="32" y="230"/>
                  </a:lnTo>
                  <a:lnTo>
                    <a:pt x="34" y="230"/>
                  </a:lnTo>
                  <a:lnTo>
                    <a:pt x="34" y="230"/>
                  </a:lnTo>
                  <a:lnTo>
                    <a:pt x="36" y="230"/>
                  </a:lnTo>
                  <a:lnTo>
                    <a:pt x="36" y="230"/>
                  </a:lnTo>
                  <a:lnTo>
                    <a:pt x="36" y="228"/>
                  </a:lnTo>
                  <a:lnTo>
                    <a:pt x="36" y="227"/>
                  </a:lnTo>
                  <a:lnTo>
                    <a:pt x="36" y="225"/>
                  </a:lnTo>
                  <a:lnTo>
                    <a:pt x="36" y="223"/>
                  </a:lnTo>
                  <a:lnTo>
                    <a:pt x="36" y="222"/>
                  </a:lnTo>
                  <a:lnTo>
                    <a:pt x="34" y="222"/>
                  </a:lnTo>
                  <a:lnTo>
                    <a:pt x="34" y="222"/>
                  </a:lnTo>
                  <a:lnTo>
                    <a:pt x="34" y="220"/>
                  </a:lnTo>
                  <a:lnTo>
                    <a:pt x="34" y="220"/>
                  </a:lnTo>
                  <a:lnTo>
                    <a:pt x="34" y="218"/>
                  </a:lnTo>
                  <a:lnTo>
                    <a:pt x="36" y="218"/>
                  </a:lnTo>
                  <a:lnTo>
                    <a:pt x="36" y="216"/>
                  </a:lnTo>
                  <a:lnTo>
                    <a:pt x="34" y="216"/>
                  </a:lnTo>
                  <a:lnTo>
                    <a:pt x="34" y="215"/>
                  </a:lnTo>
                  <a:lnTo>
                    <a:pt x="36" y="215"/>
                  </a:lnTo>
                  <a:lnTo>
                    <a:pt x="38" y="215"/>
                  </a:lnTo>
                  <a:lnTo>
                    <a:pt x="39" y="215"/>
                  </a:lnTo>
                  <a:lnTo>
                    <a:pt x="39" y="215"/>
                  </a:lnTo>
                  <a:lnTo>
                    <a:pt x="38" y="215"/>
                  </a:lnTo>
                  <a:lnTo>
                    <a:pt x="38" y="213"/>
                  </a:lnTo>
                  <a:lnTo>
                    <a:pt x="38" y="211"/>
                  </a:lnTo>
                  <a:lnTo>
                    <a:pt x="39" y="210"/>
                  </a:lnTo>
                  <a:lnTo>
                    <a:pt x="41" y="210"/>
                  </a:lnTo>
                  <a:lnTo>
                    <a:pt x="41" y="208"/>
                  </a:lnTo>
                  <a:lnTo>
                    <a:pt x="41" y="206"/>
                  </a:lnTo>
                  <a:lnTo>
                    <a:pt x="39" y="206"/>
                  </a:lnTo>
                  <a:lnTo>
                    <a:pt x="39" y="204"/>
                  </a:lnTo>
                  <a:lnTo>
                    <a:pt x="38" y="203"/>
                  </a:lnTo>
                  <a:lnTo>
                    <a:pt x="39" y="201"/>
                  </a:lnTo>
                  <a:lnTo>
                    <a:pt x="39" y="201"/>
                  </a:lnTo>
                  <a:lnTo>
                    <a:pt x="41" y="201"/>
                  </a:lnTo>
                  <a:lnTo>
                    <a:pt x="43" y="201"/>
                  </a:lnTo>
                  <a:lnTo>
                    <a:pt x="43" y="201"/>
                  </a:lnTo>
                  <a:lnTo>
                    <a:pt x="43" y="203"/>
                  </a:lnTo>
                  <a:lnTo>
                    <a:pt x="43" y="204"/>
                  </a:lnTo>
                  <a:lnTo>
                    <a:pt x="44" y="204"/>
                  </a:lnTo>
                  <a:lnTo>
                    <a:pt x="44" y="206"/>
                  </a:lnTo>
                  <a:lnTo>
                    <a:pt x="46" y="206"/>
                  </a:lnTo>
                  <a:lnTo>
                    <a:pt x="48" y="206"/>
                  </a:lnTo>
                  <a:lnTo>
                    <a:pt x="48" y="204"/>
                  </a:lnTo>
                  <a:lnTo>
                    <a:pt x="46" y="203"/>
                  </a:lnTo>
                  <a:lnTo>
                    <a:pt x="44" y="203"/>
                  </a:lnTo>
                  <a:lnTo>
                    <a:pt x="44" y="201"/>
                  </a:lnTo>
                  <a:lnTo>
                    <a:pt x="44" y="201"/>
                  </a:lnTo>
                  <a:lnTo>
                    <a:pt x="43" y="201"/>
                  </a:lnTo>
                  <a:lnTo>
                    <a:pt x="43" y="199"/>
                  </a:lnTo>
                  <a:lnTo>
                    <a:pt x="44" y="199"/>
                  </a:lnTo>
                  <a:lnTo>
                    <a:pt x="46" y="199"/>
                  </a:lnTo>
                  <a:lnTo>
                    <a:pt x="48" y="199"/>
                  </a:lnTo>
                  <a:lnTo>
                    <a:pt x="50" y="197"/>
                  </a:lnTo>
                  <a:lnTo>
                    <a:pt x="50" y="196"/>
                  </a:lnTo>
                  <a:lnTo>
                    <a:pt x="48" y="194"/>
                  </a:lnTo>
                  <a:lnTo>
                    <a:pt x="50" y="192"/>
                  </a:lnTo>
                  <a:lnTo>
                    <a:pt x="50" y="194"/>
                  </a:lnTo>
                  <a:lnTo>
                    <a:pt x="50" y="194"/>
                  </a:lnTo>
                  <a:lnTo>
                    <a:pt x="51" y="194"/>
                  </a:lnTo>
                  <a:lnTo>
                    <a:pt x="51" y="192"/>
                  </a:lnTo>
                  <a:lnTo>
                    <a:pt x="51" y="191"/>
                  </a:lnTo>
                  <a:lnTo>
                    <a:pt x="51" y="189"/>
                  </a:lnTo>
                  <a:lnTo>
                    <a:pt x="50" y="189"/>
                  </a:lnTo>
                  <a:lnTo>
                    <a:pt x="50" y="191"/>
                  </a:lnTo>
                  <a:lnTo>
                    <a:pt x="50" y="191"/>
                  </a:lnTo>
                  <a:lnTo>
                    <a:pt x="48" y="191"/>
                  </a:lnTo>
                  <a:lnTo>
                    <a:pt x="48" y="192"/>
                  </a:lnTo>
                  <a:lnTo>
                    <a:pt x="46" y="192"/>
                  </a:lnTo>
                  <a:lnTo>
                    <a:pt x="46" y="191"/>
                  </a:lnTo>
                  <a:lnTo>
                    <a:pt x="48" y="189"/>
                  </a:lnTo>
                  <a:lnTo>
                    <a:pt x="48" y="187"/>
                  </a:lnTo>
                  <a:lnTo>
                    <a:pt x="48" y="185"/>
                  </a:lnTo>
                  <a:lnTo>
                    <a:pt x="48" y="185"/>
                  </a:lnTo>
                  <a:lnTo>
                    <a:pt x="46" y="185"/>
                  </a:lnTo>
                  <a:lnTo>
                    <a:pt x="44" y="185"/>
                  </a:lnTo>
                  <a:lnTo>
                    <a:pt x="43" y="185"/>
                  </a:lnTo>
                  <a:lnTo>
                    <a:pt x="43" y="184"/>
                  </a:lnTo>
                  <a:lnTo>
                    <a:pt x="41" y="182"/>
                  </a:lnTo>
                  <a:lnTo>
                    <a:pt x="43" y="182"/>
                  </a:lnTo>
                  <a:lnTo>
                    <a:pt x="43" y="180"/>
                  </a:lnTo>
                  <a:lnTo>
                    <a:pt x="44" y="180"/>
                  </a:lnTo>
                  <a:lnTo>
                    <a:pt x="46" y="179"/>
                  </a:lnTo>
                  <a:lnTo>
                    <a:pt x="46" y="177"/>
                  </a:lnTo>
                  <a:lnTo>
                    <a:pt x="44" y="175"/>
                  </a:lnTo>
                  <a:lnTo>
                    <a:pt x="43" y="175"/>
                  </a:lnTo>
                  <a:lnTo>
                    <a:pt x="43" y="173"/>
                  </a:lnTo>
                  <a:lnTo>
                    <a:pt x="43" y="172"/>
                  </a:lnTo>
                  <a:lnTo>
                    <a:pt x="44" y="172"/>
                  </a:lnTo>
                  <a:lnTo>
                    <a:pt x="46" y="172"/>
                  </a:lnTo>
                  <a:lnTo>
                    <a:pt x="48" y="170"/>
                  </a:lnTo>
                  <a:lnTo>
                    <a:pt x="50" y="170"/>
                  </a:lnTo>
                  <a:lnTo>
                    <a:pt x="50" y="170"/>
                  </a:lnTo>
                  <a:lnTo>
                    <a:pt x="50" y="168"/>
                  </a:lnTo>
                  <a:lnTo>
                    <a:pt x="48" y="168"/>
                  </a:lnTo>
                  <a:lnTo>
                    <a:pt x="46" y="168"/>
                  </a:lnTo>
                  <a:lnTo>
                    <a:pt x="44" y="168"/>
                  </a:lnTo>
                  <a:lnTo>
                    <a:pt x="44" y="167"/>
                  </a:lnTo>
                  <a:lnTo>
                    <a:pt x="46" y="167"/>
                  </a:lnTo>
                  <a:lnTo>
                    <a:pt x="46" y="165"/>
                  </a:lnTo>
                  <a:lnTo>
                    <a:pt x="46" y="163"/>
                  </a:lnTo>
                  <a:lnTo>
                    <a:pt x="46" y="161"/>
                  </a:lnTo>
                  <a:lnTo>
                    <a:pt x="44" y="161"/>
                  </a:lnTo>
                  <a:lnTo>
                    <a:pt x="44" y="163"/>
                  </a:lnTo>
                  <a:lnTo>
                    <a:pt x="43" y="163"/>
                  </a:lnTo>
                  <a:lnTo>
                    <a:pt x="41" y="163"/>
                  </a:lnTo>
                  <a:lnTo>
                    <a:pt x="41" y="161"/>
                  </a:lnTo>
                  <a:lnTo>
                    <a:pt x="41" y="160"/>
                  </a:lnTo>
                  <a:lnTo>
                    <a:pt x="43" y="160"/>
                  </a:lnTo>
                  <a:lnTo>
                    <a:pt x="44" y="160"/>
                  </a:lnTo>
                  <a:lnTo>
                    <a:pt x="44" y="158"/>
                  </a:lnTo>
                  <a:lnTo>
                    <a:pt x="44" y="156"/>
                  </a:lnTo>
                  <a:lnTo>
                    <a:pt x="44" y="154"/>
                  </a:lnTo>
                  <a:lnTo>
                    <a:pt x="44" y="154"/>
                  </a:lnTo>
                  <a:lnTo>
                    <a:pt x="44" y="153"/>
                  </a:lnTo>
                  <a:lnTo>
                    <a:pt x="43" y="153"/>
                  </a:lnTo>
                  <a:lnTo>
                    <a:pt x="43" y="151"/>
                  </a:lnTo>
                  <a:lnTo>
                    <a:pt x="41" y="153"/>
                  </a:lnTo>
                  <a:lnTo>
                    <a:pt x="39" y="154"/>
                  </a:lnTo>
                  <a:lnTo>
                    <a:pt x="38" y="154"/>
                  </a:lnTo>
                  <a:lnTo>
                    <a:pt x="36" y="154"/>
                  </a:lnTo>
                  <a:lnTo>
                    <a:pt x="36" y="153"/>
                  </a:lnTo>
                  <a:lnTo>
                    <a:pt x="36" y="154"/>
                  </a:lnTo>
                  <a:lnTo>
                    <a:pt x="36" y="153"/>
                  </a:lnTo>
                  <a:lnTo>
                    <a:pt x="38" y="151"/>
                  </a:lnTo>
                  <a:lnTo>
                    <a:pt x="38" y="149"/>
                  </a:lnTo>
                  <a:lnTo>
                    <a:pt x="38" y="148"/>
                  </a:lnTo>
                  <a:lnTo>
                    <a:pt x="38" y="146"/>
                  </a:lnTo>
                  <a:lnTo>
                    <a:pt x="39" y="142"/>
                  </a:lnTo>
                  <a:lnTo>
                    <a:pt x="39" y="141"/>
                  </a:lnTo>
                  <a:lnTo>
                    <a:pt x="41" y="141"/>
                  </a:lnTo>
                  <a:lnTo>
                    <a:pt x="44" y="141"/>
                  </a:lnTo>
                  <a:lnTo>
                    <a:pt x="44" y="141"/>
                  </a:lnTo>
                  <a:lnTo>
                    <a:pt x="44" y="139"/>
                  </a:lnTo>
                  <a:lnTo>
                    <a:pt x="44" y="137"/>
                  </a:lnTo>
                  <a:lnTo>
                    <a:pt x="41" y="139"/>
                  </a:lnTo>
                  <a:lnTo>
                    <a:pt x="39" y="139"/>
                  </a:lnTo>
                  <a:lnTo>
                    <a:pt x="39" y="137"/>
                  </a:lnTo>
                  <a:lnTo>
                    <a:pt x="39" y="136"/>
                  </a:lnTo>
                  <a:lnTo>
                    <a:pt x="38" y="136"/>
                  </a:lnTo>
                  <a:lnTo>
                    <a:pt x="38" y="134"/>
                  </a:lnTo>
                  <a:lnTo>
                    <a:pt x="39" y="132"/>
                  </a:lnTo>
                  <a:lnTo>
                    <a:pt x="39" y="130"/>
                  </a:lnTo>
                  <a:lnTo>
                    <a:pt x="38" y="130"/>
                  </a:lnTo>
                  <a:lnTo>
                    <a:pt x="36" y="127"/>
                  </a:lnTo>
                  <a:lnTo>
                    <a:pt x="34" y="127"/>
                  </a:lnTo>
                  <a:lnTo>
                    <a:pt x="34" y="127"/>
                  </a:lnTo>
                  <a:lnTo>
                    <a:pt x="32" y="129"/>
                  </a:lnTo>
                  <a:lnTo>
                    <a:pt x="32" y="127"/>
                  </a:lnTo>
                  <a:lnTo>
                    <a:pt x="34" y="125"/>
                  </a:lnTo>
                  <a:lnTo>
                    <a:pt x="34" y="125"/>
                  </a:lnTo>
                  <a:lnTo>
                    <a:pt x="34" y="123"/>
                  </a:lnTo>
                  <a:lnTo>
                    <a:pt x="34" y="122"/>
                  </a:lnTo>
                  <a:lnTo>
                    <a:pt x="38" y="118"/>
                  </a:lnTo>
                  <a:lnTo>
                    <a:pt x="39" y="111"/>
                  </a:lnTo>
                  <a:lnTo>
                    <a:pt x="39" y="110"/>
                  </a:lnTo>
                  <a:lnTo>
                    <a:pt x="38" y="110"/>
                  </a:lnTo>
                  <a:lnTo>
                    <a:pt x="38" y="110"/>
                  </a:lnTo>
                  <a:lnTo>
                    <a:pt x="36" y="110"/>
                  </a:lnTo>
                  <a:lnTo>
                    <a:pt x="36" y="108"/>
                  </a:lnTo>
                  <a:lnTo>
                    <a:pt x="36" y="106"/>
                  </a:lnTo>
                  <a:lnTo>
                    <a:pt x="38" y="106"/>
                  </a:lnTo>
                  <a:lnTo>
                    <a:pt x="38" y="108"/>
                  </a:lnTo>
                  <a:lnTo>
                    <a:pt x="39" y="108"/>
                  </a:lnTo>
                  <a:lnTo>
                    <a:pt x="39" y="106"/>
                  </a:lnTo>
                  <a:lnTo>
                    <a:pt x="41" y="105"/>
                  </a:lnTo>
                  <a:lnTo>
                    <a:pt x="41" y="103"/>
                  </a:lnTo>
                  <a:lnTo>
                    <a:pt x="41" y="98"/>
                  </a:lnTo>
                  <a:lnTo>
                    <a:pt x="43" y="98"/>
                  </a:lnTo>
                  <a:lnTo>
                    <a:pt x="41" y="94"/>
                  </a:lnTo>
                  <a:lnTo>
                    <a:pt x="41" y="91"/>
                  </a:lnTo>
                  <a:lnTo>
                    <a:pt x="41" y="87"/>
                  </a:lnTo>
                  <a:lnTo>
                    <a:pt x="43" y="84"/>
                  </a:lnTo>
                  <a:lnTo>
                    <a:pt x="44" y="80"/>
                  </a:lnTo>
                  <a:lnTo>
                    <a:pt x="46" y="75"/>
                  </a:lnTo>
                  <a:lnTo>
                    <a:pt x="48" y="74"/>
                  </a:lnTo>
                  <a:lnTo>
                    <a:pt x="44" y="67"/>
                  </a:lnTo>
                  <a:lnTo>
                    <a:pt x="44" y="65"/>
                  </a:lnTo>
                  <a:lnTo>
                    <a:pt x="46" y="65"/>
                  </a:lnTo>
                  <a:lnTo>
                    <a:pt x="46" y="65"/>
                  </a:lnTo>
                  <a:lnTo>
                    <a:pt x="44" y="65"/>
                  </a:lnTo>
                  <a:lnTo>
                    <a:pt x="46" y="65"/>
                  </a:lnTo>
                  <a:lnTo>
                    <a:pt x="46" y="63"/>
                  </a:lnTo>
                  <a:lnTo>
                    <a:pt x="46" y="65"/>
                  </a:lnTo>
                  <a:lnTo>
                    <a:pt x="48" y="65"/>
                  </a:lnTo>
                  <a:lnTo>
                    <a:pt x="48" y="65"/>
                  </a:lnTo>
                  <a:lnTo>
                    <a:pt x="48" y="65"/>
                  </a:lnTo>
                  <a:lnTo>
                    <a:pt x="48" y="63"/>
                  </a:lnTo>
                  <a:lnTo>
                    <a:pt x="50" y="62"/>
                  </a:lnTo>
                  <a:lnTo>
                    <a:pt x="50" y="60"/>
                  </a:lnTo>
                  <a:lnTo>
                    <a:pt x="50" y="55"/>
                  </a:lnTo>
                  <a:lnTo>
                    <a:pt x="50" y="53"/>
                  </a:lnTo>
                  <a:lnTo>
                    <a:pt x="50" y="50"/>
                  </a:lnTo>
                  <a:lnTo>
                    <a:pt x="50" y="48"/>
                  </a:lnTo>
                  <a:lnTo>
                    <a:pt x="50" y="50"/>
                  </a:lnTo>
                  <a:lnTo>
                    <a:pt x="50" y="44"/>
                  </a:lnTo>
                  <a:lnTo>
                    <a:pt x="50" y="43"/>
                  </a:lnTo>
                  <a:lnTo>
                    <a:pt x="51" y="41"/>
                  </a:lnTo>
                  <a:lnTo>
                    <a:pt x="51" y="36"/>
                  </a:lnTo>
                  <a:lnTo>
                    <a:pt x="55" y="34"/>
                  </a:lnTo>
                  <a:lnTo>
                    <a:pt x="53" y="34"/>
                  </a:lnTo>
                  <a:lnTo>
                    <a:pt x="53" y="31"/>
                  </a:lnTo>
                  <a:lnTo>
                    <a:pt x="53" y="29"/>
                  </a:lnTo>
                  <a:lnTo>
                    <a:pt x="51" y="31"/>
                  </a:lnTo>
                  <a:lnTo>
                    <a:pt x="51" y="29"/>
                  </a:lnTo>
                  <a:lnTo>
                    <a:pt x="48" y="29"/>
                  </a:lnTo>
                  <a:lnTo>
                    <a:pt x="50" y="25"/>
                  </a:lnTo>
                  <a:lnTo>
                    <a:pt x="50" y="24"/>
                  </a:lnTo>
                  <a:lnTo>
                    <a:pt x="51" y="20"/>
                  </a:lnTo>
                  <a:lnTo>
                    <a:pt x="51" y="20"/>
                  </a:lnTo>
                  <a:lnTo>
                    <a:pt x="51" y="17"/>
                  </a:lnTo>
                  <a:lnTo>
                    <a:pt x="53" y="13"/>
                  </a:lnTo>
                  <a:lnTo>
                    <a:pt x="53" y="10"/>
                  </a:lnTo>
                  <a:lnTo>
                    <a:pt x="53" y="7"/>
                  </a:lnTo>
                  <a:lnTo>
                    <a:pt x="53" y="5"/>
                  </a:lnTo>
                  <a:lnTo>
                    <a:pt x="51" y="5"/>
                  </a:lnTo>
                  <a:lnTo>
                    <a:pt x="53" y="1"/>
                  </a:lnTo>
                  <a:lnTo>
                    <a:pt x="53" y="0"/>
                  </a:lnTo>
                  <a:lnTo>
                    <a:pt x="56" y="0"/>
                  </a:lnTo>
                  <a:lnTo>
                    <a:pt x="58" y="0"/>
                  </a:lnTo>
                  <a:lnTo>
                    <a:pt x="63" y="0"/>
                  </a:lnTo>
                  <a:lnTo>
                    <a:pt x="63" y="0"/>
                  </a:lnTo>
                  <a:lnTo>
                    <a:pt x="65" y="0"/>
                  </a:lnTo>
                  <a:lnTo>
                    <a:pt x="75" y="0"/>
                  </a:lnTo>
                  <a:lnTo>
                    <a:pt x="77" y="0"/>
                  </a:lnTo>
                  <a:lnTo>
                    <a:pt x="79" y="0"/>
                  </a:lnTo>
                  <a:lnTo>
                    <a:pt x="81" y="0"/>
                  </a:lnTo>
                  <a:lnTo>
                    <a:pt x="86" y="0"/>
                  </a:lnTo>
                  <a:lnTo>
                    <a:pt x="89" y="0"/>
                  </a:lnTo>
                  <a:lnTo>
                    <a:pt x="93" y="0"/>
                  </a:lnTo>
                  <a:lnTo>
                    <a:pt x="94" y="1"/>
                  </a:lnTo>
                  <a:lnTo>
                    <a:pt x="98" y="1"/>
                  </a:lnTo>
                  <a:lnTo>
                    <a:pt x="101" y="1"/>
                  </a:lnTo>
                  <a:lnTo>
                    <a:pt x="103" y="1"/>
                  </a:lnTo>
                  <a:lnTo>
                    <a:pt x="110" y="1"/>
                  </a:lnTo>
                  <a:lnTo>
                    <a:pt x="111" y="1"/>
                  </a:lnTo>
                  <a:lnTo>
                    <a:pt x="113" y="1"/>
                  </a:lnTo>
                  <a:lnTo>
                    <a:pt x="120" y="1"/>
                  </a:lnTo>
                  <a:lnTo>
                    <a:pt x="122" y="1"/>
                  </a:lnTo>
                  <a:lnTo>
                    <a:pt x="124" y="1"/>
                  </a:lnTo>
                  <a:lnTo>
                    <a:pt x="125" y="1"/>
                  </a:lnTo>
                  <a:lnTo>
                    <a:pt x="127" y="1"/>
                  </a:lnTo>
                  <a:lnTo>
                    <a:pt x="130" y="1"/>
                  </a:lnTo>
                  <a:lnTo>
                    <a:pt x="132" y="1"/>
                  </a:lnTo>
                  <a:lnTo>
                    <a:pt x="134" y="1"/>
                  </a:lnTo>
                  <a:lnTo>
                    <a:pt x="136" y="1"/>
                  </a:lnTo>
                  <a:lnTo>
                    <a:pt x="137" y="1"/>
                  </a:lnTo>
                  <a:lnTo>
                    <a:pt x="139" y="1"/>
                  </a:lnTo>
                  <a:lnTo>
                    <a:pt x="144" y="1"/>
                  </a:lnTo>
                  <a:lnTo>
                    <a:pt x="146" y="1"/>
                  </a:lnTo>
                  <a:lnTo>
                    <a:pt x="149" y="1"/>
                  </a:lnTo>
                  <a:lnTo>
                    <a:pt x="153" y="1"/>
                  </a:lnTo>
                  <a:lnTo>
                    <a:pt x="154" y="1"/>
                  </a:lnTo>
                  <a:lnTo>
                    <a:pt x="170" y="1"/>
                  </a:lnTo>
                  <a:lnTo>
                    <a:pt x="173" y="1"/>
                  </a:lnTo>
                  <a:lnTo>
                    <a:pt x="177" y="1"/>
                  </a:lnTo>
                  <a:lnTo>
                    <a:pt x="184" y="1"/>
                  </a:lnTo>
                  <a:lnTo>
                    <a:pt x="185" y="1"/>
                  </a:lnTo>
                  <a:lnTo>
                    <a:pt x="191" y="1"/>
                  </a:lnTo>
                  <a:lnTo>
                    <a:pt x="192" y="1"/>
                  </a:lnTo>
                  <a:lnTo>
                    <a:pt x="194" y="1"/>
                  </a:lnTo>
                  <a:lnTo>
                    <a:pt x="199" y="1"/>
                  </a:lnTo>
                  <a:lnTo>
                    <a:pt x="203" y="1"/>
                  </a:lnTo>
                  <a:lnTo>
                    <a:pt x="206" y="1"/>
                  </a:lnTo>
                  <a:lnTo>
                    <a:pt x="208" y="1"/>
                  </a:lnTo>
                  <a:lnTo>
                    <a:pt x="215" y="1"/>
                  </a:lnTo>
                  <a:lnTo>
                    <a:pt x="222" y="1"/>
                  </a:lnTo>
                  <a:lnTo>
                    <a:pt x="225" y="1"/>
                  </a:lnTo>
                  <a:lnTo>
                    <a:pt x="230" y="1"/>
                  </a:lnTo>
                  <a:lnTo>
                    <a:pt x="230" y="1"/>
                  </a:lnTo>
                  <a:lnTo>
                    <a:pt x="244" y="1"/>
                  </a:lnTo>
                  <a:lnTo>
                    <a:pt x="249" y="1"/>
                  </a:lnTo>
                  <a:lnTo>
                    <a:pt x="256" y="1"/>
                  </a:lnTo>
                  <a:lnTo>
                    <a:pt x="263" y="1"/>
                  </a:lnTo>
                  <a:lnTo>
                    <a:pt x="265" y="1"/>
                  </a:lnTo>
                  <a:lnTo>
                    <a:pt x="266" y="1"/>
                  </a:lnTo>
                  <a:lnTo>
                    <a:pt x="271" y="1"/>
                  </a:lnTo>
                  <a:lnTo>
                    <a:pt x="273" y="1"/>
                  </a:lnTo>
                  <a:lnTo>
                    <a:pt x="275" y="1"/>
                  </a:lnTo>
                  <a:lnTo>
                    <a:pt x="275" y="1"/>
                  </a:lnTo>
                  <a:lnTo>
                    <a:pt x="277" y="1"/>
                  </a:lnTo>
                  <a:lnTo>
                    <a:pt x="278" y="1"/>
                  </a:lnTo>
                  <a:lnTo>
                    <a:pt x="280" y="1"/>
                  </a:lnTo>
                  <a:lnTo>
                    <a:pt x="282" y="1"/>
                  </a:lnTo>
                  <a:lnTo>
                    <a:pt x="283" y="1"/>
                  </a:lnTo>
                  <a:lnTo>
                    <a:pt x="285" y="1"/>
                  </a:lnTo>
                  <a:lnTo>
                    <a:pt x="287" y="1"/>
                  </a:lnTo>
                  <a:lnTo>
                    <a:pt x="290" y="1"/>
                  </a:lnTo>
                  <a:lnTo>
                    <a:pt x="294" y="1"/>
                  </a:lnTo>
                  <a:lnTo>
                    <a:pt x="297" y="1"/>
                  </a:lnTo>
                  <a:lnTo>
                    <a:pt x="299" y="1"/>
                  </a:lnTo>
                  <a:lnTo>
                    <a:pt x="301" y="1"/>
                  </a:lnTo>
                  <a:lnTo>
                    <a:pt x="302" y="1"/>
                  </a:lnTo>
                  <a:lnTo>
                    <a:pt x="304" y="1"/>
                  </a:lnTo>
                  <a:lnTo>
                    <a:pt x="306" y="1"/>
                  </a:lnTo>
                  <a:lnTo>
                    <a:pt x="306" y="1"/>
                  </a:lnTo>
                  <a:lnTo>
                    <a:pt x="308" y="1"/>
                  </a:lnTo>
                  <a:lnTo>
                    <a:pt x="309" y="1"/>
                  </a:lnTo>
                  <a:lnTo>
                    <a:pt x="311" y="1"/>
                  </a:lnTo>
                  <a:lnTo>
                    <a:pt x="316" y="1"/>
                  </a:lnTo>
                  <a:lnTo>
                    <a:pt x="321" y="1"/>
                  </a:lnTo>
                  <a:lnTo>
                    <a:pt x="326" y="1"/>
                  </a:lnTo>
                  <a:lnTo>
                    <a:pt x="328" y="1"/>
                  </a:lnTo>
                  <a:lnTo>
                    <a:pt x="330" y="1"/>
                  </a:lnTo>
                  <a:lnTo>
                    <a:pt x="335" y="1"/>
                  </a:lnTo>
                  <a:lnTo>
                    <a:pt x="337" y="1"/>
                  </a:lnTo>
                  <a:lnTo>
                    <a:pt x="340" y="1"/>
                  </a:lnTo>
                  <a:lnTo>
                    <a:pt x="342" y="1"/>
                  </a:lnTo>
                  <a:lnTo>
                    <a:pt x="344" y="1"/>
                  </a:lnTo>
                  <a:lnTo>
                    <a:pt x="345" y="1"/>
                  </a:lnTo>
                  <a:lnTo>
                    <a:pt x="347" y="1"/>
                  </a:lnTo>
                  <a:lnTo>
                    <a:pt x="349" y="1"/>
                  </a:lnTo>
                  <a:lnTo>
                    <a:pt x="351" y="1"/>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7" name="Freeform 179"/>
            <p:cNvSpPr>
              <a:spLocks/>
            </p:cNvSpPr>
            <p:nvPr/>
          </p:nvSpPr>
          <p:spPr bwMode="auto">
            <a:xfrm>
              <a:off x="5072946" y="2774744"/>
              <a:ext cx="538163" cy="466725"/>
            </a:xfrm>
            <a:custGeom>
              <a:avLst/>
              <a:gdLst/>
              <a:ahLst/>
              <a:cxnLst>
                <a:cxn ang="0">
                  <a:pos x="311" y="79"/>
                </a:cxn>
                <a:cxn ang="0">
                  <a:pos x="316" y="88"/>
                </a:cxn>
                <a:cxn ang="0">
                  <a:pos x="328" y="96"/>
                </a:cxn>
                <a:cxn ang="0">
                  <a:pos x="337" y="107"/>
                </a:cxn>
                <a:cxn ang="0">
                  <a:pos x="332" y="120"/>
                </a:cxn>
                <a:cxn ang="0">
                  <a:pos x="327" y="136"/>
                </a:cxn>
                <a:cxn ang="0">
                  <a:pos x="314" y="162"/>
                </a:cxn>
                <a:cxn ang="0">
                  <a:pos x="304" y="191"/>
                </a:cxn>
                <a:cxn ang="0">
                  <a:pos x="297" y="210"/>
                </a:cxn>
                <a:cxn ang="0">
                  <a:pos x="287" y="232"/>
                </a:cxn>
                <a:cxn ang="0">
                  <a:pos x="278" y="256"/>
                </a:cxn>
                <a:cxn ang="0">
                  <a:pos x="273" y="272"/>
                </a:cxn>
                <a:cxn ang="0">
                  <a:pos x="266" y="294"/>
                </a:cxn>
                <a:cxn ang="0">
                  <a:pos x="244" y="293"/>
                </a:cxn>
                <a:cxn ang="0">
                  <a:pos x="222" y="293"/>
                </a:cxn>
                <a:cxn ang="0">
                  <a:pos x="197" y="291"/>
                </a:cxn>
                <a:cxn ang="0">
                  <a:pos x="170" y="291"/>
                </a:cxn>
                <a:cxn ang="0">
                  <a:pos x="132" y="291"/>
                </a:cxn>
                <a:cxn ang="0">
                  <a:pos x="120" y="291"/>
                </a:cxn>
                <a:cxn ang="0">
                  <a:pos x="93" y="291"/>
                </a:cxn>
                <a:cxn ang="0">
                  <a:pos x="75" y="291"/>
                </a:cxn>
                <a:cxn ang="0">
                  <a:pos x="56" y="289"/>
                </a:cxn>
                <a:cxn ang="0">
                  <a:pos x="43" y="287"/>
                </a:cxn>
                <a:cxn ang="0">
                  <a:pos x="25" y="287"/>
                </a:cxn>
                <a:cxn ang="0">
                  <a:pos x="10" y="286"/>
                </a:cxn>
                <a:cxn ang="0">
                  <a:pos x="1" y="274"/>
                </a:cxn>
                <a:cxn ang="0">
                  <a:pos x="1" y="255"/>
                </a:cxn>
                <a:cxn ang="0">
                  <a:pos x="1" y="232"/>
                </a:cxn>
                <a:cxn ang="0">
                  <a:pos x="3" y="215"/>
                </a:cxn>
                <a:cxn ang="0">
                  <a:pos x="3" y="188"/>
                </a:cxn>
                <a:cxn ang="0">
                  <a:pos x="5" y="157"/>
                </a:cxn>
                <a:cxn ang="0">
                  <a:pos x="7" y="134"/>
                </a:cxn>
                <a:cxn ang="0">
                  <a:pos x="7" y="112"/>
                </a:cxn>
                <a:cxn ang="0">
                  <a:pos x="7" y="103"/>
                </a:cxn>
                <a:cxn ang="0">
                  <a:pos x="8" y="84"/>
                </a:cxn>
                <a:cxn ang="0">
                  <a:pos x="12" y="64"/>
                </a:cxn>
                <a:cxn ang="0">
                  <a:pos x="36" y="41"/>
                </a:cxn>
                <a:cxn ang="0">
                  <a:pos x="48" y="29"/>
                </a:cxn>
                <a:cxn ang="0">
                  <a:pos x="68" y="7"/>
                </a:cxn>
                <a:cxn ang="0">
                  <a:pos x="79" y="10"/>
                </a:cxn>
                <a:cxn ang="0">
                  <a:pos x="87" y="31"/>
                </a:cxn>
                <a:cxn ang="0">
                  <a:pos x="101" y="41"/>
                </a:cxn>
                <a:cxn ang="0">
                  <a:pos x="111" y="33"/>
                </a:cxn>
                <a:cxn ang="0">
                  <a:pos x="113" y="43"/>
                </a:cxn>
                <a:cxn ang="0">
                  <a:pos x="117" y="57"/>
                </a:cxn>
                <a:cxn ang="0">
                  <a:pos x="127" y="62"/>
                </a:cxn>
                <a:cxn ang="0">
                  <a:pos x="139" y="65"/>
                </a:cxn>
                <a:cxn ang="0">
                  <a:pos x="160" y="69"/>
                </a:cxn>
                <a:cxn ang="0">
                  <a:pos x="172" y="71"/>
                </a:cxn>
                <a:cxn ang="0">
                  <a:pos x="182" y="65"/>
                </a:cxn>
                <a:cxn ang="0">
                  <a:pos x="189" y="62"/>
                </a:cxn>
                <a:cxn ang="0">
                  <a:pos x="204" y="62"/>
                </a:cxn>
                <a:cxn ang="0">
                  <a:pos x="218" y="65"/>
                </a:cxn>
                <a:cxn ang="0">
                  <a:pos x="232" y="67"/>
                </a:cxn>
                <a:cxn ang="0">
                  <a:pos x="247" y="67"/>
                </a:cxn>
                <a:cxn ang="0">
                  <a:pos x="259" y="69"/>
                </a:cxn>
                <a:cxn ang="0">
                  <a:pos x="270" y="72"/>
                </a:cxn>
                <a:cxn ang="0">
                  <a:pos x="282" y="74"/>
                </a:cxn>
                <a:cxn ang="0">
                  <a:pos x="297" y="71"/>
                </a:cxn>
              </a:cxnLst>
              <a:rect l="0" t="0" r="r" b="b"/>
              <a:pathLst>
                <a:path w="339" h="294">
                  <a:moveTo>
                    <a:pt x="301" y="71"/>
                  </a:moveTo>
                  <a:lnTo>
                    <a:pt x="304" y="74"/>
                  </a:lnTo>
                  <a:lnTo>
                    <a:pt x="306" y="76"/>
                  </a:lnTo>
                  <a:lnTo>
                    <a:pt x="308" y="77"/>
                  </a:lnTo>
                  <a:lnTo>
                    <a:pt x="309" y="77"/>
                  </a:lnTo>
                  <a:lnTo>
                    <a:pt x="311" y="79"/>
                  </a:lnTo>
                  <a:lnTo>
                    <a:pt x="311" y="81"/>
                  </a:lnTo>
                  <a:lnTo>
                    <a:pt x="311" y="83"/>
                  </a:lnTo>
                  <a:lnTo>
                    <a:pt x="313" y="83"/>
                  </a:lnTo>
                  <a:lnTo>
                    <a:pt x="313" y="84"/>
                  </a:lnTo>
                  <a:lnTo>
                    <a:pt x="314" y="86"/>
                  </a:lnTo>
                  <a:lnTo>
                    <a:pt x="316" y="88"/>
                  </a:lnTo>
                  <a:lnTo>
                    <a:pt x="320" y="90"/>
                  </a:lnTo>
                  <a:lnTo>
                    <a:pt x="321" y="91"/>
                  </a:lnTo>
                  <a:lnTo>
                    <a:pt x="323" y="91"/>
                  </a:lnTo>
                  <a:lnTo>
                    <a:pt x="327" y="93"/>
                  </a:lnTo>
                  <a:lnTo>
                    <a:pt x="327" y="95"/>
                  </a:lnTo>
                  <a:lnTo>
                    <a:pt x="328" y="96"/>
                  </a:lnTo>
                  <a:lnTo>
                    <a:pt x="330" y="98"/>
                  </a:lnTo>
                  <a:lnTo>
                    <a:pt x="332" y="100"/>
                  </a:lnTo>
                  <a:lnTo>
                    <a:pt x="333" y="102"/>
                  </a:lnTo>
                  <a:lnTo>
                    <a:pt x="333" y="103"/>
                  </a:lnTo>
                  <a:lnTo>
                    <a:pt x="335" y="105"/>
                  </a:lnTo>
                  <a:lnTo>
                    <a:pt x="337" y="107"/>
                  </a:lnTo>
                  <a:lnTo>
                    <a:pt x="339" y="107"/>
                  </a:lnTo>
                  <a:lnTo>
                    <a:pt x="337" y="108"/>
                  </a:lnTo>
                  <a:lnTo>
                    <a:pt x="337" y="110"/>
                  </a:lnTo>
                  <a:lnTo>
                    <a:pt x="337" y="112"/>
                  </a:lnTo>
                  <a:lnTo>
                    <a:pt x="333" y="119"/>
                  </a:lnTo>
                  <a:lnTo>
                    <a:pt x="332" y="120"/>
                  </a:lnTo>
                  <a:lnTo>
                    <a:pt x="332" y="122"/>
                  </a:lnTo>
                  <a:lnTo>
                    <a:pt x="332" y="122"/>
                  </a:lnTo>
                  <a:lnTo>
                    <a:pt x="330" y="124"/>
                  </a:lnTo>
                  <a:lnTo>
                    <a:pt x="328" y="129"/>
                  </a:lnTo>
                  <a:lnTo>
                    <a:pt x="327" y="134"/>
                  </a:lnTo>
                  <a:lnTo>
                    <a:pt x="327" y="136"/>
                  </a:lnTo>
                  <a:lnTo>
                    <a:pt x="325" y="138"/>
                  </a:lnTo>
                  <a:lnTo>
                    <a:pt x="323" y="145"/>
                  </a:lnTo>
                  <a:lnTo>
                    <a:pt x="321" y="146"/>
                  </a:lnTo>
                  <a:lnTo>
                    <a:pt x="320" y="151"/>
                  </a:lnTo>
                  <a:lnTo>
                    <a:pt x="318" y="155"/>
                  </a:lnTo>
                  <a:lnTo>
                    <a:pt x="314" y="162"/>
                  </a:lnTo>
                  <a:lnTo>
                    <a:pt x="313" y="167"/>
                  </a:lnTo>
                  <a:lnTo>
                    <a:pt x="313" y="169"/>
                  </a:lnTo>
                  <a:lnTo>
                    <a:pt x="311" y="172"/>
                  </a:lnTo>
                  <a:lnTo>
                    <a:pt x="311" y="174"/>
                  </a:lnTo>
                  <a:lnTo>
                    <a:pt x="306" y="188"/>
                  </a:lnTo>
                  <a:lnTo>
                    <a:pt x="304" y="191"/>
                  </a:lnTo>
                  <a:lnTo>
                    <a:pt x="302" y="194"/>
                  </a:lnTo>
                  <a:lnTo>
                    <a:pt x="301" y="200"/>
                  </a:lnTo>
                  <a:lnTo>
                    <a:pt x="299" y="203"/>
                  </a:lnTo>
                  <a:lnTo>
                    <a:pt x="297" y="205"/>
                  </a:lnTo>
                  <a:lnTo>
                    <a:pt x="297" y="207"/>
                  </a:lnTo>
                  <a:lnTo>
                    <a:pt x="297" y="210"/>
                  </a:lnTo>
                  <a:lnTo>
                    <a:pt x="294" y="217"/>
                  </a:lnTo>
                  <a:lnTo>
                    <a:pt x="294" y="219"/>
                  </a:lnTo>
                  <a:lnTo>
                    <a:pt x="292" y="222"/>
                  </a:lnTo>
                  <a:lnTo>
                    <a:pt x="289" y="227"/>
                  </a:lnTo>
                  <a:lnTo>
                    <a:pt x="289" y="231"/>
                  </a:lnTo>
                  <a:lnTo>
                    <a:pt x="287" y="232"/>
                  </a:lnTo>
                  <a:lnTo>
                    <a:pt x="285" y="237"/>
                  </a:lnTo>
                  <a:lnTo>
                    <a:pt x="284" y="237"/>
                  </a:lnTo>
                  <a:lnTo>
                    <a:pt x="284" y="241"/>
                  </a:lnTo>
                  <a:lnTo>
                    <a:pt x="282" y="244"/>
                  </a:lnTo>
                  <a:lnTo>
                    <a:pt x="282" y="250"/>
                  </a:lnTo>
                  <a:lnTo>
                    <a:pt x="278" y="256"/>
                  </a:lnTo>
                  <a:lnTo>
                    <a:pt x="278" y="258"/>
                  </a:lnTo>
                  <a:lnTo>
                    <a:pt x="278" y="258"/>
                  </a:lnTo>
                  <a:lnTo>
                    <a:pt x="275" y="263"/>
                  </a:lnTo>
                  <a:lnTo>
                    <a:pt x="275" y="265"/>
                  </a:lnTo>
                  <a:lnTo>
                    <a:pt x="273" y="270"/>
                  </a:lnTo>
                  <a:lnTo>
                    <a:pt x="273" y="272"/>
                  </a:lnTo>
                  <a:lnTo>
                    <a:pt x="271" y="274"/>
                  </a:lnTo>
                  <a:lnTo>
                    <a:pt x="271" y="274"/>
                  </a:lnTo>
                  <a:lnTo>
                    <a:pt x="266" y="284"/>
                  </a:lnTo>
                  <a:lnTo>
                    <a:pt x="266" y="287"/>
                  </a:lnTo>
                  <a:lnTo>
                    <a:pt x="266" y="287"/>
                  </a:lnTo>
                  <a:lnTo>
                    <a:pt x="266" y="294"/>
                  </a:lnTo>
                  <a:lnTo>
                    <a:pt x="263" y="294"/>
                  </a:lnTo>
                  <a:lnTo>
                    <a:pt x="259" y="294"/>
                  </a:lnTo>
                  <a:lnTo>
                    <a:pt x="256" y="294"/>
                  </a:lnTo>
                  <a:lnTo>
                    <a:pt x="249" y="294"/>
                  </a:lnTo>
                  <a:lnTo>
                    <a:pt x="246" y="294"/>
                  </a:lnTo>
                  <a:lnTo>
                    <a:pt x="244" y="293"/>
                  </a:lnTo>
                  <a:lnTo>
                    <a:pt x="241" y="293"/>
                  </a:lnTo>
                  <a:lnTo>
                    <a:pt x="237" y="293"/>
                  </a:lnTo>
                  <a:lnTo>
                    <a:pt x="235" y="293"/>
                  </a:lnTo>
                  <a:lnTo>
                    <a:pt x="234" y="293"/>
                  </a:lnTo>
                  <a:lnTo>
                    <a:pt x="227" y="293"/>
                  </a:lnTo>
                  <a:lnTo>
                    <a:pt x="222" y="293"/>
                  </a:lnTo>
                  <a:lnTo>
                    <a:pt x="213" y="293"/>
                  </a:lnTo>
                  <a:lnTo>
                    <a:pt x="208" y="293"/>
                  </a:lnTo>
                  <a:lnTo>
                    <a:pt x="201" y="293"/>
                  </a:lnTo>
                  <a:lnTo>
                    <a:pt x="201" y="291"/>
                  </a:lnTo>
                  <a:lnTo>
                    <a:pt x="199" y="291"/>
                  </a:lnTo>
                  <a:lnTo>
                    <a:pt x="197" y="291"/>
                  </a:lnTo>
                  <a:lnTo>
                    <a:pt x="196" y="291"/>
                  </a:lnTo>
                  <a:lnTo>
                    <a:pt x="191" y="291"/>
                  </a:lnTo>
                  <a:lnTo>
                    <a:pt x="187" y="291"/>
                  </a:lnTo>
                  <a:lnTo>
                    <a:pt x="184" y="291"/>
                  </a:lnTo>
                  <a:lnTo>
                    <a:pt x="179" y="291"/>
                  </a:lnTo>
                  <a:lnTo>
                    <a:pt x="170" y="291"/>
                  </a:lnTo>
                  <a:lnTo>
                    <a:pt x="161" y="291"/>
                  </a:lnTo>
                  <a:lnTo>
                    <a:pt x="153" y="291"/>
                  </a:lnTo>
                  <a:lnTo>
                    <a:pt x="151" y="291"/>
                  </a:lnTo>
                  <a:lnTo>
                    <a:pt x="146" y="291"/>
                  </a:lnTo>
                  <a:lnTo>
                    <a:pt x="136" y="291"/>
                  </a:lnTo>
                  <a:lnTo>
                    <a:pt x="132" y="291"/>
                  </a:lnTo>
                  <a:lnTo>
                    <a:pt x="130" y="291"/>
                  </a:lnTo>
                  <a:lnTo>
                    <a:pt x="130" y="291"/>
                  </a:lnTo>
                  <a:lnTo>
                    <a:pt x="129" y="291"/>
                  </a:lnTo>
                  <a:lnTo>
                    <a:pt x="127" y="291"/>
                  </a:lnTo>
                  <a:lnTo>
                    <a:pt x="122" y="291"/>
                  </a:lnTo>
                  <a:lnTo>
                    <a:pt x="120" y="291"/>
                  </a:lnTo>
                  <a:lnTo>
                    <a:pt x="115" y="291"/>
                  </a:lnTo>
                  <a:lnTo>
                    <a:pt x="115" y="291"/>
                  </a:lnTo>
                  <a:lnTo>
                    <a:pt x="111" y="291"/>
                  </a:lnTo>
                  <a:lnTo>
                    <a:pt x="103" y="291"/>
                  </a:lnTo>
                  <a:lnTo>
                    <a:pt x="101" y="291"/>
                  </a:lnTo>
                  <a:lnTo>
                    <a:pt x="93" y="291"/>
                  </a:lnTo>
                  <a:lnTo>
                    <a:pt x="91" y="291"/>
                  </a:lnTo>
                  <a:lnTo>
                    <a:pt x="87" y="291"/>
                  </a:lnTo>
                  <a:lnTo>
                    <a:pt x="86" y="291"/>
                  </a:lnTo>
                  <a:lnTo>
                    <a:pt x="81" y="291"/>
                  </a:lnTo>
                  <a:lnTo>
                    <a:pt x="77" y="291"/>
                  </a:lnTo>
                  <a:lnTo>
                    <a:pt x="75" y="291"/>
                  </a:lnTo>
                  <a:lnTo>
                    <a:pt x="75" y="289"/>
                  </a:lnTo>
                  <a:lnTo>
                    <a:pt x="67" y="289"/>
                  </a:lnTo>
                  <a:lnTo>
                    <a:pt x="65" y="289"/>
                  </a:lnTo>
                  <a:lnTo>
                    <a:pt x="62" y="289"/>
                  </a:lnTo>
                  <a:lnTo>
                    <a:pt x="60" y="289"/>
                  </a:lnTo>
                  <a:lnTo>
                    <a:pt x="56" y="289"/>
                  </a:lnTo>
                  <a:lnTo>
                    <a:pt x="53" y="289"/>
                  </a:lnTo>
                  <a:lnTo>
                    <a:pt x="51" y="289"/>
                  </a:lnTo>
                  <a:lnTo>
                    <a:pt x="50" y="287"/>
                  </a:lnTo>
                  <a:lnTo>
                    <a:pt x="48" y="287"/>
                  </a:lnTo>
                  <a:lnTo>
                    <a:pt x="46" y="287"/>
                  </a:lnTo>
                  <a:lnTo>
                    <a:pt x="43" y="287"/>
                  </a:lnTo>
                  <a:lnTo>
                    <a:pt x="41" y="287"/>
                  </a:lnTo>
                  <a:lnTo>
                    <a:pt x="39" y="287"/>
                  </a:lnTo>
                  <a:lnTo>
                    <a:pt x="38" y="287"/>
                  </a:lnTo>
                  <a:lnTo>
                    <a:pt x="32" y="287"/>
                  </a:lnTo>
                  <a:lnTo>
                    <a:pt x="27" y="287"/>
                  </a:lnTo>
                  <a:lnTo>
                    <a:pt x="25" y="287"/>
                  </a:lnTo>
                  <a:lnTo>
                    <a:pt x="24" y="287"/>
                  </a:lnTo>
                  <a:lnTo>
                    <a:pt x="22" y="287"/>
                  </a:lnTo>
                  <a:lnTo>
                    <a:pt x="15" y="287"/>
                  </a:lnTo>
                  <a:lnTo>
                    <a:pt x="12" y="286"/>
                  </a:lnTo>
                  <a:lnTo>
                    <a:pt x="10" y="286"/>
                  </a:lnTo>
                  <a:lnTo>
                    <a:pt x="10" y="286"/>
                  </a:lnTo>
                  <a:lnTo>
                    <a:pt x="8" y="286"/>
                  </a:lnTo>
                  <a:lnTo>
                    <a:pt x="0" y="286"/>
                  </a:lnTo>
                  <a:lnTo>
                    <a:pt x="0" y="284"/>
                  </a:lnTo>
                  <a:lnTo>
                    <a:pt x="0" y="279"/>
                  </a:lnTo>
                  <a:lnTo>
                    <a:pt x="1" y="275"/>
                  </a:lnTo>
                  <a:lnTo>
                    <a:pt x="1" y="274"/>
                  </a:lnTo>
                  <a:lnTo>
                    <a:pt x="1" y="274"/>
                  </a:lnTo>
                  <a:lnTo>
                    <a:pt x="1" y="270"/>
                  </a:lnTo>
                  <a:lnTo>
                    <a:pt x="1" y="262"/>
                  </a:lnTo>
                  <a:lnTo>
                    <a:pt x="1" y="258"/>
                  </a:lnTo>
                  <a:lnTo>
                    <a:pt x="1" y="258"/>
                  </a:lnTo>
                  <a:lnTo>
                    <a:pt x="1" y="255"/>
                  </a:lnTo>
                  <a:lnTo>
                    <a:pt x="1" y="253"/>
                  </a:lnTo>
                  <a:lnTo>
                    <a:pt x="1" y="250"/>
                  </a:lnTo>
                  <a:lnTo>
                    <a:pt x="1" y="246"/>
                  </a:lnTo>
                  <a:lnTo>
                    <a:pt x="1" y="243"/>
                  </a:lnTo>
                  <a:lnTo>
                    <a:pt x="1" y="241"/>
                  </a:lnTo>
                  <a:lnTo>
                    <a:pt x="1" y="232"/>
                  </a:lnTo>
                  <a:lnTo>
                    <a:pt x="3" y="229"/>
                  </a:lnTo>
                  <a:lnTo>
                    <a:pt x="3" y="227"/>
                  </a:lnTo>
                  <a:lnTo>
                    <a:pt x="3" y="225"/>
                  </a:lnTo>
                  <a:lnTo>
                    <a:pt x="3" y="222"/>
                  </a:lnTo>
                  <a:lnTo>
                    <a:pt x="3" y="219"/>
                  </a:lnTo>
                  <a:lnTo>
                    <a:pt x="3" y="215"/>
                  </a:lnTo>
                  <a:lnTo>
                    <a:pt x="3" y="208"/>
                  </a:lnTo>
                  <a:lnTo>
                    <a:pt x="3" y="205"/>
                  </a:lnTo>
                  <a:lnTo>
                    <a:pt x="3" y="203"/>
                  </a:lnTo>
                  <a:lnTo>
                    <a:pt x="3" y="198"/>
                  </a:lnTo>
                  <a:lnTo>
                    <a:pt x="5" y="189"/>
                  </a:lnTo>
                  <a:lnTo>
                    <a:pt x="3" y="188"/>
                  </a:lnTo>
                  <a:lnTo>
                    <a:pt x="5" y="182"/>
                  </a:lnTo>
                  <a:lnTo>
                    <a:pt x="5" y="179"/>
                  </a:lnTo>
                  <a:lnTo>
                    <a:pt x="5" y="172"/>
                  </a:lnTo>
                  <a:lnTo>
                    <a:pt x="5" y="170"/>
                  </a:lnTo>
                  <a:lnTo>
                    <a:pt x="5" y="165"/>
                  </a:lnTo>
                  <a:lnTo>
                    <a:pt x="5" y="157"/>
                  </a:lnTo>
                  <a:lnTo>
                    <a:pt x="5" y="153"/>
                  </a:lnTo>
                  <a:lnTo>
                    <a:pt x="5" y="145"/>
                  </a:lnTo>
                  <a:lnTo>
                    <a:pt x="5" y="143"/>
                  </a:lnTo>
                  <a:lnTo>
                    <a:pt x="5" y="138"/>
                  </a:lnTo>
                  <a:lnTo>
                    <a:pt x="7" y="136"/>
                  </a:lnTo>
                  <a:lnTo>
                    <a:pt x="7" y="134"/>
                  </a:lnTo>
                  <a:lnTo>
                    <a:pt x="7" y="129"/>
                  </a:lnTo>
                  <a:lnTo>
                    <a:pt x="7" y="127"/>
                  </a:lnTo>
                  <a:lnTo>
                    <a:pt x="7" y="126"/>
                  </a:lnTo>
                  <a:lnTo>
                    <a:pt x="7" y="122"/>
                  </a:lnTo>
                  <a:lnTo>
                    <a:pt x="7" y="117"/>
                  </a:lnTo>
                  <a:lnTo>
                    <a:pt x="7" y="112"/>
                  </a:lnTo>
                  <a:lnTo>
                    <a:pt x="7" y="110"/>
                  </a:lnTo>
                  <a:lnTo>
                    <a:pt x="7" y="108"/>
                  </a:lnTo>
                  <a:lnTo>
                    <a:pt x="7" y="107"/>
                  </a:lnTo>
                  <a:lnTo>
                    <a:pt x="7" y="107"/>
                  </a:lnTo>
                  <a:lnTo>
                    <a:pt x="7" y="105"/>
                  </a:lnTo>
                  <a:lnTo>
                    <a:pt x="7" y="103"/>
                  </a:lnTo>
                  <a:lnTo>
                    <a:pt x="7" y="100"/>
                  </a:lnTo>
                  <a:lnTo>
                    <a:pt x="7" y="98"/>
                  </a:lnTo>
                  <a:lnTo>
                    <a:pt x="7" y="96"/>
                  </a:lnTo>
                  <a:lnTo>
                    <a:pt x="7" y="91"/>
                  </a:lnTo>
                  <a:lnTo>
                    <a:pt x="7" y="88"/>
                  </a:lnTo>
                  <a:lnTo>
                    <a:pt x="8" y="84"/>
                  </a:lnTo>
                  <a:lnTo>
                    <a:pt x="8" y="79"/>
                  </a:lnTo>
                  <a:lnTo>
                    <a:pt x="8" y="76"/>
                  </a:lnTo>
                  <a:lnTo>
                    <a:pt x="8" y="74"/>
                  </a:lnTo>
                  <a:lnTo>
                    <a:pt x="8" y="71"/>
                  </a:lnTo>
                  <a:lnTo>
                    <a:pt x="12" y="65"/>
                  </a:lnTo>
                  <a:lnTo>
                    <a:pt x="12" y="64"/>
                  </a:lnTo>
                  <a:lnTo>
                    <a:pt x="13" y="64"/>
                  </a:lnTo>
                  <a:lnTo>
                    <a:pt x="13" y="62"/>
                  </a:lnTo>
                  <a:lnTo>
                    <a:pt x="22" y="57"/>
                  </a:lnTo>
                  <a:lnTo>
                    <a:pt x="24" y="55"/>
                  </a:lnTo>
                  <a:lnTo>
                    <a:pt x="27" y="48"/>
                  </a:lnTo>
                  <a:lnTo>
                    <a:pt x="36" y="41"/>
                  </a:lnTo>
                  <a:lnTo>
                    <a:pt x="38" y="40"/>
                  </a:lnTo>
                  <a:lnTo>
                    <a:pt x="41" y="33"/>
                  </a:lnTo>
                  <a:lnTo>
                    <a:pt x="44" y="31"/>
                  </a:lnTo>
                  <a:lnTo>
                    <a:pt x="46" y="31"/>
                  </a:lnTo>
                  <a:lnTo>
                    <a:pt x="46" y="29"/>
                  </a:lnTo>
                  <a:lnTo>
                    <a:pt x="48" y="29"/>
                  </a:lnTo>
                  <a:lnTo>
                    <a:pt x="51" y="24"/>
                  </a:lnTo>
                  <a:lnTo>
                    <a:pt x="53" y="24"/>
                  </a:lnTo>
                  <a:lnTo>
                    <a:pt x="62" y="14"/>
                  </a:lnTo>
                  <a:lnTo>
                    <a:pt x="63" y="12"/>
                  </a:lnTo>
                  <a:lnTo>
                    <a:pt x="65" y="10"/>
                  </a:lnTo>
                  <a:lnTo>
                    <a:pt x="68" y="7"/>
                  </a:lnTo>
                  <a:lnTo>
                    <a:pt x="70" y="4"/>
                  </a:lnTo>
                  <a:lnTo>
                    <a:pt x="72" y="2"/>
                  </a:lnTo>
                  <a:lnTo>
                    <a:pt x="74" y="2"/>
                  </a:lnTo>
                  <a:lnTo>
                    <a:pt x="75" y="0"/>
                  </a:lnTo>
                  <a:lnTo>
                    <a:pt x="75" y="4"/>
                  </a:lnTo>
                  <a:lnTo>
                    <a:pt x="79" y="10"/>
                  </a:lnTo>
                  <a:lnTo>
                    <a:pt x="84" y="17"/>
                  </a:lnTo>
                  <a:lnTo>
                    <a:pt x="84" y="19"/>
                  </a:lnTo>
                  <a:lnTo>
                    <a:pt x="84" y="21"/>
                  </a:lnTo>
                  <a:lnTo>
                    <a:pt x="86" y="24"/>
                  </a:lnTo>
                  <a:lnTo>
                    <a:pt x="86" y="28"/>
                  </a:lnTo>
                  <a:lnTo>
                    <a:pt x="87" y="31"/>
                  </a:lnTo>
                  <a:lnTo>
                    <a:pt x="87" y="33"/>
                  </a:lnTo>
                  <a:lnTo>
                    <a:pt x="91" y="36"/>
                  </a:lnTo>
                  <a:lnTo>
                    <a:pt x="93" y="40"/>
                  </a:lnTo>
                  <a:lnTo>
                    <a:pt x="98" y="41"/>
                  </a:lnTo>
                  <a:lnTo>
                    <a:pt x="101" y="43"/>
                  </a:lnTo>
                  <a:lnTo>
                    <a:pt x="101" y="41"/>
                  </a:lnTo>
                  <a:lnTo>
                    <a:pt x="101" y="40"/>
                  </a:lnTo>
                  <a:lnTo>
                    <a:pt x="108" y="31"/>
                  </a:lnTo>
                  <a:lnTo>
                    <a:pt x="108" y="31"/>
                  </a:lnTo>
                  <a:lnTo>
                    <a:pt x="110" y="31"/>
                  </a:lnTo>
                  <a:lnTo>
                    <a:pt x="111" y="31"/>
                  </a:lnTo>
                  <a:lnTo>
                    <a:pt x="111" y="33"/>
                  </a:lnTo>
                  <a:lnTo>
                    <a:pt x="113" y="33"/>
                  </a:lnTo>
                  <a:lnTo>
                    <a:pt x="113" y="34"/>
                  </a:lnTo>
                  <a:lnTo>
                    <a:pt x="113" y="38"/>
                  </a:lnTo>
                  <a:lnTo>
                    <a:pt x="113" y="40"/>
                  </a:lnTo>
                  <a:lnTo>
                    <a:pt x="113" y="41"/>
                  </a:lnTo>
                  <a:lnTo>
                    <a:pt x="113" y="43"/>
                  </a:lnTo>
                  <a:lnTo>
                    <a:pt x="113" y="47"/>
                  </a:lnTo>
                  <a:lnTo>
                    <a:pt x="113" y="48"/>
                  </a:lnTo>
                  <a:lnTo>
                    <a:pt x="113" y="50"/>
                  </a:lnTo>
                  <a:lnTo>
                    <a:pt x="115" y="52"/>
                  </a:lnTo>
                  <a:lnTo>
                    <a:pt x="115" y="53"/>
                  </a:lnTo>
                  <a:lnTo>
                    <a:pt x="117" y="57"/>
                  </a:lnTo>
                  <a:lnTo>
                    <a:pt x="117" y="59"/>
                  </a:lnTo>
                  <a:lnTo>
                    <a:pt x="120" y="60"/>
                  </a:lnTo>
                  <a:lnTo>
                    <a:pt x="122" y="62"/>
                  </a:lnTo>
                  <a:lnTo>
                    <a:pt x="124" y="62"/>
                  </a:lnTo>
                  <a:lnTo>
                    <a:pt x="125" y="62"/>
                  </a:lnTo>
                  <a:lnTo>
                    <a:pt x="127" y="62"/>
                  </a:lnTo>
                  <a:lnTo>
                    <a:pt x="129" y="62"/>
                  </a:lnTo>
                  <a:lnTo>
                    <a:pt x="129" y="64"/>
                  </a:lnTo>
                  <a:lnTo>
                    <a:pt x="130" y="64"/>
                  </a:lnTo>
                  <a:lnTo>
                    <a:pt x="134" y="64"/>
                  </a:lnTo>
                  <a:lnTo>
                    <a:pt x="137" y="64"/>
                  </a:lnTo>
                  <a:lnTo>
                    <a:pt x="139" y="65"/>
                  </a:lnTo>
                  <a:lnTo>
                    <a:pt x="142" y="65"/>
                  </a:lnTo>
                  <a:lnTo>
                    <a:pt x="146" y="65"/>
                  </a:lnTo>
                  <a:lnTo>
                    <a:pt x="149" y="67"/>
                  </a:lnTo>
                  <a:lnTo>
                    <a:pt x="153" y="67"/>
                  </a:lnTo>
                  <a:lnTo>
                    <a:pt x="154" y="69"/>
                  </a:lnTo>
                  <a:lnTo>
                    <a:pt x="160" y="69"/>
                  </a:lnTo>
                  <a:lnTo>
                    <a:pt x="161" y="71"/>
                  </a:lnTo>
                  <a:lnTo>
                    <a:pt x="161" y="71"/>
                  </a:lnTo>
                  <a:lnTo>
                    <a:pt x="165" y="71"/>
                  </a:lnTo>
                  <a:lnTo>
                    <a:pt x="168" y="71"/>
                  </a:lnTo>
                  <a:lnTo>
                    <a:pt x="170" y="71"/>
                  </a:lnTo>
                  <a:lnTo>
                    <a:pt x="172" y="71"/>
                  </a:lnTo>
                  <a:lnTo>
                    <a:pt x="173" y="71"/>
                  </a:lnTo>
                  <a:lnTo>
                    <a:pt x="175" y="71"/>
                  </a:lnTo>
                  <a:lnTo>
                    <a:pt x="177" y="69"/>
                  </a:lnTo>
                  <a:lnTo>
                    <a:pt x="177" y="69"/>
                  </a:lnTo>
                  <a:lnTo>
                    <a:pt x="179" y="67"/>
                  </a:lnTo>
                  <a:lnTo>
                    <a:pt x="182" y="65"/>
                  </a:lnTo>
                  <a:lnTo>
                    <a:pt x="184" y="65"/>
                  </a:lnTo>
                  <a:lnTo>
                    <a:pt x="184" y="64"/>
                  </a:lnTo>
                  <a:lnTo>
                    <a:pt x="185" y="64"/>
                  </a:lnTo>
                  <a:lnTo>
                    <a:pt x="187" y="64"/>
                  </a:lnTo>
                  <a:lnTo>
                    <a:pt x="189" y="64"/>
                  </a:lnTo>
                  <a:lnTo>
                    <a:pt x="189" y="62"/>
                  </a:lnTo>
                  <a:lnTo>
                    <a:pt x="191" y="62"/>
                  </a:lnTo>
                  <a:lnTo>
                    <a:pt x="194" y="62"/>
                  </a:lnTo>
                  <a:lnTo>
                    <a:pt x="196" y="62"/>
                  </a:lnTo>
                  <a:lnTo>
                    <a:pt x="199" y="62"/>
                  </a:lnTo>
                  <a:lnTo>
                    <a:pt x="201" y="62"/>
                  </a:lnTo>
                  <a:lnTo>
                    <a:pt x="204" y="62"/>
                  </a:lnTo>
                  <a:lnTo>
                    <a:pt x="206" y="62"/>
                  </a:lnTo>
                  <a:lnTo>
                    <a:pt x="206" y="62"/>
                  </a:lnTo>
                  <a:lnTo>
                    <a:pt x="210" y="62"/>
                  </a:lnTo>
                  <a:lnTo>
                    <a:pt x="213" y="62"/>
                  </a:lnTo>
                  <a:lnTo>
                    <a:pt x="216" y="64"/>
                  </a:lnTo>
                  <a:lnTo>
                    <a:pt x="218" y="65"/>
                  </a:lnTo>
                  <a:lnTo>
                    <a:pt x="220" y="65"/>
                  </a:lnTo>
                  <a:lnTo>
                    <a:pt x="222" y="67"/>
                  </a:lnTo>
                  <a:lnTo>
                    <a:pt x="222" y="67"/>
                  </a:lnTo>
                  <a:lnTo>
                    <a:pt x="227" y="67"/>
                  </a:lnTo>
                  <a:lnTo>
                    <a:pt x="228" y="67"/>
                  </a:lnTo>
                  <a:lnTo>
                    <a:pt x="232" y="67"/>
                  </a:lnTo>
                  <a:lnTo>
                    <a:pt x="235" y="67"/>
                  </a:lnTo>
                  <a:lnTo>
                    <a:pt x="237" y="67"/>
                  </a:lnTo>
                  <a:lnTo>
                    <a:pt x="241" y="67"/>
                  </a:lnTo>
                  <a:lnTo>
                    <a:pt x="242" y="65"/>
                  </a:lnTo>
                  <a:lnTo>
                    <a:pt x="246" y="67"/>
                  </a:lnTo>
                  <a:lnTo>
                    <a:pt x="247" y="67"/>
                  </a:lnTo>
                  <a:lnTo>
                    <a:pt x="249" y="67"/>
                  </a:lnTo>
                  <a:lnTo>
                    <a:pt x="251" y="67"/>
                  </a:lnTo>
                  <a:lnTo>
                    <a:pt x="253" y="67"/>
                  </a:lnTo>
                  <a:lnTo>
                    <a:pt x="254" y="67"/>
                  </a:lnTo>
                  <a:lnTo>
                    <a:pt x="256" y="67"/>
                  </a:lnTo>
                  <a:lnTo>
                    <a:pt x="259" y="69"/>
                  </a:lnTo>
                  <a:lnTo>
                    <a:pt x="261" y="69"/>
                  </a:lnTo>
                  <a:lnTo>
                    <a:pt x="265" y="71"/>
                  </a:lnTo>
                  <a:lnTo>
                    <a:pt x="266" y="71"/>
                  </a:lnTo>
                  <a:lnTo>
                    <a:pt x="266" y="72"/>
                  </a:lnTo>
                  <a:lnTo>
                    <a:pt x="268" y="72"/>
                  </a:lnTo>
                  <a:lnTo>
                    <a:pt x="270" y="72"/>
                  </a:lnTo>
                  <a:lnTo>
                    <a:pt x="271" y="72"/>
                  </a:lnTo>
                  <a:lnTo>
                    <a:pt x="275" y="74"/>
                  </a:lnTo>
                  <a:lnTo>
                    <a:pt x="277" y="74"/>
                  </a:lnTo>
                  <a:lnTo>
                    <a:pt x="278" y="74"/>
                  </a:lnTo>
                  <a:lnTo>
                    <a:pt x="280" y="74"/>
                  </a:lnTo>
                  <a:lnTo>
                    <a:pt x="282" y="74"/>
                  </a:lnTo>
                  <a:lnTo>
                    <a:pt x="284" y="74"/>
                  </a:lnTo>
                  <a:lnTo>
                    <a:pt x="287" y="72"/>
                  </a:lnTo>
                  <a:lnTo>
                    <a:pt x="290" y="72"/>
                  </a:lnTo>
                  <a:lnTo>
                    <a:pt x="292" y="72"/>
                  </a:lnTo>
                  <a:lnTo>
                    <a:pt x="296" y="71"/>
                  </a:lnTo>
                  <a:lnTo>
                    <a:pt x="297" y="71"/>
                  </a:lnTo>
                  <a:lnTo>
                    <a:pt x="297" y="71"/>
                  </a:lnTo>
                  <a:lnTo>
                    <a:pt x="299" y="71"/>
                  </a:lnTo>
                  <a:lnTo>
                    <a:pt x="301" y="71"/>
                  </a:lnTo>
                  <a:lnTo>
                    <a:pt x="301" y="71"/>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8" name="Freeform 182"/>
            <p:cNvSpPr>
              <a:spLocks/>
            </p:cNvSpPr>
            <p:nvPr/>
          </p:nvSpPr>
          <p:spPr bwMode="auto">
            <a:xfrm>
              <a:off x="4637971" y="2919206"/>
              <a:ext cx="446088" cy="534988"/>
            </a:xfrm>
            <a:custGeom>
              <a:avLst/>
              <a:gdLst/>
              <a:ahLst/>
              <a:cxnLst>
                <a:cxn ang="0">
                  <a:pos x="52" y="2"/>
                </a:cxn>
                <a:cxn ang="0">
                  <a:pos x="74" y="4"/>
                </a:cxn>
                <a:cxn ang="0">
                  <a:pos x="91" y="5"/>
                </a:cxn>
                <a:cxn ang="0">
                  <a:pos x="115" y="5"/>
                </a:cxn>
                <a:cxn ang="0">
                  <a:pos x="138" y="7"/>
                </a:cxn>
                <a:cxn ang="0">
                  <a:pos x="164" y="7"/>
                </a:cxn>
                <a:cxn ang="0">
                  <a:pos x="184" y="9"/>
                </a:cxn>
                <a:cxn ang="0">
                  <a:pos x="205" y="11"/>
                </a:cxn>
                <a:cxn ang="0">
                  <a:pos x="239" y="11"/>
                </a:cxn>
                <a:cxn ang="0">
                  <a:pos x="255" y="12"/>
                </a:cxn>
                <a:cxn ang="0">
                  <a:pos x="275" y="12"/>
                </a:cxn>
                <a:cxn ang="0">
                  <a:pos x="281" y="21"/>
                </a:cxn>
                <a:cxn ang="0">
                  <a:pos x="281" y="43"/>
                </a:cxn>
                <a:cxn ang="0">
                  <a:pos x="279" y="66"/>
                </a:cxn>
                <a:cxn ang="0">
                  <a:pos x="277" y="97"/>
                </a:cxn>
                <a:cxn ang="0">
                  <a:pos x="277" y="124"/>
                </a:cxn>
                <a:cxn ang="0">
                  <a:pos x="275" y="141"/>
                </a:cxn>
                <a:cxn ang="0">
                  <a:pos x="275" y="164"/>
                </a:cxn>
                <a:cxn ang="0">
                  <a:pos x="275" y="183"/>
                </a:cxn>
                <a:cxn ang="0">
                  <a:pos x="274" y="196"/>
                </a:cxn>
                <a:cxn ang="0">
                  <a:pos x="274" y="220"/>
                </a:cxn>
                <a:cxn ang="0">
                  <a:pos x="272" y="229"/>
                </a:cxn>
                <a:cxn ang="0">
                  <a:pos x="272" y="241"/>
                </a:cxn>
                <a:cxn ang="0">
                  <a:pos x="272" y="260"/>
                </a:cxn>
                <a:cxn ang="0">
                  <a:pos x="270" y="286"/>
                </a:cxn>
                <a:cxn ang="0">
                  <a:pos x="270" y="300"/>
                </a:cxn>
                <a:cxn ang="0">
                  <a:pos x="269" y="317"/>
                </a:cxn>
                <a:cxn ang="0">
                  <a:pos x="253" y="317"/>
                </a:cxn>
                <a:cxn ang="0">
                  <a:pos x="234" y="317"/>
                </a:cxn>
                <a:cxn ang="0">
                  <a:pos x="219" y="317"/>
                </a:cxn>
                <a:cxn ang="0">
                  <a:pos x="195" y="317"/>
                </a:cxn>
                <a:cxn ang="0">
                  <a:pos x="164" y="315"/>
                </a:cxn>
                <a:cxn ang="0">
                  <a:pos x="146" y="315"/>
                </a:cxn>
                <a:cxn ang="0">
                  <a:pos x="134" y="329"/>
                </a:cxn>
                <a:cxn ang="0">
                  <a:pos x="117" y="336"/>
                </a:cxn>
                <a:cxn ang="0">
                  <a:pos x="102" y="336"/>
                </a:cxn>
                <a:cxn ang="0">
                  <a:pos x="84" y="334"/>
                </a:cxn>
                <a:cxn ang="0">
                  <a:pos x="57" y="334"/>
                </a:cxn>
                <a:cxn ang="0">
                  <a:pos x="41" y="332"/>
                </a:cxn>
                <a:cxn ang="0">
                  <a:pos x="17" y="332"/>
                </a:cxn>
                <a:cxn ang="0">
                  <a:pos x="0" y="329"/>
                </a:cxn>
                <a:cxn ang="0">
                  <a:pos x="0" y="317"/>
                </a:cxn>
                <a:cxn ang="0">
                  <a:pos x="2" y="310"/>
                </a:cxn>
                <a:cxn ang="0">
                  <a:pos x="2" y="298"/>
                </a:cxn>
                <a:cxn ang="0">
                  <a:pos x="2" y="286"/>
                </a:cxn>
                <a:cxn ang="0">
                  <a:pos x="4" y="251"/>
                </a:cxn>
                <a:cxn ang="0">
                  <a:pos x="4" y="229"/>
                </a:cxn>
                <a:cxn ang="0">
                  <a:pos x="5" y="207"/>
                </a:cxn>
                <a:cxn ang="0">
                  <a:pos x="7" y="176"/>
                </a:cxn>
                <a:cxn ang="0">
                  <a:pos x="9" y="155"/>
                </a:cxn>
                <a:cxn ang="0">
                  <a:pos x="9" y="141"/>
                </a:cxn>
                <a:cxn ang="0">
                  <a:pos x="11" y="129"/>
                </a:cxn>
                <a:cxn ang="0">
                  <a:pos x="12" y="107"/>
                </a:cxn>
                <a:cxn ang="0">
                  <a:pos x="12" y="91"/>
                </a:cxn>
                <a:cxn ang="0">
                  <a:pos x="12" y="73"/>
                </a:cxn>
                <a:cxn ang="0">
                  <a:pos x="12" y="54"/>
                </a:cxn>
                <a:cxn ang="0">
                  <a:pos x="14" y="35"/>
                </a:cxn>
                <a:cxn ang="0">
                  <a:pos x="12" y="17"/>
                </a:cxn>
              </a:cxnLst>
              <a:rect l="0" t="0" r="r" b="b"/>
              <a:pathLst>
                <a:path w="281" h="337">
                  <a:moveTo>
                    <a:pt x="12" y="0"/>
                  </a:moveTo>
                  <a:lnTo>
                    <a:pt x="23" y="0"/>
                  </a:lnTo>
                  <a:lnTo>
                    <a:pt x="24" y="0"/>
                  </a:lnTo>
                  <a:lnTo>
                    <a:pt x="41" y="2"/>
                  </a:lnTo>
                  <a:lnTo>
                    <a:pt x="43" y="2"/>
                  </a:lnTo>
                  <a:lnTo>
                    <a:pt x="52" y="2"/>
                  </a:lnTo>
                  <a:lnTo>
                    <a:pt x="59" y="4"/>
                  </a:lnTo>
                  <a:lnTo>
                    <a:pt x="66" y="4"/>
                  </a:lnTo>
                  <a:lnTo>
                    <a:pt x="67" y="4"/>
                  </a:lnTo>
                  <a:lnTo>
                    <a:pt x="69" y="4"/>
                  </a:lnTo>
                  <a:lnTo>
                    <a:pt x="72" y="4"/>
                  </a:lnTo>
                  <a:lnTo>
                    <a:pt x="74" y="4"/>
                  </a:lnTo>
                  <a:lnTo>
                    <a:pt x="79" y="4"/>
                  </a:lnTo>
                  <a:lnTo>
                    <a:pt x="83" y="4"/>
                  </a:lnTo>
                  <a:lnTo>
                    <a:pt x="86" y="4"/>
                  </a:lnTo>
                  <a:lnTo>
                    <a:pt x="88" y="4"/>
                  </a:lnTo>
                  <a:lnTo>
                    <a:pt x="90" y="5"/>
                  </a:lnTo>
                  <a:lnTo>
                    <a:pt x="91" y="5"/>
                  </a:lnTo>
                  <a:lnTo>
                    <a:pt x="100" y="5"/>
                  </a:lnTo>
                  <a:lnTo>
                    <a:pt x="102" y="5"/>
                  </a:lnTo>
                  <a:lnTo>
                    <a:pt x="103" y="5"/>
                  </a:lnTo>
                  <a:lnTo>
                    <a:pt x="109" y="5"/>
                  </a:lnTo>
                  <a:lnTo>
                    <a:pt x="112" y="5"/>
                  </a:lnTo>
                  <a:lnTo>
                    <a:pt x="115" y="5"/>
                  </a:lnTo>
                  <a:lnTo>
                    <a:pt x="122" y="7"/>
                  </a:lnTo>
                  <a:lnTo>
                    <a:pt x="124" y="7"/>
                  </a:lnTo>
                  <a:lnTo>
                    <a:pt x="129" y="7"/>
                  </a:lnTo>
                  <a:lnTo>
                    <a:pt x="133" y="7"/>
                  </a:lnTo>
                  <a:lnTo>
                    <a:pt x="134" y="7"/>
                  </a:lnTo>
                  <a:lnTo>
                    <a:pt x="138" y="7"/>
                  </a:lnTo>
                  <a:lnTo>
                    <a:pt x="141" y="7"/>
                  </a:lnTo>
                  <a:lnTo>
                    <a:pt x="146" y="7"/>
                  </a:lnTo>
                  <a:lnTo>
                    <a:pt x="150" y="7"/>
                  </a:lnTo>
                  <a:lnTo>
                    <a:pt x="152" y="7"/>
                  </a:lnTo>
                  <a:lnTo>
                    <a:pt x="160" y="7"/>
                  </a:lnTo>
                  <a:lnTo>
                    <a:pt x="164" y="7"/>
                  </a:lnTo>
                  <a:lnTo>
                    <a:pt x="165" y="7"/>
                  </a:lnTo>
                  <a:lnTo>
                    <a:pt x="167" y="7"/>
                  </a:lnTo>
                  <a:lnTo>
                    <a:pt x="169" y="9"/>
                  </a:lnTo>
                  <a:lnTo>
                    <a:pt x="172" y="9"/>
                  </a:lnTo>
                  <a:lnTo>
                    <a:pt x="183" y="9"/>
                  </a:lnTo>
                  <a:lnTo>
                    <a:pt x="184" y="9"/>
                  </a:lnTo>
                  <a:lnTo>
                    <a:pt x="193" y="9"/>
                  </a:lnTo>
                  <a:lnTo>
                    <a:pt x="196" y="9"/>
                  </a:lnTo>
                  <a:lnTo>
                    <a:pt x="200" y="11"/>
                  </a:lnTo>
                  <a:lnTo>
                    <a:pt x="201" y="11"/>
                  </a:lnTo>
                  <a:lnTo>
                    <a:pt x="203" y="11"/>
                  </a:lnTo>
                  <a:lnTo>
                    <a:pt x="205" y="11"/>
                  </a:lnTo>
                  <a:lnTo>
                    <a:pt x="212" y="11"/>
                  </a:lnTo>
                  <a:lnTo>
                    <a:pt x="215" y="11"/>
                  </a:lnTo>
                  <a:lnTo>
                    <a:pt x="224" y="11"/>
                  </a:lnTo>
                  <a:lnTo>
                    <a:pt x="231" y="11"/>
                  </a:lnTo>
                  <a:lnTo>
                    <a:pt x="236" y="11"/>
                  </a:lnTo>
                  <a:lnTo>
                    <a:pt x="239" y="11"/>
                  </a:lnTo>
                  <a:lnTo>
                    <a:pt x="241" y="11"/>
                  </a:lnTo>
                  <a:lnTo>
                    <a:pt x="246" y="11"/>
                  </a:lnTo>
                  <a:lnTo>
                    <a:pt x="250" y="11"/>
                  </a:lnTo>
                  <a:lnTo>
                    <a:pt x="253" y="11"/>
                  </a:lnTo>
                  <a:lnTo>
                    <a:pt x="255" y="11"/>
                  </a:lnTo>
                  <a:lnTo>
                    <a:pt x="255" y="12"/>
                  </a:lnTo>
                  <a:lnTo>
                    <a:pt x="256" y="12"/>
                  </a:lnTo>
                  <a:lnTo>
                    <a:pt x="260" y="12"/>
                  </a:lnTo>
                  <a:lnTo>
                    <a:pt x="262" y="12"/>
                  </a:lnTo>
                  <a:lnTo>
                    <a:pt x="267" y="12"/>
                  </a:lnTo>
                  <a:lnTo>
                    <a:pt x="269" y="12"/>
                  </a:lnTo>
                  <a:lnTo>
                    <a:pt x="275" y="12"/>
                  </a:lnTo>
                  <a:lnTo>
                    <a:pt x="281" y="14"/>
                  </a:lnTo>
                  <a:lnTo>
                    <a:pt x="281" y="16"/>
                  </a:lnTo>
                  <a:lnTo>
                    <a:pt x="281" y="16"/>
                  </a:lnTo>
                  <a:lnTo>
                    <a:pt x="281" y="17"/>
                  </a:lnTo>
                  <a:lnTo>
                    <a:pt x="281" y="19"/>
                  </a:lnTo>
                  <a:lnTo>
                    <a:pt x="281" y="21"/>
                  </a:lnTo>
                  <a:lnTo>
                    <a:pt x="281" y="26"/>
                  </a:lnTo>
                  <a:lnTo>
                    <a:pt x="281" y="31"/>
                  </a:lnTo>
                  <a:lnTo>
                    <a:pt x="281" y="35"/>
                  </a:lnTo>
                  <a:lnTo>
                    <a:pt x="281" y="36"/>
                  </a:lnTo>
                  <a:lnTo>
                    <a:pt x="281" y="38"/>
                  </a:lnTo>
                  <a:lnTo>
                    <a:pt x="281" y="43"/>
                  </a:lnTo>
                  <a:lnTo>
                    <a:pt x="281" y="45"/>
                  </a:lnTo>
                  <a:lnTo>
                    <a:pt x="279" y="47"/>
                  </a:lnTo>
                  <a:lnTo>
                    <a:pt x="279" y="52"/>
                  </a:lnTo>
                  <a:lnTo>
                    <a:pt x="279" y="54"/>
                  </a:lnTo>
                  <a:lnTo>
                    <a:pt x="279" y="62"/>
                  </a:lnTo>
                  <a:lnTo>
                    <a:pt x="279" y="66"/>
                  </a:lnTo>
                  <a:lnTo>
                    <a:pt x="279" y="74"/>
                  </a:lnTo>
                  <a:lnTo>
                    <a:pt x="279" y="79"/>
                  </a:lnTo>
                  <a:lnTo>
                    <a:pt x="279" y="81"/>
                  </a:lnTo>
                  <a:lnTo>
                    <a:pt x="279" y="88"/>
                  </a:lnTo>
                  <a:lnTo>
                    <a:pt x="279" y="91"/>
                  </a:lnTo>
                  <a:lnTo>
                    <a:pt x="277" y="97"/>
                  </a:lnTo>
                  <a:lnTo>
                    <a:pt x="279" y="98"/>
                  </a:lnTo>
                  <a:lnTo>
                    <a:pt x="277" y="107"/>
                  </a:lnTo>
                  <a:lnTo>
                    <a:pt x="277" y="112"/>
                  </a:lnTo>
                  <a:lnTo>
                    <a:pt x="277" y="114"/>
                  </a:lnTo>
                  <a:lnTo>
                    <a:pt x="277" y="117"/>
                  </a:lnTo>
                  <a:lnTo>
                    <a:pt x="277" y="124"/>
                  </a:lnTo>
                  <a:lnTo>
                    <a:pt x="277" y="128"/>
                  </a:lnTo>
                  <a:lnTo>
                    <a:pt x="277" y="131"/>
                  </a:lnTo>
                  <a:lnTo>
                    <a:pt x="277" y="134"/>
                  </a:lnTo>
                  <a:lnTo>
                    <a:pt x="277" y="136"/>
                  </a:lnTo>
                  <a:lnTo>
                    <a:pt x="277" y="138"/>
                  </a:lnTo>
                  <a:lnTo>
                    <a:pt x="275" y="141"/>
                  </a:lnTo>
                  <a:lnTo>
                    <a:pt x="275" y="150"/>
                  </a:lnTo>
                  <a:lnTo>
                    <a:pt x="275" y="152"/>
                  </a:lnTo>
                  <a:lnTo>
                    <a:pt x="275" y="155"/>
                  </a:lnTo>
                  <a:lnTo>
                    <a:pt x="275" y="159"/>
                  </a:lnTo>
                  <a:lnTo>
                    <a:pt x="275" y="162"/>
                  </a:lnTo>
                  <a:lnTo>
                    <a:pt x="275" y="164"/>
                  </a:lnTo>
                  <a:lnTo>
                    <a:pt x="275" y="167"/>
                  </a:lnTo>
                  <a:lnTo>
                    <a:pt x="275" y="167"/>
                  </a:lnTo>
                  <a:lnTo>
                    <a:pt x="275" y="171"/>
                  </a:lnTo>
                  <a:lnTo>
                    <a:pt x="275" y="179"/>
                  </a:lnTo>
                  <a:lnTo>
                    <a:pt x="275" y="183"/>
                  </a:lnTo>
                  <a:lnTo>
                    <a:pt x="275" y="183"/>
                  </a:lnTo>
                  <a:lnTo>
                    <a:pt x="275" y="184"/>
                  </a:lnTo>
                  <a:lnTo>
                    <a:pt x="274" y="188"/>
                  </a:lnTo>
                  <a:lnTo>
                    <a:pt x="274" y="193"/>
                  </a:lnTo>
                  <a:lnTo>
                    <a:pt x="274" y="195"/>
                  </a:lnTo>
                  <a:lnTo>
                    <a:pt x="274" y="196"/>
                  </a:lnTo>
                  <a:lnTo>
                    <a:pt x="274" y="196"/>
                  </a:lnTo>
                  <a:lnTo>
                    <a:pt x="274" y="200"/>
                  </a:lnTo>
                  <a:lnTo>
                    <a:pt x="274" y="208"/>
                  </a:lnTo>
                  <a:lnTo>
                    <a:pt x="274" y="212"/>
                  </a:lnTo>
                  <a:lnTo>
                    <a:pt x="274" y="215"/>
                  </a:lnTo>
                  <a:lnTo>
                    <a:pt x="274" y="217"/>
                  </a:lnTo>
                  <a:lnTo>
                    <a:pt x="274" y="220"/>
                  </a:lnTo>
                  <a:lnTo>
                    <a:pt x="274" y="222"/>
                  </a:lnTo>
                  <a:lnTo>
                    <a:pt x="274" y="224"/>
                  </a:lnTo>
                  <a:lnTo>
                    <a:pt x="274" y="227"/>
                  </a:lnTo>
                  <a:lnTo>
                    <a:pt x="274" y="227"/>
                  </a:lnTo>
                  <a:lnTo>
                    <a:pt x="272" y="227"/>
                  </a:lnTo>
                  <a:lnTo>
                    <a:pt x="272" y="229"/>
                  </a:lnTo>
                  <a:lnTo>
                    <a:pt x="272" y="231"/>
                  </a:lnTo>
                  <a:lnTo>
                    <a:pt x="272" y="232"/>
                  </a:lnTo>
                  <a:lnTo>
                    <a:pt x="272" y="234"/>
                  </a:lnTo>
                  <a:lnTo>
                    <a:pt x="272" y="236"/>
                  </a:lnTo>
                  <a:lnTo>
                    <a:pt x="272" y="239"/>
                  </a:lnTo>
                  <a:lnTo>
                    <a:pt x="272" y="241"/>
                  </a:lnTo>
                  <a:lnTo>
                    <a:pt x="272" y="243"/>
                  </a:lnTo>
                  <a:lnTo>
                    <a:pt x="272" y="243"/>
                  </a:lnTo>
                  <a:lnTo>
                    <a:pt x="272" y="246"/>
                  </a:lnTo>
                  <a:lnTo>
                    <a:pt x="272" y="250"/>
                  </a:lnTo>
                  <a:lnTo>
                    <a:pt x="272" y="255"/>
                  </a:lnTo>
                  <a:lnTo>
                    <a:pt x="272" y="260"/>
                  </a:lnTo>
                  <a:lnTo>
                    <a:pt x="272" y="265"/>
                  </a:lnTo>
                  <a:lnTo>
                    <a:pt x="272" y="267"/>
                  </a:lnTo>
                  <a:lnTo>
                    <a:pt x="270" y="270"/>
                  </a:lnTo>
                  <a:lnTo>
                    <a:pt x="270" y="272"/>
                  </a:lnTo>
                  <a:lnTo>
                    <a:pt x="270" y="281"/>
                  </a:lnTo>
                  <a:lnTo>
                    <a:pt x="270" y="286"/>
                  </a:lnTo>
                  <a:lnTo>
                    <a:pt x="270" y="288"/>
                  </a:lnTo>
                  <a:lnTo>
                    <a:pt x="270" y="288"/>
                  </a:lnTo>
                  <a:lnTo>
                    <a:pt x="270" y="291"/>
                  </a:lnTo>
                  <a:lnTo>
                    <a:pt x="270" y="293"/>
                  </a:lnTo>
                  <a:lnTo>
                    <a:pt x="270" y="296"/>
                  </a:lnTo>
                  <a:lnTo>
                    <a:pt x="270" y="300"/>
                  </a:lnTo>
                  <a:lnTo>
                    <a:pt x="270" y="305"/>
                  </a:lnTo>
                  <a:lnTo>
                    <a:pt x="270" y="306"/>
                  </a:lnTo>
                  <a:lnTo>
                    <a:pt x="270" y="308"/>
                  </a:lnTo>
                  <a:lnTo>
                    <a:pt x="270" y="313"/>
                  </a:lnTo>
                  <a:lnTo>
                    <a:pt x="270" y="315"/>
                  </a:lnTo>
                  <a:lnTo>
                    <a:pt x="269" y="317"/>
                  </a:lnTo>
                  <a:lnTo>
                    <a:pt x="269" y="319"/>
                  </a:lnTo>
                  <a:lnTo>
                    <a:pt x="267" y="319"/>
                  </a:lnTo>
                  <a:lnTo>
                    <a:pt x="262" y="319"/>
                  </a:lnTo>
                  <a:lnTo>
                    <a:pt x="258" y="319"/>
                  </a:lnTo>
                  <a:lnTo>
                    <a:pt x="255" y="317"/>
                  </a:lnTo>
                  <a:lnTo>
                    <a:pt x="253" y="317"/>
                  </a:lnTo>
                  <a:lnTo>
                    <a:pt x="251" y="317"/>
                  </a:lnTo>
                  <a:lnTo>
                    <a:pt x="241" y="317"/>
                  </a:lnTo>
                  <a:lnTo>
                    <a:pt x="239" y="317"/>
                  </a:lnTo>
                  <a:lnTo>
                    <a:pt x="238" y="317"/>
                  </a:lnTo>
                  <a:lnTo>
                    <a:pt x="236" y="317"/>
                  </a:lnTo>
                  <a:lnTo>
                    <a:pt x="234" y="317"/>
                  </a:lnTo>
                  <a:lnTo>
                    <a:pt x="232" y="317"/>
                  </a:lnTo>
                  <a:lnTo>
                    <a:pt x="231" y="317"/>
                  </a:lnTo>
                  <a:lnTo>
                    <a:pt x="226" y="317"/>
                  </a:lnTo>
                  <a:lnTo>
                    <a:pt x="222" y="317"/>
                  </a:lnTo>
                  <a:lnTo>
                    <a:pt x="222" y="317"/>
                  </a:lnTo>
                  <a:lnTo>
                    <a:pt x="219" y="317"/>
                  </a:lnTo>
                  <a:lnTo>
                    <a:pt x="213" y="317"/>
                  </a:lnTo>
                  <a:lnTo>
                    <a:pt x="205" y="317"/>
                  </a:lnTo>
                  <a:lnTo>
                    <a:pt x="203" y="317"/>
                  </a:lnTo>
                  <a:lnTo>
                    <a:pt x="198" y="317"/>
                  </a:lnTo>
                  <a:lnTo>
                    <a:pt x="196" y="317"/>
                  </a:lnTo>
                  <a:lnTo>
                    <a:pt x="195" y="317"/>
                  </a:lnTo>
                  <a:lnTo>
                    <a:pt x="191" y="317"/>
                  </a:lnTo>
                  <a:lnTo>
                    <a:pt x="183" y="317"/>
                  </a:lnTo>
                  <a:lnTo>
                    <a:pt x="179" y="317"/>
                  </a:lnTo>
                  <a:lnTo>
                    <a:pt x="177" y="317"/>
                  </a:lnTo>
                  <a:lnTo>
                    <a:pt x="169" y="315"/>
                  </a:lnTo>
                  <a:lnTo>
                    <a:pt x="164" y="315"/>
                  </a:lnTo>
                  <a:lnTo>
                    <a:pt x="162" y="315"/>
                  </a:lnTo>
                  <a:lnTo>
                    <a:pt x="160" y="315"/>
                  </a:lnTo>
                  <a:lnTo>
                    <a:pt x="158" y="315"/>
                  </a:lnTo>
                  <a:lnTo>
                    <a:pt x="155" y="315"/>
                  </a:lnTo>
                  <a:lnTo>
                    <a:pt x="148" y="315"/>
                  </a:lnTo>
                  <a:lnTo>
                    <a:pt x="146" y="315"/>
                  </a:lnTo>
                  <a:lnTo>
                    <a:pt x="140" y="315"/>
                  </a:lnTo>
                  <a:lnTo>
                    <a:pt x="136" y="315"/>
                  </a:lnTo>
                  <a:lnTo>
                    <a:pt x="134" y="315"/>
                  </a:lnTo>
                  <a:lnTo>
                    <a:pt x="134" y="325"/>
                  </a:lnTo>
                  <a:lnTo>
                    <a:pt x="134" y="327"/>
                  </a:lnTo>
                  <a:lnTo>
                    <a:pt x="134" y="329"/>
                  </a:lnTo>
                  <a:lnTo>
                    <a:pt x="134" y="334"/>
                  </a:lnTo>
                  <a:lnTo>
                    <a:pt x="134" y="336"/>
                  </a:lnTo>
                  <a:lnTo>
                    <a:pt x="134" y="337"/>
                  </a:lnTo>
                  <a:lnTo>
                    <a:pt x="122" y="336"/>
                  </a:lnTo>
                  <a:lnTo>
                    <a:pt x="119" y="336"/>
                  </a:lnTo>
                  <a:lnTo>
                    <a:pt x="117" y="336"/>
                  </a:lnTo>
                  <a:lnTo>
                    <a:pt x="115" y="336"/>
                  </a:lnTo>
                  <a:lnTo>
                    <a:pt x="114" y="336"/>
                  </a:lnTo>
                  <a:lnTo>
                    <a:pt x="109" y="336"/>
                  </a:lnTo>
                  <a:lnTo>
                    <a:pt x="107" y="336"/>
                  </a:lnTo>
                  <a:lnTo>
                    <a:pt x="103" y="336"/>
                  </a:lnTo>
                  <a:lnTo>
                    <a:pt x="102" y="336"/>
                  </a:lnTo>
                  <a:lnTo>
                    <a:pt x="100" y="336"/>
                  </a:lnTo>
                  <a:lnTo>
                    <a:pt x="95" y="336"/>
                  </a:lnTo>
                  <a:lnTo>
                    <a:pt x="93" y="336"/>
                  </a:lnTo>
                  <a:lnTo>
                    <a:pt x="90" y="334"/>
                  </a:lnTo>
                  <a:lnTo>
                    <a:pt x="86" y="334"/>
                  </a:lnTo>
                  <a:lnTo>
                    <a:pt x="84" y="334"/>
                  </a:lnTo>
                  <a:lnTo>
                    <a:pt x="81" y="334"/>
                  </a:lnTo>
                  <a:lnTo>
                    <a:pt x="79" y="334"/>
                  </a:lnTo>
                  <a:lnTo>
                    <a:pt x="74" y="334"/>
                  </a:lnTo>
                  <a:lnTo>
                    <a:pt x="69" y="334"/>
                  </a:lnTo>
                  <a:lnTo>
                    <a:pt x="66" y="334"/>
                  </a:lnTo>
                  <a:lnTo>
                    <a:pt x="57" y="334"/>
                  </a:lnTo>
                  <a:lnTo>
                    <a:pt x="52" y="332"/>
                  </a:lnTo>
                  <a:lnTo>
                    <a:pt x="50" y="332"/>
                  </a:lnTo>
                  <a:lnTo>
                    <a:pt x="48" y="332"/>
                  </a:lnTo>
                  <a:lnTo>
                    <a:pt x="47" y="332"/>
                  </a:lnTo>
                  <a:lnTo>
                    <a:pt x="45" y="332"/>
                  </a:lnTo>
                  <a:lnTo>
                    <a:pt x="41" y="332"/>
                  </a:lnTo>
                  <a:lnTo>
                    <a:pt x="38" y="332"/>
                  </a:lnTo>
                  <a:lnTo>
                    <a:pt x="35" y="332"/>
                  </a:lnTo>
                  <a:lnTo>
                    <a:pt x="26" y="332"/>
                  </a:lnTo>
                  <a:lnTo>
                    <a:pt x="24" y="332"/>
                  </a:lnTo>
                  <a:lnTo>
                    <a:pt x="21" y="332"/>
                  </a:lnTo>
                  <a:lnTo>
                    <a:pt x="17" y="332"/>
                  </a:lnTo>
                  <a:lnTo>
                    <a:pt x="11" y="332"/>
                  </a:lnTo>
                  <a:lnTo>
                    <a:pt x="9" y="332"/>
                  </a:lnTo>
                  <a:lnTo>
                    <a:pt x="7" y="332"/>
                  </a:lnTo>
                  <a:lnTo>
                    <a:pt x="0" y="332"/>
                  </a:lnTo>
                  <a:lnTo>
                    <a:pt x="0" y="331"/>
                  </a:lnTo>
                  <a:lnTo>
                    <a:pt x="0" y="329"/>
                  </a:lnTo>
                  <a:lnTo>
                    <a:pt x="0" y="325"/>
                  </a:lnTo>
                  <a:lnTo>
                    <a:pt x="0" y="324"/>
                  </a:lnTo>
                  <a:lnTo>
                    <a:pt x="0" y="322"/>
                  </a:lnTo>
                  <a:lnTo>
                    <a:pt x="0" y="320"/>
                  </a:lnTo>
                  <a:lnTo>
                    <a:pt x="0" y="319"/>
                  </a:lnTo>
                  <a:lnTo>
                    <a:pt x="0" y="317"/>
                  </a:lnTo>
                  <a:lnTo>
                    <a:pt x="2" y="317"/>
                  </a:lnTo>
                  <a:lnTo>
                    <a:pt x="2" y="317"/>
                  </a:lnTo>
                  <a:lnTo>
                    <a:pt x="2" y="315"/>
                  </a:lnTo>
                  <a:lnTo>
                    <a:pt x="2" y="313"/>
                  </a:lnTo>
                  <a:lnTo>
                    <a:pt x="2" y="312"/>
                  </a:lnTo>
                  <a:lnTo>
                    <a:pt x="2" y="310"/>
                  </a:lnTo>
                  <a:lnTo>
                    <a:pt x="2" y="308"/>
                  </a:lnTo>
                  <a:lnTo>
                    <a:pt x="2" y="305"/>
                  </a:lnTo>
                  <a:lnTo>
                    <a:pt x="2" y="303"/>
                  </a:lnTo>
                  <a:lnTo>
                    <a:pt x="2" y="301"/>
                  </a:lnTo>
                  <a:lnTo>
                    <a:pt x="2" y="300"/>
                  </a:lnTo>
                  <a:lnTo>
                    <a:pt x="2" y="298"/>
                  </a:lnTo>
                  <a:lnTo>
                    <a:pt x="2" y="296"/>
                  </a:lnTo>
                  <a:lnTo>
                    <a:pt x="2" y="294"/>
                  </a:lnTo>
                  <a:lnTo>
                    <a:pt x="2" y="293"/>
                  </a:lnTo>
                  <a:lnTo>
                    <a:pt x="2" y="291"/>
                  </a:lnTo>
                  <a:lnTo>
                    <a:pt x="2" y="288"/>
                  </a:lnTo>
                  <a:lnTo>
                    <a:pt x="2" y="286"/>
                  </a:lnTo>
                  <a:lnTo>
                    <a:pt x="2" y="282"/>
                  </a:lnTo>
                  <a:lnTo>
                    <a:pt x="4" y="270"/>
                  </a:lnTo>
                  <a:lnTo>
                    <a:pt x="4" y="265"/>
                  </a:lnTo>
                  <a:lnTo>
                    <a:pt x="4" y="257"/>
                  </a:lnTo>
                  <a:lnTo>
                    <a:pt x="4" y="253"/>
                  </a:lnTo>
                  <a:lnTo>
                    <a:pt x="4" y="251"/>
                  </a:lnTo>
                  <a:lnTo>
                    <a:pt x="4" y="245"/>
                  </a:lnTo>
                  <a:lnTo>
                    <a:pt x="5" y="243"/>
                  </a:lnTo>
                  <a:lnTo>
                    <a:pt x="5" y="243"/>
                  </a:lnTo>
                  <a:lnTo>
                    <a:pt x="5" y="238"/>
                  </a:lnTo>
                  <a:lnTo>
                    <a:pt x="4" y="238"/>
                  </a:lnTo>
                  <a:lnTo>
                    <a:pt x="4" y="229"/>
                  </a:lnTo>
                  <a:lnTo>
                    <a:pt x="4" y="226"/>
                  </a:lnTo>
                  <a:lnTo>
                    <a:pt x="4" y="222"/>
                  </a:lnTo>
                  <a:lnTo>
                    <a:pt x="5" y="212"/>
                  </a:lnTo>
                  <a:lnTo>
                    <a:pt x="5" y="210"/>
                  </a:lnTo>
                  <a:lnTo>
                    <a:pt x="5" y="208"/>
                  </a:lnTo>
                  <a:lnTo>
                    <a:pt x="5" y="207"/>
                  </a:lnTo>
                  <a:lnTo>
                    <a:pt x="5" y="203"/>
                  </a:lnTo>
                  <a:lnTo>
                    <a:pt x="5" y="202"/>
                  </a:lnTo>
                  <a:lnTo>
                    <a:pt x="7" y="193"/>
                  </a:lnTo>
                  <a:lnTo>
                    <a:pt x="7" y="183"/>
                  </a:lnTo>
                  <a:lnTo>
                    <a:pt x="7" y="181"/>
                  </a:lnTo>
                  <a:lnTo>
                    <a:pt x="7" y="176"/>
                  </a:lnTo>
                  <a:lnTo>
                    <a:pt x="7" y="174"/>
                  </a:lnTo>
                  <a:lnTo>
                    <a:pt x="7" y="169"/>
                  </a:lnTo>
                  <a:lnTo>
                    <a:pt x="7" y="167"/>
                  </a:lnTo>
                  <a:lnTo>
                    <a:pt x="9" y="165"/>
                  </a:lnTo>
                  <a:lnTo>
                    <a:pt x="9" y="159"/>
                  </a:lnTo>
                  <a:lnTo>
                    <a:pt x="9" y="155"/>
                  </a:lnTo>
                  <a:lnTo>
                    <a:pt x="9" y="153"/>
                  </a:lnTo>
                  <a:lnTo>
                    <a:pt x="9" y="152"/>
                  </a:lnTo>
                  <a:lnTo>
                    <a:pt x="9" y="150"/>
                  </a:lnTo>
                  <a:lnTo>
                    <a:pt x="9" y="148"/>
                  </a:lnTo>
                  <a:lnTo>
                    <a:pt x="9" y="146"/>
                  </a:lnTo>
                  <a:lnTo>
                    <a:pt x="9" y="141"/>
                  </a:lnTo>
                  <a:lnTo>
                    <a:pt x="11" y="138"/>
                  </a:lnTo>
                  <a:lnTo>
                    <a:pt x="11" y="136"/>
                  </a:lnTo>
                  <a:lnTo>
                    <a:pt x="11" y="136"/>
                  </a:lnTo>
                  <a:lnTo>
                    <a:pt x="11" y="134"/>
                  </a:lnTo>
                  <a:lnTo>
                    <a:pt x="11" y="133"/>
                  </a:lnTo>
                  <a:lnTo>
                    <a:pt x="11" y="129"/>
                  </a:lnTo>
                  <a:lnTo>
                    <a:pt x="11" y="128"/>
                  </a:lnTo>
                  <a:lnTo>
                    <a:pt x="11" y="124"/>
                  </a:lnTo>
                  <a:lnTo>
                    <a:pt x="11" y="121"/>
                  </a:lnTo>
                  <a:lnTo>
                    <a:pt x="11" y="116"/>
                  </a:lnTo>
                  <a:lnTo>
                    <a:pt x="11" y="110"/>
                  </a:lnTo>
                  <a:lnTo>
                    <a:pt x="12" y="107"/>
                  </a:lnTo>
                  <a:lnTo>
                    <a:pt x="12" y="103"/>
                  </a:lnTo>
                  <a:lnTo>
                    <a:pt x="12" y="100"/>
                  </a:lnTo>
                  <a:lnTo>
                    <a:pt x="12" y="97"/>
                  </a:lnTo>
                  <a:lnTo>
                    <a:pt x="12" y="95"/>
                  </a:lnTo>
                  <a:lnTo>
                    <a:pt x="12" y="91"/>
                  </a:lnTo>
                  <a:lnTo>
                    <a:pt x="12" y="91"/>
                  </a:lnTo>
                  <a:lnTo>
                    <a:pt x="12" y="88"/>
                  </a:lnTo>
                  <a:lnTo>
                    <a:pt x="12" y="86"/>
                  </a:lnTo>
                  <a:lnTo>
                    <a:pt x="12" y="85"/>
                  </a:lnTo>
                  <a:lnTo>
                    <a:pt x="12" y="79"/>
                  </a:lnTo>
                  <a:lnTo>
                    <a:pt x="12" y="76"/>
                  </a:lnTo>
                  <a:lnTo>
                    <a:pt x="12" y="73"/>
                  </a:lnTo>
                  <a:lnTo>
                    <a:pt x="12" y="71"/>
                  </a:lnTo>
                  <a:lnTo>
                    <a:pt x="12" y="69"/>
                  </a:lnTo>
                  <a:lnTo>
                    <a:pt x="12" y="64"/>
                  </a:lnTo>
                  <a:lnTo>
                    <a:pt x="12" y="62"/>
                  </a:lnTo>
                  <a:lnTo>
                    <a:pt x="12" y="59"/>
                  </a:lnTo>
                  <a:lnTo>
                    <a:pt x="12" y="54"/>
                  </a:lnTo>
                  <a:lnTo>
                    <a:pt x="12" y="50"/>
                  </a:lnTo>
                  <a:lnTo>
                    <a:pt x="14" y="47"/>
                  </a:lnTo>
                  <a:lnTo>
                    <a:pt x="14" y="45"/>
                  </a:lnTo>
                  <a:lnTo>
                    <a:pt x="14" y="43"/>
                  </a:lnTo>
                  <a:lnTo>
                    <a:pt x="14" y="42"/>
                  </a:lnTo>
                  <a:lnTo>
                    <a:pt x="14" y="35"/>
                  </a:lnTo>
                  <a:lnTo>
                    <a:pt x="12" y="35"/>
                  </a:lnTo>
                  <a:lnTo>
                    <a:pt x="12" y="33"/>
                  </a:lnTo>
                  <a:lnTo>
                    <a:pt x="12" y="31"/>
                  </a:lnTo>
                  <a:lnTo>
                    <a:pt x="12" y="29"/>
                  </a:lnTo>
                  <a:lnTo>
                    <a:pt x="12" y="23"/>
                  </a:lnTo>
                  <a:lnTo>
                    <a:pt x="12" y="17"/>
                  </a:lnTo>
                  <a:lnTo>
                    <a:pt x="12" y="14"/>
                  </a:lnTo>
                  <a:lnTo>
                    <a:pt x="12" y="12"/>
                  </a:lnTo>
                  <a:lnTo>
                    <a:pt x="12" y="9"/>
                  </a:lnTo>
                  <a:lnTo>
                    <a:pt x="12" y="0"/>
                  </a:lnTo>
                  <a:lnTo>
                    <a:pt x="12" y="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19" name="Freeform 183"/>
            <p:cNvSpPr>
              <a:spLocks/>
            </p:cNvSpPr>
            <p:nvPr/>
          </p:nvSpPr>
          <p:spPr bwMode="auto">
            <a:xfrm>
              <a:off x="4050596" y="2922381"/>
              <a:ext cx="609600" cy="469900"/>
            </a:xfrm>
            <a:custGeom>
              <a:avLst/>
              <a:gdLst/>
              <a:ahLst/>
              <a:cxnLst>
                <a:cxn ang="0">
                  <a:pos x="382" y="29"/>
                </a:cxn>
                <a:cxn ang="0">
                  <a:pos x="384" y="43"/>
                </a:cxn>
                <a:cxn ang="0">
                  <a:pos x="382" y="62"/>
                </a:cxn>
                <a:cxn ang="0">
                  <a:pos x="382" y="83"/>
                </a:cxn>
                <a:cxn ang="0">
                  <a:pos x="382" y="95"/>
                </a:cxn>
                <a:cxn ang="0">
                  <a:pos x="381" y="119"/>
                </a:cxn>
                <a:cxn ang="0">
                  <a:pos x="381" y="134"/>
                </a:cxn>
                <a:cxn ang="0">
                  <a:pos x="379" y="148"/>
                </a:cxn>
                <a:cxn ang="0">
                  <a:pos x="377" y="165"/>
                </a:cxn>
                <a:cxn ang="0">
                  <a:pos x="377" y="191"/>
                </a:cxn>
                <a:cxn ang="0">
                  <a:pos x="375" y="210"/>
                </a:cxn>
                <a:cxn ang="0">
                  <a:pos x="375" y="241"/>
                </a:cxn>
                <a:cxn ang="0">
                  <a:pos x="374" y="263"/>
                </a:cxn>
                <a:cxn ang="0">
                  <a:pos x="372" y="291"/>
                </a:cxn>
                <a:cxn ang="0">
                  <a:pos x="358" y="296"/>
                </a:cxn>
                <a:cxn ang="0">
                  <a:pos x="341" y="296"/>
                </a:cxn>
                <a:cxn ang="0">
                  <a:pos x="322" y="294"/>
                </a:cxn>
                <a:cxn ang="0">
                  <a:pos x="308" y="294"/>
                </a:cxn>
                <a:cxn ang="0">
                  <a:pos x="282" y="292"/>
                </a:cxn>
                <a:cxn ang="0">
                  <a:pos x="260" y="292"/>
                </a:cxn>
                <a:cxn ang="0">
                  <a:pos x="239" y="291"/>
                </a:cxn>
                <a:cxn ang="0">
                  <a:pos x="226" y="291"/>
                </a:cxn>
                <a:cxn ang="0">
                  <a:pos x="210" y="291"/>
                </a:cxn>
                <a:cxn ang="0">
                  <a:pos x="195" y="289"/>
                </a:cxn>
                <a:cxn ang="0">
                  <a:pos x="178" y="289"/>
                </a:cxn>
                <a:cxn ang="0">
                  <a:pos x="160" y="289"/>
                </a:cxn>
                <a:cxn ang="0">
                  <a:pos x="131" y="287"/>
                </a:cxn>
                <a:cxn ang="0">
                  <a:pos x="107" y="287"/>
                </a:cxn>
                <a:cxn ang="0">
                  <a:pos x="95" y="286"/>
                </a:cxn>
                <a:cxn ang="0">
                  <a:pos x="66" y="286"/>
                </a:cxn>
                <a:cxn ang="0">
                  <a:pos x="37" y="286"/>
                </a:cxn>
                <a:cxn ang="0">
                  <a:pos x="23" y="286"/>
                </a:cxn>
                <a:cxn ang="0">
                  <a:pos x="6" y="284"/>
                </a:cxn>
                <a:cxn ang="0">
                  <a:pos x="6" y="260"/>
                </a:cxn>
                <a:cxn ang="0">
                  <a:pos x="7" y="234"/>
                </a:cxn>
                <a:cxn ang="0">
                  <a:pos x="6" y="217"/>
                </a:cxn>
                <a:cxn ang="0">
                  <a:pos x="2" y="200"/>
                </a:cxn>
                <a:cxn ang="0">
                  <a:pos x="2" y="182"/>
                </a:cxn>
                <a:cxn ang="0">
                  <a:pos x="4" y="165"/>
                </a:cxn>
                <a:cxn ang="0">
                  <a:pos x="4" y="150"/>
                </a:cxn>
                <a:cxn ang="0">
                  <a:pos x="6" y="138"/>
                </a:cxn>
                <a:cxn ang="0">
                  <a:pos x="6" y="103"/>
                </a:cxn>
                <a:cxn ang="0">
                  <a:pos x="9" y="81"/>
                </a:cxn>
                <a:cxn ang="0">
                  <a:pos x="9" y="52"/>
                </a:cxn>
                <a:cxn ang="0">
                  <a:pos x="12" y="15"/>
                </a:cxn>
                <a:cxn ang="0">
                  <a:pos x="37" y="15"/>
                </a:cxn>
                <a:cxn ang="0">
                  <a:pos x="50" y="17"/>
                </a:cxn>
                <a:cxn ang="0">
                  <a:pos x="81" y="19"/>
                </a:cxn>
                <a:cxn ang="0">
                  <a:pos x="98" y="19"/>
                </a:cxn>
                <a:cxn ang="0">
                  <a:pos x="119" y="21"/>
                </a:cxn>
                <a:cxn ang="0">
                  <a:pos x="140" y="22"/>
                </a:cxn>
                <a:cxn ang="0">
                  <a:pos x="155" y="22"/>
                </a:cxn>
                <a:cxn ang="0">
                  <a:pos x="179" y="7"/>
                </a:cxn>
                <a:cxn ang="0">
                  <a:pos x="202" y="2"/>
                </a:cxn>
                <a:cxn ang="0">
                  <a:pos x="224" y="3"/>
                </a:cxn>
                <a:cxn ang="0">
                  <a:pos x="252" y="5"/>
                </a:cxn>
                <a:cxn ang="0">
                  <a:pos x="289" y="7"/>
                </a:cxn>
                <a:cxn ang="0">
                  <a:pos x="307" y="7"/>
                </a:cxn>
                <a:cxn ang="0">
                  <a:pos x="324" y="7"/>
                </a:cxn>
                <a:cxn ang="0">
                  <a:pos x="338" y="9"/>
                </a:cxn>
                <a:cxn ang="0">
                  <a:pos x="351" y="9"/>
                </a:cxn>
                <a:cxn ang="0">
                  <a:pos x="367" y="9"/>
                </a:cxn>
                <a:cxn ang="0">
                  <a:pos x="381" y="10"/>
                </a:cxn>
              </a:cxnLst>
              <a:rect l="0" t="0" r="r" b="b"/>
              <a:pathLst>
                <a:path w="384" h="296">
                  <a:moveTo>
                    <a:pt x="382" y="10"/>
                  </a:moveTo>
                  <a:lnTo>
                    <a:pt x="382" y="12"/>
                  </a:lnTo>
                  <a:lnTo>
                    <a:pt x="382" y="15"/>
                  </a:lnTo>
                  <a:lnTo>
                    <a:pt x="382" y="21"/>
                  </a:lnTo>
                  <a:lnTo>
                    <a:pt x="382" y="27"/>
                  </a:lnTo>
                  <a:lnTo>
                    <a:pt x="382" y="29"/>
                  </a:lnTo>
                  <a:lnTo>
                    <a:pt x="382" y="31"/>
                  </a:lnTo>
                  <a:lnTo>
                    <a:pt x="382" y="33"/>
                  </a:lnTo>
                  <a:lnTo>
                    <a:pt x="384" y="33"/>
                  </a:lnTo>
                  <a:lnTo>
                    <a:pt x="384" y="40"/>
                  </a:lnTo>
                  <a:lnTo>
                    <a:pt x="384" y="41"/>
                  </a:lnTo>
                  <a:lnTo>
                    <a:pt x="384" y="43"/>
                  </a:lnTo>
                  <a:lnTo>
                    <a:pt x="384" y="45"/>
                  </a:lnTo>
                  <a:lnTo>
                    <a:pt x="382" y="48"/>
                  </a:lnTo>
                  <a:lnTo>
                    <a:pt x="382" y="52"/>
                  </a:lnTo>
                  <a:lnTo>
                    <a:pt x="382" y="57"/>
                  </a:lnTo>
                  <a:lnTo>
                    <a:pt x="382" y="60"/>
                  </a:lnTo>
                  <a:lnTo>
                    <a:pt x="382" y="62"/>
                  </a:lnTo>
                  <a:lnTo>
                    <a:pt x="382" y="67"/>
                  </a:lnTo>
                  <a:lnTo>
                    <a:pt x="382" y="69"/>
                  </a:lnTo>
                  <a:lnTo>
                    <a:pt x="382" y="71"/>
                  </a:lnTo>
                  <a:lnTo>
                    <a:pt x="382" y="74"/>
                  </a:lnTo>
                  <a:lnTo>
                    <a:pt x="382" y="77"/>
                  </a:lnTo>
                  <a:lnTo>
                    <a:pt x="382" y="83"/>
                  </a:lnTo>
                  <a:lnTo>
                    <a:pt x="382" y="84"/>
                  </a:lnTo>
                  <a:lnTo>
                    <a:pt x="382" y="86"/>
                  </a:lnTo>
                  <a:lnTo>
                    <a:pt x="382" y="89"/>
                  </a:lnTo>
                  <a:lnTo>
                    <a:pt x="382" y="89"/>
                  </a:lnTo>
                  <a:lnTo>
                    <a:pt x="382" y="93"/>
                  </a:lnTo>
                  <a:lnTo>
                    <a:pt x="382" y="95"/>
                  </a:lnTo>
                  <a:lnTo>
                    <a:pt x="382" y="98"/>
                  </a:lnTo>
                  <a:lnTo>
                    <a:pt x="382" y="101"/>
                  </a:lnTo>
                  <a:lnTo>
                    <a:pt x="382" y="105"/>
                  </a:lnTo>
                  <a:lnTo>
                    <a:pt x="381" y="108"/>
                  </a:lnTo>
                  <a:lnTo>
                    <a:pt x="381" y="114"/>
                  </a:lnTo>
                  <a:lnTo>
                    <a:pt x="381" y="119"/>
                  </a:lnTo>
                  <a:lnTo>
                    <a:pt x="381" y="122"/>
                  </a:lnTo>
                  <a:lnTo>
                    <a:pt x="381" y="126"/>
                  </a:lnTo>
                  <a:lnTo>
                    <a:pt x="381" y="127"/>
                  </a:lnTo>
                  <a:lnTo>
                    <a:pt x="381" y="131"/>
                  </a:lnTo>
                  <a:lnTo>
                    <a:pt x="381" y="132"/>
                  </a:lnTo>
                  <a:lnTo>
                    <a:pt x="381" y="134"/>
                  </a:lnTo>
                  <a:lnTo>
                    <a:pt x="381" y="134"/>
                  </a:lnTo>
                  <a:lnTo>
                    <a:pt x="381" y="136"/>
                  </a:lnTo>
                  <a:lnTo>
                    <a:pt x="379" y="139"/>
                  </a:lnTo>
                  <a:lnTo>
                    <a:pt x="379" y="144"/>
                  </a:lnTo>
                  <a:lnTo>
                    <a:pt x="379" y="146"/>
                  </a:lnTo>
                  <a:lnTo>
                    <a:pt x="379" y="148"/>
                  </a:lnTo>
                  <a:lnTo>
                    <a:pt x="379" y="150"/>
                  </a:lnTo>
                  <a:lnTo>
                    <a:pt x="379" y="151"/>
                  </a:lnTo>
                  <a:lnTo>
                    <a:pt x="379" y="153"/>
                  </a:lnTo>
                  <a:lnTo>
                    <a:pt x="379" y="157"/>
                  </a:lnTo>
                  <a:lnTo>
                    <a:pt x="379" y="163"/>
                  </a:lnTo>
                  <a:lnTo>
                    <a:pt x="377" y="165"/>
                  </a:lnTo>
                  <a:lnTo>
                    <a:pt x="377" y="167"/>
                  </a:lnTo>
                  <a:lnTo>
                    <a:pt x="377" y="172"/>
                  </a:lnTo>
                  <a:lnTo>
                    <a:pt x="377" y="174"/>
                  </a:lnTo>
                  <a:lnTo>
                    <a:pt x="377" y="179"/>
                  </a:lnTo>
                  <a:lnTo>
                    <a:pt x="377" y="181"/>
                  </a:lnTo>
                  <a:lnTo>
                    <a:pt x="377" y="191"/>
                  </a:lnTo>
                  <a:lnTo>
                    <a:pt x="375" y="200"/>
                  </a:lnTo>
                  <a:lnTo>
                    <a:pt x="375" y="201"/>
                  </a:lnTo>
                  <a:lnTo>
                    <a:pt x="375" y="205"/>
                  </a:lnTo>
                  <a:lnTo>
                    <a:pt x="375" y="206"/>
                  </a:lnTo>
                  <a:lnTo>
                    <a:pt x="375" y="208"/>
                  </a:lnTo>
                  <a:lnTo>
                    <a:pt x="375" y="210"/>
                  </a:lnTo>
                  <a:lnTo>
                    <a:pt x="374" y="220"/>
                  </a:lnTo>
                  <a:lnTo>
                    <a:pt x="374" y="224"/>
                  </a:lnTo>
                  <a:lnTo>
                    <a:pt x="374" y="227"/>
                  </a:lnTo>
                  <a:lnTo>
                    <a:pt x="374" y="236"/>
                  </a:lnTo>
                  <a:lnTo>
                    <a:pt x="375" y="236"/>
                  </a:lnTo>
                  <a:lnTo>
                    <a:pt x="375" y="241"/>
                  </a:lnTo>
                  <a:lnTo>
                    <a:pt x="375" y="241"/>
                  </a:lnTo>
                  <a:lnTo>
                    <a:pt x="374" y="243"/>
                  </a:lnTo>
                  <a:lnTo>
                    <a:pt x="374" y="249"/>
                  </a:lnTo>
                  <a:lnTo>
                    <a:pt x="374" y="251"/>
                  </a:lnTo>
                  <a:lnTo>
                    <a:pt x="374" y="255"/>
                  </a:lnTo>
                  <a:lnTo>
                    <a:pt x="374" y="263"/>
                  </a:lnTo>
                  <a:lnTo>
                    <a:pt x="374" y="268"/>
                  </a:lnTo>
                  <a:lnTo>
                    <a:pt x="372" y="280"/>
                  </a:lnTo>
                  <a:lnTo>
                    <a:pt x="372" y="284"/>
                  </a:lnTo>
                  <a:lnTo>
                    <a:pt x="372" y="286"/>
                  </a:lnTo>
                  <a:lnTo>
                    <a:pt x="372" y="289"/>
                  </a:lnTo>
                  <a:lnTo>
                    <a:pt x="372" y="291"/>
                  </a:lnTo>
                  <a:lnTo>
                    <a:pt x="372" y="292"/>
                  </a:lnTo>
                  <a:lnTo>
                    <a:pt x="372" y="294"/>
                  </a:lnTo>
                  <a:lnTo>
                    <a:pt x="372" y="296"/>
                  </a:lnTo>
                  <a:lnTo>
                    <a:pt x="370" y="296"/>
                  </a:lnTo>
                  <a:lnTo>
                    <a:pt x="365" y="296"/>
                  </a:lnTo>
                  <a:lnTo>
                    <a:pt x="358" y="296"/>
                  </a:lnTo>
                  <a:lnTo>
                    <a:pt x="356" y="296"/>
                  </a:lnTo>
                  <a:lnTo>
                    <a:pt x="353" y="296"/>
                  </a:lnTo>
                  <a:lnTo>
                    <a:pt x="351" y="296"/>
                  </a:lnTo>
                  <a:lnTo>
                    <a:pt x="348" y="296"/>
                  </a:lnTo>
                  <a:lnTo>
                    <a:pt x="346" y="296"/>
                  </a:lnTo>
                  <a:lnTo>
                    <a:pt x="341" y="296"/>
                  </a:lnTo>
                  <a:lnTo>
                    <a:pt x="339" y="296"/>
                  </a:lnTo>
                  <a:lnTo>
                    <a:pt x="338" y="296"/>
                  </a:lnTo>
                  <a:lnTo>
                    <a:pt x="334" y="294"/>
                  </a:lnTo>
                  <a:lnTo>
                    <a:pt x="332" y="294"/>
                  </a:lnTo>
                  <a:lnTo>
                    <a:pt x="324" y="294"/>
                  </a:lnTo>
                  <a:lnTo>
                    <a:pt x="322" y="294"/>
                  </a:lnTo>
                  <a:lnTo>
                    <a:pt x="319" y="294"/>
                  </a:lnTo>
                  <a:lnTo>
                    <a:pt x="317" y="294"/>
                  </a:lnTo>
                  <a:lnTo>
                    <a:pt x="315" y="294"/>
                  </a:lnTo>
                  <a:lnTo>
                    <a:pt x="313" y="294"/>
                  </a:lnTo>
                  <a:lnTo>
                    <a:pt x="310" y="294"/>
                  </a:lnTo>
                  <a:lnTo>
                    <a:pt x="308" y="294"/>
                  </a:lnTo>
                  <a:lnTo>
                    <a:pt x="307" y="294"/>
                  </a:lnTo>
                  <a:lnTo>
                    <a:pt x="305" y="294"/>
                  </a:lnTo>
                  <a:lnTo>
                    <a:pt x="303" y="294"/>
                  </a:lnTo>
                  <a:lnTo>
                    <a:pt x="300" y="294"/>
                  </a:lnTo>
                  <a:lnTo>
                    <a:pt x="295" y="292"/>
                  </a:lnTo>
                  <a:lnTo>
                    <a:pt x="282" y="292"/>
                  </a:lnTo>
                  <a:lnTo>
                    <a:pt x="274" y="292"/>
                  </a:lnTo>
                  <a:lnTo>
                    <a:pt x="272" y="292"/>
                  </a:lnTo>
                  <a:lnTo>
                    <a:pt x="267" y="292"/>
                  </a:lnTo>
                  <a:lnTo>
                    <a:pt x="264" y="292"/>
                  </a:lnTo>
                  <a:lnTo>
                    <a:pt x="262" y="292"/>
                  </a:lnTo>
                  <a:lnTo>
                    <a:pt x="260" y="292"/>
                  </a:lnTo>
                  <a:lnTo>
                    <a:pt x="258" y="292"/>
                  </a:lnTo>
                  <a:lnTo>
                    <a:pt x="252" y="292"/>
                  </a:lnTo>
                  <a:lnTo>
                    <a:pt x="250" y="291"/>
                  </a:lnTo>
                  <a:lnTo>
                    <a:pt x="246" y="291"/>
                  </a:lnTo>
                  <a:lnTo>
                    <a:pt x="245" y="291"/>
                  </a:lnTo>
                  <a:lnTo>
                    <a:pt x="239" y="291"/>
                  </a:lnTo>
                  <a:lnTo>
                    <a:pt x="238" y="291"/>
                  </a:lnTo>
                  <a:lnTo>
                    <a:pt x="234" y="291"/>
                  </a:lnTo>
                  <a:lnTo>
                    <a:pt x="231" y="291"/>
                  </a:lnTo>
                  <a:lnTo>
                    <a:pt x="229" y="291"/>
                  </a:lnTo>
                  <a:lnTo>
                    <a:pt x="227" y="291"/>
                  </a:lnTo>
                  <a:lnTo>
                    <a:pt x="226" y="291"/>
                  </a:lnTo>
                  <a:lnTo>
                    <a:pt x="224" y="291"/>
                  </a:lnTo>
                  <a:lnTo>
                    <a:pt x="222" y="291"/>
                  </a:lnTo>
                  <a:lnTo>
                    <a:pt x="219" y="291"/>
                  </a:lnTo>
                  <a:lnTo>
                    <a:pt x="217" y="291"/>
                  </a:lnTo>
                  <a:lnTo>
                    <a:pt x="212" y="291"/>
                  </a:lnTo>
                  <a:lnTo>
                    <a:pt x="210" y="291"/>
                  </a:lnTo>
                  <a:lnTo>
                    <a:pt x="209" y="291"/>
                  </a:lnTo>
                  <a:lnTo>
                    <a:pt x="207" y="291"/>
                  </a:lnTo>
                  <a:lnTo>
                    <a:pt x="205" y="291"/>
                  </a:lnTo>
                  <a:lnTo>
                    <a:pt x="202" y="291"/>
                  </a:lnTo>
                  <a:lnTo>
                    <a:pt x="196" y="291"/>
                  </a:lnTo>
                  <a:lnTo>
                    <a:pt x="195" y="289"/>
                  </a:lnTo>
                  <a:lnTo>
                    <a:pt x="193" y="291"/>
                  </a:lnTo>
                  <a:lnTo>
                    <a:pt x="193" y="289"/>
                  </a:lnTo>
                  <a:lnTo>
                    <a:pt x="191" y="289"/>
                  </a:lnTo>
                  <a:lnTo>
                    <a:pt x="186" y="289"/>
                  </a:lnTo>
                  <a:lnTo>
                    <a:pt x="179" y="289"/>
                  </a:lnTo>
                  <a:lnTo>
                    <a:pt x="178" y="289"/>
                  </a:lnTo>
                  <a:lnTo>
                    <a:pt x="174" y="289"/>
                  </a:lnTo>
                  <a:lnTo>
                    <a:pt x="172" y="289"/>
                  </a:lnTo>
                  <a:lnTo>
                    <a:pt x="169" y="289"/>
                  </a:lnTo>
                  <a:lnTo>
                    <a:pt x="167" y="289"/>
                  </a:lnTo>
                  <a:lnTo>
                    <a:pt x="162" y="289"/>
                  </a:lnTo>
                  <a:lnTo>
                    <a:pt x="160" y="289"/>
                  </a:lnTo>
                  <a:lnTo>
                    <a:pt x="157" y="289"/>
                  </a:lnTo>
                  <a:lnTo>
                    <a:pt x="153" y="289"/>
                  </a:lnTo>
                  <a:lnTo>
                    <a:pt x="141" y="287"/>
                  </a:lnTo>
                  <a:lnTo>
                    <a:pt x="135" y="287"/>
                  </a:lnTo>
                  <a:lnTo>
                    <a:pt x="133" y="287"/>
                  </a:lnTo>
                  <a:lnTo>
                    <a:pt x="131" y="287"/>
                  </a:lnTo>
                  <a:lnTo>
                    <a:pt x="129" y="287"/>
                  </a:lnTo>
                  <a:lnTo>
                    <a:pt x="126" y="287"/>
                  </a:lnTo>
                  <a:lnTo>
                    <a:pt x="126" y="287"/>
                  </a:lnTo>
                  <a:lnTo>
                    <a:pt x="119" y="287"/>
                  </a:lnTo>
                  <a:lnTo>
                    <a:pt x="110" y="287"/>
                  </a:lnTo>
                  <a:lnTo>
                    <a:pt x="107" y="287"/>
                  </a:lnTo>
                  <a:lnTo>
                    <a:pt x="105" y="287"/>
                  </a:lnTo>
                  <a:lnTo>
                    <a:pt x="104" y="287"/>
                  </a:lnTo>
                  <a:lnTo>
                    <a:pt x="100" y="287"/>
                  </a:lnTo>
                  <a:lnTo>
                    <a:pt x="98" y="287"/>
                  </a:lnTo>
                  <a:lnTo>
                    <a:pt x="97" y="287"/>
                  </a:lnTo>
                  <a:lnTo>
                    <a:pt x="95" y="286"/>
                  </a:lnTo>
                  <a:lnTo>
                    <a:pt x="90" y="286"/>
                  </a:lnTo>
                  <a:lnTo>
                    <a:pt x="81" y="286"/>
                  </a:lnTo>
                  <a:lnTo>
                    <a:pt x="78" y="286"/>
                  </a:lnTo>
                  <a:lnTo>
                    <a:pt x="73" y="286"/>
                  </a:lnTo>
                  <a:lnTo>
                    <a:pt x="69" y="286"/>
                  </a:lnTo>
                  <a:lnTo>
                    <a:pt x="66" y="286"/>
                  </a:lnTo>
                  <a:lnTo>
                    <a:pt x="59" y="286"/>
                  </a:lnTo>
                  <a:lnTo>
                    <a:pt x="55" y="286"/>
                  </a:lnTo>
                  <a:lnTo>
                    <a:pt x="50" y="286"/>
                  </a:lnTo>
                  <a:lnTo>
                    <a:pt x="43" y="286"/>
                  </a:lnTo>
                  <a:lnTo>
                    <a:pt x="38" y="286"/>
                  </a:lnTo>
                  <a:lnTo>
                    <a:pt x="37" y="286"/>
                  </a:lnTo>
                  <a:lnTo>
                    <a:pt x="37" y="286"/>
                  </a:lnTo>
                  <a:lnTo>
                    <a:pt x="33" y="286"/>
                  </a:lnTo>
                  <a:lnTo>
                    <a:pt x="31" y="286"/>
                  </a:lnTo>
                  <a:lnTo>
                    <a:pt x="28" y="286"/>
                  </a:lnTo>
                  <a:lnTo>
                    <a:pt x="24" y="286"/>
                  </a:lnTo>
                  <a:lnTo>
                    <a:pt x="23" y="286"/>
                  </a:lnTo>
                  <a:lnTo>
                    <a:pt x="21" y="286"/>
                  </a:lnTo>
                  <a:lnTo>
                    <a:pt x="19" y="284"/>
                  </a:lnTo>
                  <a:lnTo>
                    <a:pt x="18" y="284"/>
                  </a:lnTo>
                  <a:lnTo>
                    <a:pt x="16" y="284"/>
                  </a:lnTo>
                  <a:lnTo>
                    <a:pt x="7" y="284"/>
                  </a:lnTo>
                  <a:lnTo>
                    <a:pt x="6" y="284"/>
                  </a:lnTo>
                  <a:lnTo>
                    <a:pt x="6" y="280"/>
                  </a:lnTo>
                  <a:lnTo>
                    <a:pt x="6" y="272"/>
                  </a:lnTo>
                  <a:lnTo>
                    <a:pt x="6" y="270"/>
                  </a:lnTo>
                  <a:lnTo>
                    <a:pt x="6" y="267"/>
                  </a:lnTo>
                  <a:lnTo>
                    <a:pt x="6" y="261"/>
                  </a:lnTo>
                  <a:lnTo>
                    <a:pt x="6" y="260"/>
                  </a:lnTo>
                  <a:lnTo>
                    <a:pt x="6" y="256"/>
                  </a:lnTo>
                  <a:lnTo>
                    <a:pt x="6" y="253"/>
                  </a:lnTo>
                  <a:lnTo>
                    <a:pt x="6" y="249"/>
                  </a:lnTo>
                  <a:lnTo>
                    <a:pt x="6" y="241"/>
                  </a:lnTo>
                  <a:lnTo>
                    <a:pt x="7" y="236"/>
                  </a:lnTo>
                  <a:lnTo>
                    <a:pt x="7" y="234"/>
                  </a:lnTo>
                  <a:lnTo>
                    <a:pt x="7" y="232"/>
                  </a:lnTo>
                  <a:lnTo>
                    <a:pt x="7" y="229"/>
                  </a:lnTo>
                  <a:lnTo>
                    <a:pt x="7" y="227"/>
                  </a:lnTo>
                  <a:lnTo>
                    <a:pt x="7" y="220"/>
                  </a:lnTo>
                  <a:lnTo>
                    <a:pt x="7" y="217"/>
                  </a:lnTo>
                  <a:lnTo>
                    <a:pt x="6" y="217"/>
                  </a:lnTo>
                  <a:lnTo>
                    <a:pt x="4" y="217"/>
                  </a:lnTo>
                  <a:lnTo>
                    <a:pt x="2" y="217"/>
                  </a:lnTo>
                  <a:lnTo>
                    <a:pt x="0" y="217"/>
                  </a:lnTo>
                  <a:lnTo>
                    <a:pt x="0" y="206"/>
                  </a:lnTo>
                  <a:lnTo>
                    <a:pt x="0" y="205"/>
                  </a:lnTo>
                  <a:lnTo>
                    <a:pt x="2" y="200"/>
                  </a:lnTo>
                  <a:lnTo>
                    <a:pt x="2" y="198"/>
                  </a:lnTo>
                  <a:lnTo>
                    <a:pt x="2" y="194"/>
                  </a:lnTo>
                  <a:lnTo>
                    <a:pt x="2" y="191"/>
                  </a:lnTo>
                  <a:lnTo>
                    <a:pt x="2" y="189"/>
                  </a:lnTo>
                  <a:lnTo>
                    <a:pt x="2" y="187"/>
                  </a:lnTo>
                  <a:lnTo>
                    <a:pt x="2" y="182"/>
                  </a:lnTo>
                  <a:lnTo>
                    <a:pt x="2" y="181"/>
                  </a:lnTo>
                  <a:lnTo>
                    <a:pt x="2" y="179"/>
                  </a:lnTo>
                  <a:lnTo>
                    <a:pt x="2" y="177"/>
                  </a:lnTo>
                  <a:lnTo>
                    <a:pt x="4" y="172"/>
                  </a:lnTo>
                  <a:lnTo>
                    <a:pt x="4" y="169"/>
                  </a:lnTo>
                  <a:lnTo>
                    <a:pt x="4" y="165"/>
                  </a:lnTo>
                  <a:lnTo>
                    <a:pt x="4" y="165"/>
                  </a:lnTo>
                  <a:lnTo>
                    <a:pt x="4" y="162"/>
                  </a:lnTo>
                  <a:lnTo>
                    <a:pt x="4" y="158"/>
                  </a:lnTo>
                  <a:lnTo>
                    <a:pt x="4" y="157"/>
                  </a:lnTo>
                  <a:lnTo>
                    <a:pt x="4" y="153"/>
                  </a:lnTo>
                  <a:lnTo>
                    <a:pt x="4" y="150"/>
                  </a:lnTo>
                  <a:lnTo>
                    <a:pt x="6" y="150"/>
                  </a:lnTo>
                  <a:lnTo>
                    <a:pt x="6" y="148"/>
                  </a:lnTo>
                  <a:lnTo>
                    <a:pt x="6" y="146"/>
                  </a:lnTo>
                  <a:lnTo>
                    <a:pt x="6" y="144"/>
                  </a:lnTo>
                  <a:lnTo>
                    <a:pt x="6" y="143"/>
                  </a:lnTo>
                  <a:lnTo>
                    <a:pt x="6" y="138"/>
                  </a:lnTo>
                  <a:lnTo>
                    <a:pt x="6" y="136"/>
                  </a:lnTo>
                  <a:lnTo>
                    <a:pt x="6" y="134"/>
                  </a:lnTo>
                  <a:lnTo>
                    <a:pt x="6" y="132"/>
                  </a:lnTo>
                  <a:lnTo>
                    <a:pt x="6" y="126"/>
                  </a:lnTo>
                  <a:lnTo>
                    <a:pt x="6" y="115"/>
                  </a:lnTo>
                  <a:lnTo>
                    <a:pt x="6" y="103"/>
                  </a:lnTo>
                  <a:lnTo>
                    <a:pt x="7" y="91"/>
                  </a:lnTo>
                  <a:lnTo>
                    <a:pt x="7" y="89"/>
                  </a:lnTo>
                  <a:lnTo>
                    <a:pt x="7" y="84"/>
                  </a:lnTo>
                  <a:lnTo>
                    <a:pt x="7" y="83"/>
                  </a:lnTo>
                  <a:lnTo>
                    <a:pt x="7" y="81"/>
                  </a:lnTo>
                  <a:lnTo>
                    <a:pt x="9" y="81"/>
                  </a:lnTo>
                  <a:lnTo>
                    <a:pt x="9" y="76"/>
                  </a:lnTo>
                  <a:lnTo>
                    <a:pt x="9" y="74"/>
                  </a:lnTo>
                  <a:lnTo>
                    <a:pt x="9" y="74"/>
                  </a:lnTo>
                  <a:lnTo>
                    <a:pt x="9" y="69"/>
                  </a:lnTo>
                  <a:lnTo>
                    <a:pt x="9" y="65"/>
                  </a:lnTo>
                  <a:lnTo>
                    <a:pt x="9" y="52"/>
                  </a:lnTo>
                  <a:lnTo>
                    <a:pt x="11" y="52"/>
                  </a:lnTo>
                  <a:lnTo>
                    <a:pt x="11" y="34"/>
                  </a:lnTo>
                  <a:lnTo>
                    <a:pt x="12" y="24"/>
                  </a:lnTo>
                  <a:lnTo>
                    <a:pt x="12" y="22"/>
                  </a:lnTo>
                  <a:lnTo>
                    <a:pt x="12" y="19"/>
                  </a:lnTo>
                  <a:lnTo>
                    <a:pt x="12" y="15"/>
                  </a:lnTo>
                  <a:lnTo>
                    <a:pt x="14" y="14"/>
                  </a:lnTo>
                  <a:lnTo>
                    <a:pt x="21" y="15"/>
                  </a:lnTo>
                  <a:lnTo>
                    <a:pt x="23" y="15"/>
                  </a:lnTo>
                  <a:lnTo>
                    <a:pt x="35" y="15"/>
                  </a:lnTo>
                  <a:lnTo>
                    <a:pt x="37" y="15"/>
                  </a:lnTo>
                  <a:lnTo>
                    <a:pt x="37" y="15"/>
                  </a:lnTo>
                  <a:lnTo>
                    <a:pt x="38" y="15"/>
                  </a:lnTo>
                  <a:lnTo>
                    <a:pt x="40" y="15"/>
                  </a:lnTo>
                  <a:lnTo>
                    <a:pt x="45" y="17"/>
                  </a:lnTo>
                  <a:lnTo>
                    <a:pt x="47" y="17"/>
                  </a:lnTo>
                  <a:lnTo>
                    <a:pt x="49" y="17"/>
                  </a:lnTo>
                  <a:lnTo>
                    <a:pt x="50" y="17"/>
                  </a:lnTo>
                  <a:lnTo>
                    <a:pt x="54" y="17"/>
                  </a:lnTo>
                  <a:lnTo>
                    <a:pt x="59" y="17"/>
                  </a:lnTo>
                  <a:lnTo>
                    <a:pt x="66" y="17"/>
                  </a:lnTo>
                  <a:lnTo>
                    <a:pt x="73" y="17"/>
                  </a:lnTo>
                  <a:lnTo>
                    <a:pt x="80" y="19"/>
                  </a:lnTo>
                  <a:lnTo>
                    <a:pt x="81" y="19"/>
                  </a:lnTo>
                  <a:lnTo>
                    <a:pt x="81" y="19"/>
                  </a:lnTo>
                  <a:lnTo>
                    <a:pt x="85" y="19"/>
                  </a:lnTo>
                  <a:lnTo>
                    <a:pt x="90" y="19"/>
                  </a:lnTo>
                  <a:lnTo>
                    <a:pt x="97" y="19"/>
                  </a:lnTo>
                  <a:lnTo>
                    <a:pt x="97" y="19"/>
                  </a:lnTo>
                  <a:lnTo>
                    <a:pt x="98" y="19"/>
                  </a:lnTo>
                  <a:lnTo>
                    <a:pt x="102" y="19"/>
                  </a:lnTo>
                  <a:lnTo>
                    <a:pt x="107" y="19"/>
                  </a:lnTo>
                  <a:lnTo>
                    <a:pt x="109" y="21"/>
                  </a:lnTo>
                  <a:lnTo>
                    <a:pt x="110" y="21"/>
                  </a:lnTo>
                  <a:lnTo>
                    <a:pt x="114" y="21"/>
                  </a:lnTo>
                  <a:lnTo>
                    <a:pt x="119" y="21"/>
                  </a:lnTo>
                  <a:lnTo>
                    <a:pt x="124" y="21"/>
                  </a:lnTo>
                  <a:lnTo>
                    <a:pt x="126" y="21"/>
                  </a:lnTo>
                  <a:lnTo>
                    <a:pt x="131" y="21"/>
                  </a:lnTo>
                  <a:lnTo>
                    <a:pt x="133" y="21"/>
                  </a:lnTo>
                  <a:lnTo>
                    <a:pt x="136" y="22"/>
                  </a:lnTo>
                  <a:lnTo>
                    <a:pt x="140" y="22"/>
                  </a:lnTo>
                  <a:lnTo>
                    <a:pt x="141" y="22"/>
                  </a:lnTo>
                  <a:lnTo>
                    <a:pt x="143" y="22"/>
                  </a:lnTo>
                  <a:lnTo>
                    <a:pt x="148" y="22"/>
                  </a:lnTo>
                  <a:lnTo>
                    <a:pt x="152" y="22"/>
                  </a:lnTo>
                  <a:lnTo>
                    <a:pt x="153" y="22"/>
                  </a:lnTo>
                  <a:lnTo>
                    <a:pt x="155" y="22"/>
                  </a:lnTo>
                  <a:lnTo>
                    <a:pt x="159" y="22"/>
                  </a:lnTo>
                  <a:lnTo>
                    <a:pt x="171" y="24"/>
                  </a:lnTo>
                  <a:lnTo>
                    <a:pt x="176" y="24"/>
                  </a:lnTo>
                  <a:lnTo>
                    <a:pt x="179" y="24"/>
                  </a:lnTo>
                  <a:lnTo>
                    <a:pt x="179" y="17"/>
                  </a:lnTo>
                  <a:lnTo>
                    <a:pt x="179" y="7"/>
                  </a:lnTo>
                  <a:lnTo>
                    <a:pt x="179" y="0"/>
                  </a:lnTo>
                  <a:lnTo>
                    <a:pt x="184" y="2"/>
                  </a:lnTo>
                  <a:lnTo>
                    <a:pt x="188" y="2"/>
                  </a:lnTo>
                  <a:lnTo>
                    <a:pt x="190" y="2"/>
                  </a:lnTo>
                  <a:lnTo>
                    <a:pt x="195" y="2"/>
                  </a:lnTo>
                  <a:lnTo>
                    <a:pt x="202" y="2"/>
                  </a:lnTo>
                  <a:lnTo>
                    <a:pt x="203" y="2"/>
                  </a:lnTo>
                  <a:lnTo>
                    <a:pt x="207" y="3"/>
                  </a:lnTo>
                  <a:lnTo>
                    <a:pt x="212" y="3"/>
                  </a:lnTo>
                  <a:lnTo>
                    <a:pt x="214" y="3"/>
                  </a:lnTo>
                  <a:lnTo>
                    <a:pt x="219" y="3"/>
                  </a:lnTo>
                  <a:lnTo>
                    <a:pt x="224" y="3"/>
                  </a:lnTo>
                  <a:lnTo>
                    <a:pt x="231" y="3"/>
                  </a:lnTo>
                  <a:lnTo>
                    <a:pt x="234" y="3"/>
                  </a:lnTo>
                  <a:lnTo>
                    <a:pt x="239" y="3"/>
                  </a:lnTo>
                  <a:lnTo>
                    <a:pt x="241" y="3"/>
                  </a:lnTo>
                  <a:lnTo>
                    <a:pt x="246" y="3"/>
                  </a:lnTo>
                  <a:lnTo>
                    <a:pt x="252" y="5"/>
                  </a:lnTo>
                  <a:lnTo>
                    <a:pt x="269" y="5"/>
                  </a:lnTo>
                  <a:lnTo>
                    <a:pt x="270" y="5"/>
                  </a:lnTo>
                  <a:lnTo>
                    <a:pt x="276" y="5"/>
                  </a:lnTo>
                  <a:lnTo>
                    <a:pt x="279" y="5"/>
                  </a:lnTo>
                  <a:lnTo>
                    <a:pt x="286" y="5"/>
                  </a:lnTo>
                  <a:lnTo>
                    <a:pt x="289" y="7"/>
                  </a:lnTo>
                  <a:lnTo>
                    <a:pt x="293" y="7"/>
                  </a:lnTo>
                  <a:lnTo>
                    <a:pt x="295" y="7"/>
                  </a:lnTo>
                  <a:lnTo>
                    <a:pt x="300" y="7"/>
                  </a:lnTo>
                  <a:lnTo>
                    <a:pt x="303" y="7"/>
                  </a:lnTo>
                  <a:lnTo>
                    <a:pt x="307" y="7"/>
                  </a:lnTo>
                  <a:lnTo>
                    <a:pt x="307" y="7"/>
                  </a:lnTo>
                  <a:lnTo>
                    <a:pt x="313" y="7"/>
                  </a:lnTo>
                  <a:lnTo>
                    <a:pt x="315" y="7"/>
                  </a:lnTo>
                  <a:lnTo>
                    <a:pt x="317" y="7"/>
                  </a:lnTo>
                  <a:lnTo>
                    <a:pt x="319" y="7"/>
                  </a:lnTo>
                  <a:lnTo>
                    <a:pt x="320" y="7"/>
                  </a:lnTo>
                  <a:lnTo>
                    <a:pt x="324" y="7"/>
                  </a:lnTo>
                  <a:lnTo>
                    <a:pt x="329" y="7"/>
                  </a:lnTo>
                  <a:lnTo>
                    <a:pt x="331" y="7"/>
                  </a:lnTo>
                  <a:lnTo>
                    <a:pt x="332" y="7"/>
                  </a:lnTo>
                  <a:lnTo>
                    <a:pt x="334" y="9"/>
                  </a:lnTo>
                  <a:lnTo>
                    <a:pt x="336" y="9"/>
                  </a:lnTo>
                  <a:lnTo>
                    <a:pt x="338" y="9"/>
                  </a:lnTo>
                  <a:lnTo>
                    <a:pt x="338" y="9"/>
                  </a:lnTo>
                  <a:lnTo>
                    <a:pt x="343" y="9"/>
                  </a:lnTo>
                  <a:lnTo>
                    <a:pt x="344" y="9"/>
                  </a:lnTo>
                  <a:lnTo>
                    <a:pt x="348" y="9"/>
                  </a:lnTo>
                  <a:lnTo>
                    <a:pt x="350" y="9"/>
                  </a:lnTo>
                  <a:lnTo>
                    <a:pt x="351" y="9"/>
                  </a:lnTo>
                  <a:lnTo>
                    <a:pt x="353" y="9"/>
                  </a:lnTo>
                  <a:lnTo>
                    <a:pt x="355" y="9"/>
                  </a:lnTo>
                  <a:lnTo>
                    <a:pt x="360" y="9"/>
                  </a:lnTo>
                  <a:lnTo>
                    <a:pt x="362" y="9"/>
                  </a:lnTo>
                  <a:lnTo>
                    <a:pt x="365" y="9"/>
                  </a:lnTo>
                  <a:lnTo>
                    <a:pt x="367" y="9"/>
                  </a:lnTo>
                  <a:lnTo>
                    <a:pt x="368" y="10"/>
                  </a:lnTo>
                  <a:lnTo>
                    <a:pt x="370" y="10"/>
                  </a:lnTo>
                  <a:lnTo>
                    <a:pt x="374" y="10"/>
                  </a:lnTo>
                  <a:lnTo>
                    <a:pt x="375" y="10"/>
                  </a:lnTo>
                  <a:lnTo>
                    <a:pt x="377" y="10"/>
                  </a:lnTo>
                  <a:lnTo>
                    <a:pt x="381" y="10"/>
                  </a:lnTo>
                  <a:lnTo>
                    <a:pt x="382" y="10"/>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0" name="Freeform 184"/>
            <p:cNvSpPr>
              <a:spLocks/>
            </p:cNvSpPr>
            <p:nvPr/>
          </p:nvSpPr>
          <p:spPr bwMode="auto">
            <a:xfrm>
              <a:off x="5279321" y="2944606"/>
              <a:ext cx="442913" cy="603250"/>
            </a:xfrm>
            <a:custGeom>
              <a:avLst/>
              <a:gdLst/>
              <a:ahLst/>
              <a:cxnLst>
                <a:cxn ang="0">
                  <a:pos x="217" y="12"/>
                </a:cxn>
                <a:cxn ang="0">
                  <a:pos x="222" y="22"/>
                </a:cxn>
                <a:cxn ang="0">
                  <a:pos x="222" y="39"/>
                </a:cxn>
                <a:cxn ang="0">
                  <a:pos x="233" y="48"/>
                </a:cxn>
                <a:cxn ang="0">
                  <a:pos x="238" y="58"/>
                </a:cxn>
                <a:cxn ang="0">
                  <a:pos x="241" y="69"/>
                </a:cxn>
                <a:cxn ang="0">
                  <a:pos x="250" y="75"/>
                </a:cxn>
                <a:cxn ang="0">
                  <a:pos x="258" y="79"/>
                </a:cxn>
                <a:cxn ang="0">
                  <a:pos x="272" y="79"/>
                </a:cxn>
                <a:cxn ang="0">
                  <a:pos x="279" y="91"/>
                </a:cxn>
                <a:cxn ang="0">
                  <a:pos x="276" y="105"/>
                </a:cxn>
                <a:cxn ang="0">
                  <a:pos x="265" y="115"/>
                </a:cxn>
                <a:cxn ang="0">
                  <a:pos x="262" y="127"/>
                </a:cxn>
                <a:cxn ang="0">
                  <a:pos x="267" y="137"/>
                </a:cxn>
                <a:cxn ang="0">
                  <a:pos x="270" y="148"/>
                </a:cxn>
                <a:cxn ang="0">
                  <a:pos x="262" y="177"/>
                </a:cxn>
                <a:cxn ang="0">
                  <a:pos x="258" y="192"/>
                </a:cxn>
                <a:cxn ang="0">
                  <a:pos x="255" y="211"/>
                </a:cxn>
                <a:cxn ang="0">
                  <a:pos x="250" y="229"/>
                </a:cxn>
                <a:cxn ang="0">
                  <a:pos x="245" y="249"/>
                </a:cxn>
                <a:cxn ang="0">
                  <a:pos x="241" y="266"/>
                </a:cxn>
                <a:cxn ang="0">
                  <a:pos x="238" y="280"/>
                </a:cxn>
                <a:cxn ang="0">
                  <a:pos x="231" y="304"/>
                </a:cxn>
                <a:cxn ang="0">
                  <a:pos x="226" y="330"/>
                </a:cxn>
                <a:cxn ang="0">
                  <a:pos x="217" y="358"/>
                </a:cxn>
                <a:cxn ang="0">
                  <a:pos x="215" y="366"/>
                </a:cxn>
                <a:cxn ang="0">
                  <a:pos x="207" y="380"/>
                </a:cxn>
                <a:cxn ang="0">
                  <a:pos x="195" y="380"/>
                </a:cxn>
                <a:cxn ang="0">
                  <a:pos x="176" y="380"/>
                </a:cxn>
                <a:cxn ang="0">
                  <a:pos x="154" y="378"/>
                </a:cxn>
                <a:cxn ang="0">
                  <a:pos x="138" y="378"/>
                </a:cxn>
                <a:cxn ang="0">
                  <a:pos x="123" y="370"/>
                </a:cxn>
                <a:cxn ang="0">
                  <a:pos x="104" y="349"/>
                </a:cxn>
                <a:cxn ang="0">
                  <a:pos x="86" y="332"/>
                </a:cxn>
                <a:cxn ang="0">
                  <a:pos x="74" y="320"/>
                </a:cxn>
                <a:cxn ang="0">
                  <a:pos x="54" y="301"/>
                </a:cxn>
                <a:cxn ang="0">
                  <a:pos x="38" y="287"/>
                </a:cxn>
                <a:cxn ang="0">
                  <a:pos x="26" y="275"/>
                </a:cxn>
                <a:cxn ang="0">
                  <a:pos x="14" y="263"/>
                </a:cxn>
                <a:cxn ang="0">
                  <a:pos x="0" y="253"/>
                </a:cxn>
                <a:cxn ang="0">
                  <a:pos x="2" y="239"/>
                </a:cxn>
                <a:cxn ang="0">
                  <a:pos x="2" y="215"/>
                </a:cxn>
                <a:cxn ang="0">
                  <a:pos x="2" y="196"/>
                </a:cxn>
                <a:cxn ang="0">
                  <a:pos x="23" y="184"/>
                </a:cxn>
                <a:cxn ang="0">
                  <a:pos x="61" y="184"/>
                </a:cxn>
                <a:cxn ang="0">
                  <a:pos x="78" y="186"/>
                </a:cxn>
                <a:cxn ang="0">
                  <a:pos x="107" y="186"/>
                </a:cxn>
                <a:cxn ang="0">
                  <a:pos x="129" y="187"/>
                </a:cxn>
                <a:cxn ang="0">
                  <a:pos x="141" y="167"/>
                </a:cxn>
                <a:cxn ang="0">
                  <a:pos x="148" y="151"/>
                </a:cxn>
                <a:cxn ang="0">
                  <a:pos x="154" y="130"/>
                </a:cxn>
                <a:cxn ang="0">
                  <a:pos x="164" y="112"/>
                </a:cxn>
                <a:cxn ang="0">
                  <a:pos x="171" y="93"/>
                </a:cxn>
                <a:cxn ang="0">
                  <a:pos x="183" y="62"/>
                </a:cxn>
                <a:cxn ang="0">
                  <a:pos x="193" y="38"/>
                </a:cxn>
                <a:cxn ang="0">
                  <a:pos x="202" y="15"/>
                </a:cxn>
                <a:cxn ang="0">
                  <a:pos x="207" y="1"/>
                </a:cxn>
              </a:cxnLst>
              <a:rect l="0" t="0" r="r" b="b"/>
              <a:pathLst>
                <a:path w="279" h="380">
                  <a:moveTo>
                    <a:pt x="209" y="0"/>
                  </a:moveTo>
                  <a:lnTo>
                    <a:pt x="212" y="7"/>
                  </a:lnTo>
                  <a:lnTo>
                    <a:pt x="214" y="8"/>
                  </a:lnTo>
                  <a:lnTo>
                    <a:pt x="215" y="8"/>
                  </a:lnTo>
                  <a:lnTo>
                    <a:pt x="217" y="10"/>
                  </a:lnTo>
                  <a:lnTo>
                    <a:pt x="217" y="12"/>
                  </a:lnTo>
                  <a:lnTo>
                    <a:pt x="219" y="12"/>
                  </a:lnTo>
                  <a:lnTo>
                    <a:pt x="221" y="13"/>
                  </a:lnTo>
                  <a:lnTo>
                    <a:pt x="221" y="15"/>
                  </a:lnTo>
                  <a:lnTo>
                    <a:pt x="222" y="15"/>
                  </a:lnTo>
                  <a:lnTo>
                    <a:pt x="222" y="19"/>
                  </a:lnTo>
                  <a:lnTo>
                    <a:pt x="222" y="22"/>
                  </a:lnTo>
                  <a:lnTo>
                    <a:pt x="221" y="26"/>
                  </a:lnTo>
                  <a:lnTo>
                    <a:pt x="219" y="29"/>
                  </a:lnTo>
                  <a:lnTo>
                    <a:pt x="219" y="31"/>
                  </a:lnTo>
                  <a:lnTo>
                    <a:pt x="219" y="34"/>
                  </a:lnTo>
                  <a:lnTo>
                    <a:pt x="221" y="38"/>
                  </a:lnTo>
                  <a:lnTo>
                    <a:pt x="222" y="39"/>
                  </a:lnTo>
                  <a:lnTo>
                    <a:pt x="226" y="41"/>
                  </a:lnTo>
                  <a:lnTo>
                    <a:pt x="227" y="43"/>
                  </a:lnTo>
                  <a:lnTo>
                    <a:pt x="227" y="44"/>
                  </a:lnTo>
                  <a:lnTo>
                    <a:pt x="229" y="44"/>
                  </a:lnTo>
                  <a:lnTo>
                    <a:pt x="231" y="46"/>
                  </a:lnTo>
                  <a:lnTo>
                    <a:pt x="233" y="48"/>
                  </a:lnTo>
                  <a:lnTo>
                    <a:pt x="234" y="50"/>
                  </a:lnTo>
                  <a:lnTo>
                    <a:pt x="234" y="51"/>
                  </a:lnTo>
                  <a:lnTo>
                    <a:pt x="236" y="53"/>
                  </a:lnTo>
                  <a:lnTo>
                    <a:pt x="236" y="55"/>
                  </a:lnTo>
                  <a:lnTo>
                    <a:pt x="238" y="57"/>
                  </a:lnTo>
                  <a:lnTo>
                    <a:pt x="238" y="58"/>
                  </a:lnTo>
                  <a:lnTo>
                    <a:pt x="238" y="60"/>
                  </a:lnTo>
                  <a:lnTo>
                    <a:pt x="240" y="62"/>
                  </a:lnTo>
                  <a:lnTo>
                    <a:pt x="240" y="63"/>
                  </a:lnTo>
                  <a:lnTo>
                    <a:pt x="241" y="65"/>
                  </a:lnTo>
                  <a:lnTo>
                    <a:pt x="241" y="67"/>
                  </a:lnTo>
                  <a:lnTo>
                    <a:pt x="241" y="69"/>
                  </a:lnTo>
                  <a:lnTo>
                    <a:pt x="241" y="70"/>
                  </a:lnTo>
                  <a:lnTo>
                    <a:pt x="243" y="72"/>
                  </a:lnTo>
                  <a:lnTo>
                    <a:pt x="245" y="74"/>
                  </a:lnTo>
                  <a:lnTo>
                    <a:pt x="246" y="75"/>
                  </a:lnTo>
                  <a:lnTo>
                    <a:pt x="248" y="75"/>
                  </a:lnTo>
                  <a:lnTo>
                    <a:pt x="250" y="75"/>
                  </a:lnTo>
                  <a:lnTo>
                    <a:pt x="252" y="77"/>
                  </a:lnTo>
                  <a:lnTo>
                    <a:pt x="253" y="79"/>
                  </a:lnTo>
                  <a:lnTo>
                    <a:pt x="255" y="79"/>
                  </a:lnTo>
                  <a:lnTo>
                    <a:pt x="257" y="79"/>
                  </a:lnTo>
                  <a:lnTo>
                    <a:pt x="257" y="79"/>
                  </a:lnTo>
                  <a:lnTo>
                    <a:pt x="258" y="79"/>
                  </a:lnTo>
                  <a:lnTo>
                    <a:pt x="260" y="79"/>
                  </a:lnTo>
                  <a:lnTo>
                    <a:pt x="264" y="79"/>
                  </a:lnTo>
                  <a:lnTo>
                    <a:pt x="265" y="79"/>
                  </a:lnTo>
                  <a:lnTo>
                    <a:pt x="267" y="79"/>
                  </a:lnTo>
                  <a:lnTo>
                    <a:pt x="269" y="79"/>
                  </a:lnTo>
                  <a:lnTo>
                    <a:pt x="272" y="79"/>
                  </a:lnTo>
                  <a:lnTo>
                    <a:pt x="272" y="79"/>
                  </a:lnTo>
                  <a:lnTo>
                    <a:pt x="274" y="81"/>
                  </a:lnTo>
                  <a:lnTo>
                    <a:pt x="276" y="82"/>
                  </a:lnTo>
                  <a:lnTo>
                    <a:pt x="277" y="86"/>
                  </a:lnTo>
                  <a:lnTo>
                    <a:pt x="279" y="87"/>
                  </a:lnTo>
                  <a:lnTo>
                    <a:pt x="279" y="91"/>
                  </a:lnTo>
                  <a:lnTo>
                    <a:pt x="279" y="96"/>
                  </a:lnTo>
                  <a:lnTo>
                    <a:pt x="279" y="100"/>
                  </a:lnTo>
                  <a:lnTo>
                    <a:pt x="277" y="101"/>
                  </a:lnTo>
                  <a:lnTo>
                    <a:pt x="277" y="103"/>
                  </a:lnTo>
                  <a:lnTo>
                    <a:pt x="276" y="105"/>
                  </a:lnTo>
                  <a:lnTo>
                    <a:pt x="276" y="105"/>
                  </a:lnTo>
                  <a:lnTo>
                    <a:pt x="274" y="108"/>
                  </a:lnTo>
                  <a:lnTo>
                    <a:pt x="272" y="108"/>
                  </a:lnTo>
                  <a:lnTo>
                    <a:pt x="270" y="112"/>
                  </a:lnTo>
                  <a:lnTo>
                    <a:pt x="269" y="112"/>
                  </a:lnTo>
                  <a:lnTo>
                    <a:pt x="265" y="113"/>
                  </a:lnTo>
                  <a:lnTo>
                    <a:pt x="265" y="115"/>
                  </a:lnTo>
                  <a:lnTo>
                    <a:pt x="264" y="115"/>
                  </a:lnTo>
                  <a:lnTo>
                    <a:pt x="262" y="118"/>
                  </a:lnTo>
                  <a:lnTo>
                    <a:pt x="262" y="120"/>
                  </a:lnTo>
                  <a:lnTo>
                    <a:pt x="262" y="122"/>
                  </a:lnTo>
                  <a:lnTo>
                    <a:pt x="262" y="124"/>
                  </a:lnTo>
                  <a:lnTo>
                    <a:pt x="262" y="127"/>
                  </a:lnTo>
                  <a:lnTo>
                    <a:pt x="264" y="129"/>
                  </a:lnTo>
                  <a:lnTo>
                    <a:pt x="264" y="130"/>
                  </a:lnTo>
                  <a:lnTo>
                    <a:pt x="264" y="134"/>
                  </a:lnTo>
                  <a:lnTo>
                    <a:pt x="265" y="136"/>
                  </a:lnTo>
                  <a:lnTo>
                    <a:pt x="265" y="136"/>
                  </a:lnTo>
                  <a:lnTo>
                    <a:pt x="267" y="137"/>
                  </a:lnTo>
                  <a:lnTo>
                    <a:pt x="269" y="139"/>
                  </a:lnTo>
                  <a:lnTo>
                    <a:pt x="270" y="139"/>
                  </a:lnTo>
                  <a:lnTo>
                    <a:pt x="270" y="141"/>
                  </a:lnTo>
                  <a:lnTo>
                    <a:pt x="272" y="141"/>
                  </a:lnTo>
                  <a:lnTo>
                    <a:pt x="270" y="143"/>
                  </a:lnTo>
                  <a:lnTo>
                    <a:pt x="270" y="148"/>
                  </a:lnTo>
                  <a:lnTo>
                    <a:pt x="269" y="151"/>
                  </a:lnTo>
                  <a:lnTo>
                    <a:pt x="269" y="151"/>
                  </a:lnTo>
                  <a:lnTo>
                    <a:pt x="269" y="153"/>
                  </a:lnTo>
                  <a:lnTo>
                    <a:pt x="267" y="156"/>
                  </a:lnTo>
                  <a:lnTo>
                    <a:pt x="265" y="167"/>
                  </a:lnTo>
                  <a:lnTo>
                    <a:pt x="262" y="177"/>
                  </a:lnTo>
                  <a:lnTo>
                    <a:pt x="260" y="180"/>
                  </a:lnTo>
                  <a:lnTo>
                    <a:pt x="260" y="186"/>
                  </a:lnTo>
                  <a:lnTo>
                    <a:pt x="258" y="187"/>
                  </a:lnTo>
                  <a:lnTo>
                    <a:pt x="258" y="189"/>
                  </a:lnTo>
                  <a:lnTo>
                    <a:pt x="258" y="191"/>
                  </a:lnTo>
                  <a:lnTo>
                    <a:pt x="258" y="192"/>
                  </a:lnTo>
                  <a:lnTo>
                    <a:pt x="257" y="194"/>
                  </a:lnTo>
                  <a:lnTo>
                    <a:pt x="257" y="196"/>
                  </a:lnTo>
                  <a:lnTo>
                    <a:pt x="257" y="198"/>
                  </a:lnTo>
                  <a:lnTo>
                    <a:pt x="257" y="203"/>
                  </a:lnTo>
                  <a:lnTo>
                    <a:pt x="255" y="206"/>
                  </a:lnTo>
                  <a:lnTo>
                    <a:pt x="255" y="211"/>
                  </a:lnTo>
                  <a:lnTo>
                    <a:pt x="253" y="213"/>
                  </a:lnTo>
                  <a:lnTo>
                    <a:pt x="252" y="218"/>
                  </a:lnTo>
                  <a:lnTo>
                    <a:pt x="252" y="223"/>
                  </a:lnTo>
                  <a:lnTo>
                    <a:pt x="250" y="225"/>
                  </a:lnTo>
                  <a:lnTo>
                    <a:pt x="250" y="227"/>
                  </a:lnTo>
                  <a:lnTo>
                    <a:pt x="250" y="229"/>
                  </a:lnTo>
                  <a:lnTo>
                    <a:pt x="248" y="234"/>
                  </a:lnTo>
                  <a:lnTo>
                    <a:pt x="248" y="235"/>
                  </a:lnTo>
                  <a:lnTo>
                    <a:pt x="248" y="237"/>
                  </a:lnTo>
                  <a:lnTo>
                    <a:pt x="245" y="244"/>
                  </a:lnTo>
                  <a:lnTo>
                    <a:pt x="245" y="247"/>
                  </a:lnTo>
                  <a:lnTo>
                    <a:pt x="245" y="249"/>
                  </a:lnTo>
                  <a:lnTo>
                    <a:pt x="243" y="253"/>
                  </a:lnTo>
                  <a:lnTo>
                    <a:pt x="243" y="254"/>
                  </a:lnTo>
                  <a:lnTo>
                    <a:pt x="243" y="256"/>
                  </a:lnTo>
                  <a:lnTo>
                    <a:pt x="241" y="260"/>
                  </a:lnTo>
                  <a:lnTo>
                    <a:pt x="241" y="261"/>
                  </a:lnTo>
                  <a:lnTo>
                    <a:pt x="241" y="266"/>
                  </a:lnTo>
                  <a:lnTo>
                    <a:pt x="240" y="270"/>
                  </a:lnTo>
                  <a:lnTo>
                    <a:pt x="240" y="272"/>
                  </a:lnTo>
                  <a:lnTo>
                    <a:pt x="240" y="272"/>
                  </a:lnTo>
                  <a:lnTo>
                    <a:pt x="238" y="277"/>
                  </a:lnTo>
                  <a:lnTo>
                    <a:pt x="238" y="278"/>
                  </a:lnTo>
                  <a:lnTo>
                    <a:pt x="238" y="280"/>
                  </a:lnTo>
                  <a:lnTo>
                    <a:pt x="236" y="287"/>
                  </a:lnTo>
                  <a:lnTo>
                    <a:pt x="234" y="290"/>
                  </a:lnTo>
                  <a:lnTo>
                    <a:pt x="233" y="294"/>
                  </a:lnTo>
                  <a:lnTo>
                    <a:pt x="233" y="296"/>
                  </a:lnTo>
                  <a:lnTo>
                    <a:pt x="233" y="297"/>
                  </a:lnTo>
                  <a:lnTo>
                    <a:pt x="231" y="304"/>
                  </a:lnTo>
                  <a:lnTo>
                    <a:pt x="229" y="309"/>
                  </a:lnTo>
                  <a:lnTo>
                    <a:pt x="229" y="311"/>
                  </a:lnTo>
                  <a:lnTo>
                    <a:pt x="227" y="316"/>
                  </a:lnTo>
                  <a:lnTo>
                    <a:pt x="227" y="321"/>
                  </a:lnTo>
                  <a:lnTo>
                    <a:pt x="226" y="325"/>
                  </a:lnTo>
                  <a:lnTo>
                    <a:pt x="226" y="330"/>
                  </a:lnTo>
                  <a:lnTo>
                    <a:pt x="224" y="332"/>
                  </a:lnTo>
                  <a:lnTo>
                    <a:pt x="224" y="335"/>
                  </a:lnTo>
                  <a:lnTo>
                    <a:pt x="222" y="337"/>
                  </a:lnTo>
                  <a:lnTo>
                    <a:pt x="221" y="346"/>
                  </a:lnTo>
                  <a:lnTo>
                    <a:pt x="221" y="347"/>
                  </a:lnTo>
                  <a:lnTo>
                    <a:pt x="217" y="358"/>
                  </a:lnTo>
                  <a:lnTo>
                    <a:pt x="217" y="359"/>
                  </a:lnTo>
                  <a:lnTo>
                    <a:pt x="217" y="361"/>
                  </a:lnTo>
                  <a:lnTo>
                    <a:pt x="217" y="361"/>
                  </a:lnTo>
                  <a:lnTo>
                    <a:pt x="215" y="363"/>
                  </a:lnTo>
                  <a:lnTo>
                    <a:pt x="215" y="364"/>
                  </a:lnTo>
                  <a:lnTo>
                    <a:pt x="215" y="366"/>
                  </a:lnTo>
                  <a:lnTo>
                    <a:pt x="214" y="370"/>
                  </a:lnTo>
                  <a:lnTo>
                    <a:pt x="212" y="376"/>
                  </a:lnTo>
                  <a:lnTo>
                    <a:pt x="212" y="380"/>
                  </a:lnTo>
                  <a:lnTo>
                    <a:pt x="210" y="380"/>
                  </a:lnTo>
                  <a:lnTo>
                    <a:pt x="209" y="380"/>
                  </a:lnTo>
                  <a:lnTo>
                    <a:pt x="207" y="380"/>
                  </a:lnTo>
                  <a:lnTo>
                    <a:pt x="205" y="380"/>
                  </a:lnTo>
                  <a:lnTo>
                    <a:pt x="203" y="380"/>
                  </a:lnTo>
                  <a:lnTo>
                    <a:pt x="200" y="380"/>
                  </a:lnTo>
                  <a:lnTo>
                    <a:pt x="198" y="380"/>
                  </a:lnTo>
                  <a:lnTo>
                    <a:pt x="197" y="380"/>
                  </a:lnTo>
                  <a:lnTo>
                    <a:pt x="195" y="380"/>
                  </a:lnTo>
                  <a:lnTo>
                    <a:pt x="190" y="380"/>
                  </a:lnTo>
                  <a:lnTo>
                    <a:pt x="183" y="380"/>
                  </a:lnTo>
                  <a:lnTo>
                    <a:pt x="181" y="380"/>
                  </a:lnTo>
                  <a:lnTo>
                    <a:pt x="181" y="380"/>
                  </a:lnTo>
                  <a:lnTo>
                    <a:pt x="178" y="380"/>
                  </a:lnTo>
                  <a:lnTo>
                    <a:pt x="176" y="380"/>
                  </a:lnTo>
                  <a:lnTo>
                    <a:pt x="172" y="380"/>
                  </a:lnTo>
                  <a:lnTo>
                    <a:pt x="171" y="380"/>
                  </a:lnTo>
                  <a:lnTo>
                    <a:pt x="166" y="380"/>
                  </a:lnTo>
                  <a:lnTo>
                    <a:pt x="160" y="378"/>
                  </a:lnTo>
                  <a:lnTo>
                    <a:pt x="157" y="378"/>
                  </a:lnTo>
                  <a:lnTo>
                    <a:pt x="154" y="378"/>
                  </a:lnTo>
                  <a:lnTo>
                    <a:pt x="150" y="378"/>
                  </a:lnTo>
                  <a:lnTo>
                    <a:pt x="148" y="378"/>
                  </a:lnTo>
                  <a:lnTo>
                    <a:pt x="147" y="378"/>
                  </a:lnTo>
                  <a:lnTo>
                    <a:pt x="145" y="378"/>
                  </a:lnTo>
                  <a:lnTo>
                    <a:pt x="141" y="378"/>
                  </a:lnTo>
                  <a:lnTo>
                    <a:pt x="138" y="378"/>
                  </a:lnTo>
                  <a:lnTo>
                    <a:pt x="135" y="378"/>
                  </a:lnTo>
                  <a:lnTo>
                    <a:pt x="133" y="378"/>
                  </a:lnTo>
                  <a:lnTo>
                    <a:pt x="131" y="376"/>
                  </a:lnTo>
                  <a:lnTo>
                    <a:pt x="129" y="375"/>
                  </a:lnTo>
                  <a:lnTo>
                    <a:pt x="128" y="373"/>
                  </a:lnTo>
                  <a:lnTo>
                    <a:pt x="123" y="370"/>
                  </a:lnTo>
                  <a:lnTo>
                    <a:pt x="119" y="364"/>
                  </a:lnTo>
                  <a:lnTo>
                    <a:pt x="112" y="359"/>
                  </a:lnTo>
                  <a:lnTo>
                    <a:pt x="109" y="356"/>
                  </a:lnTo>
                  <a:lnTo>
                    <a:pt x="107" y="354"/>
                  </a:lnTo>
                  <a:lnTo>
                    <a:pt x="105" y="352"/>
                  </a:lnTo>
                  <a:lnTo>
                    <a:pt x="104" y="349"/>
                  </a:lnTo>
                  <a:lnTo>
                    <a:pt x="100" y="347"/>
                  </a:lnTo>
                  <a:lnTo>
                    <a:pt x="97" y="344"/>
                  </a:lnTo>
                  <a:lnTo>
                    <a:pt x="92" y="339"/>
                  </a:lnTo>
                  <a:lnTo>
                    <a:pt x="90" y="335"/>
                  </a:lnTo>
                  <a:lnTo>
                    <a:pt x="88" y="335"/>
                  </a:lnTo>
                  <a:lnTo>
                    <a:pt x="86" y="332"/>
                  </a:lnTo>
                  <a:lnTo>
                    <a:pt x="85" y="332"/>
                  </a:lnTo>
                  <a:lnTo>
                    <a:pt x="80" y="328"/>
                  </a:lnTo>
                  <a:lnTo>
                    <a:pt x="78" y="327"/>
                  </a:lnTo>
                  <a:lnTo>
                    <a:pt x="76" y="321"/>
                  </a:lnTo>
                  <a:lnTo>
                    <a:pt x="74" y="321"/>
                  </a:lnTo>
                  <a:lnTo>
                    <a:pt x="74" y="320"/>
                  </a:lnTo>
                  <a:lnTo>
                    <a:pt x="67" y="316"/>
                  </a:lnTo>
                  <a:lnTo>
                    <a:pt x="67" y="315"/>
                  </a:lnTo>
                  <a:lnTo>
                    <a:pt x="62" y="311"/>
                  </a:lnTo>
                  <a:lnTo>
                    <a:pt x="61" y="309"/>
                  </a:lnTo>
                  <a:lnTo>
                    <a:pt x="57" y="304"/>
                  </a:lnTo>
                  <a:lnTo>
                    <a:pt x="54" y="301"/>
                  </a:lnTo>
                  <a:lnTo>
                    <a:pt x="50" y="299"/>
                  </a:lnTo>
                  <a:lnTo>
                    <a:pt x="47" y="296"/>
                  </a:lnTo>
                  <a:lnTo>
                    <a:pt x="45" y="292"/>
                  </a:lnTo>
                  <a:lnTo>
                    <a:pt x="43" y="290"/>
                  </a:lnTo>
                  <a:lnTo>
                    <a:pt x="42" y="289"/>
                  </a:lnTo>
                  <a:lnTo>
                    <a:pt x="38" y="287"/>
                  </a:lnTo>
                  <a:lnTo>
                    <a:pt x="35" y="285"/>
                  </a:lnTo>
                  <a:lnTo>
                    <a:pt x="33" y="284"/>
                  </a:lnTo>
                  <a:lnTo>
                    <a:pt x="31" y="282"/>
                  </a:lnTo>
                  <a:lnTo>
                    <a:pt x="30" y="278"/>
                  </a:lnTo>
                  <a:lnTo>
                    <a:pt x="28" y="277"/>
                  </a:lnTo>
                  <a:lnTo>
                    <a:pt x="26" y="275"/>
                  </a:lnTo>
                  <a:lnTo>
                    <a:pt x="26" y="273"/>
                  </a:lnTo>
                  <a:lnTo>
                    <a:pt x="24" y="273"/>
                  </a:lnTo>
                  <a:lnTo>
                    <a:pt x="23" y="272"/>
                  </a:lnTo>
                  <a:lnTo>
                    <a:pt x="16" y="266"/>
                  </a:lnTo>
                  <a:lnTo>
                    <a:pt x="16" y="265"/>
                  </a:lnTo>
                  <a:lnTo>
                    <a:pt x="14" y="263"/>
                  </a:lnTo>
                  <a:lnTo>
                    <a:pt x="12" y="261"/>
                  </a:lnTo>
                  <a:lnTo>
                    <a:pt x="11" y="260"/>
                  </a:lnTo>
                  <a:lnTo>
                    <a:pt x="9" y="258"/>
                  </a:lnTo>
                  <a:lnTo>
                    <a:pt x="7" y="256"/>
                  </a:lnTo>
                  <a:lnTo>
                    <a:pt x="2" y="253"/>
                  </a:lnTo>
                  <a:lnTo>
                    <a:pt x="0" y="253"/>
                  </a:lnTo>
                  <a:lnTo>
                    <a:pt x="2" y="251"/>
                  </a:lnTo>
                  <a:lnTo>
                    <a:pt x="2" y="247"/>
                  </a:lnTo>
                  <a:lnTo>
                    <a:pt x="2" y="246"/>
                  </a:lnTo>
                  <a:lnTo>
                    <a:pt x="2" y="244"/>
                  </a:lnTo>
                  <a:lnTo>
                    <a:pt x="2" y="241"/>
                  </a:lnTo>
                  <a:lnTo>
                    <a:pt x="2" y="239"/>
                  </a:lnTo>
                  <a:lnTo>
                    <a:pt x="2" y="237"/>
                  </a:lnTo>
                  <a:lnTo>
                    <a:pt x="2" y="232"/>
                  </a:lnTo>
                  <a:lnTo>
                    <a:pt x="2" y="230"/>
                  </a:lnTo>
                  <a:lnTo>
                    <a:pt x="2" y="220"/>
                  </a:lnTo>
                  <a:lnTo>
                    <a:pt x="2" y="218"/>
                  </a:lnTo>
                  <a:lnTo>
                    <a:pt x="2" y="215"/>
                  </a:lnTo>
                  <a:lnTo>
                    <a:pt x="2" y="213"/>
                  </a:lnTo>
                  <a:lnTo>
                    <a:pt x="2" y="210"/>
                  </a:lnTo>
                  <a:lnTo>
                    <a:pt x="2" y="208"/>
                  </a:lnTo>
                  <a:lnTo>
                    <a:pt x="2" y="204"/>
                  </a:lnTo>
                  <a:lnTo>
                    <a:pt x="2" y="198"/>
                  </a:lnTo>
                  <a:lnTo>
                    <a:pt x="2" y="196"/>
                  </a:lnTo>
                  <a:lnTo>
                    <a:pt x="2" y="191"/>
                  </a:lnTo>
                  <a:lnTo>
                    <a:pt x="2" y="184"/>
                  </a:lnTo>
                  <a:lnTo>
                    <a:pt x="6" y="184"/>
                  </a:lnTo>
                  <a:lnTo>
                    <a:pt x="16" y="184"/>
                  </a:lnTo>
                  <a:lnTo>
                    <a:pt x="21" y="184"/>
                  </a:lnTo>
                  <a:lnTo>
                    <a:pt x="23" y="184"/>
                  </a:lnTo>
                  <a:lnTo>
                    <a:pt x="31" y="184"/>
                  </a:lnTo>
                  <a:lnTo>
                    <a:pt x="40" y="184"/>
                  </a:lnTo>
                  <a:lnTo>
                    <a:pt x="49" y="184"/>
                  </a:lnTo>
                  <a:lnTo>
                    <a:pt x="54" y="184"/>
                  </a:lnTo>
                  <a:lnTo>
                    <a:pt x="57" y="184"/>
                  </a:lnTo>
                  <a:lnTo>
                    <a:pt x="61" y="184"/>
                  </a:lnTo>
                  <a:lnTo>
                    <a:pt x="66" y="184"/>
                  </a:lnTo>
                  <a:lnTo>
                    <a:pt x="67" y="184"/>
                  </a:lnTo>
                  <a:lnTo>
                    <a:pt x="69" y="184"/>
                  </a:lnTo>
                  <a:lnTo>
                    <a:pt x="71" y="184"/>
                  </a:lnTo>
                  <a:lnTo>
                    <a:pt x="71" y="186"/>
                  </a:lnTo>
                  <a:lnTo>
                    <a:pt x="78" y="186"/>
                  </a:lnTo>
                  <a:lnTo>
                    <a:pt x="83" y="186"/>
                  </a:lnTo>
                  <a:lnTo>
                    <a:pt x="92" y="186"/>
                  </a:lnTo>
                  <a:lnTo>
                    <a:pt x="97" y="186"/>
                  </a:lnTo>
                  <a:lnTo>
                    <a:pt x="104" y="186"/>
                  </a:lnTo>
                  <a:lnTo>
                    <a:pt x="105" y="186"/>
                  </a:lnTo>
                  <a:lnTo>
                    <a:pt x="107" y="186"/>
                  </a:lnTo>
                  <a:lnTo>
                    <a:pt x="111" y="186"/>
                  </a:lnTo>
                  <a:lnTo>
                    <a:pt x="114" y="186"/>
                  </a:lnTo>
                  <a:lnTo>
                    <a:pt x="116" y="187"/>
                  </a:lnTo>
                  <a:lnTo>
                    <a:pt x="119" y="187"/>
                  </a:lnTo>
                  <a:lnTo>
                    <a:pt x="126" y="187"/>
                  </a:lnTo>
                  <a:lnTo>
                    <a:pt x="129" y="187"/>
                  </a:lnTo>
                  <a:lnTo>
                    <a:pt x="133" y="187"/>
                  </a:lnTo>
                  <a:lnTo>
                    <a:pt x="136" y="187"/>
                  </a:lnTo>
                  <a:lnTo>
                    <a:pt x="136" y="180"/>
                  </a:lnTo>
                  <a:lnTo>
                    <a:pt x="136" y="180"/>
                  </a:lnTo>
                  <a:lnTo>
                    <a:pt x="136" y="177"/>
                  </a:lnTo>
                  <a:lnTo>
                    <a:pt x="141" y="167"/>
                  </a:lnTo>
                  <a:lnTo>
                    <a:pt x="141" y="167"/>
                  </a:lnTo>
                  <a:lnTo>
                    <a:pt x="143" y="165"/>
                  </a:lnTo>
                  <a:lnTo>
                    <a:pt x="143" y="163"/>
                  </a:lnTo>
                  <a:lnTo>
                    <a:pt x="145" y="158"/>
                  </a:lnTo>
                  <a:lnTo>
                    <a:pt x="145" y="156"/>
                  </a:lnTo>
                  <a:lnTo>
                    <a:pt x="148" y="151"/>
                  </a:lnTo>
                  <a:lnTo>
                    <a:pt x="148" y="151"/>
                  </a:lnTo>
                  <a:lnTo>
                    <a:pt x="148" y="149"/>
                  </a:lnTo>
                  <a:lnTo>
                    <a:pt x="152" y="143"/>
                  </a:lnTo>
                  <a:lnTo>
                    <a:pt x="152" y="137"/>
                  </a:lnTo>
                  <a:lnTo>
                    <a:pt x="154" y="134"/>
                  </a:lnTo>
                  <a:lnTo>
                    <a:pt x="154" y="130"/>
                  </a:lnTo>
                  <a:lnTo>
                    <a:pt x="155" y="130"/>
                  </a:lnTo>
                  <a:lnTo>
                    <a:pt x="157" y="125"/>
                  </a:lnTo>
                  <a:lnTo>
                    <a:pt x="159" y="124"/>
                  </a:lnTo>
                  <a:lnTo>
                    <a:pt x="159" y="120"/>
                  </a:lnTo>
                  <a:lnTo>
                    <a:pt x="162" y="115"/>
                  </a:lnTo>
                  <a:lnTo>
                    <a:pt x="164" y="112"/>
                  </a:lnTo>
                  <a:lnTo>
                    <a:pt x="164" y="110"/>
                  </a:lnTo>
                  <a:lnTo>
                    <a:pt x="167" y="103"/>
                  </a:lnTo>
                  <a:lnTo>
                    <a:pt x="167" y="100"/>
                  </a:lnTo>
                  <a:lnTo>
                    <a:pt x="167" y="98"/>
                  </a:lnTo>
                  <a:lnTo>
                    <a:pt x="169" y="96"/>
                  </a:lnTo>
                  <a:lnTo>
                    <a:pt x="171" y="93"/>
                  </a:lnTo>
                  <a:lnTo>
                    <a:pt x="172" y="87"/>
                  </a:lnTo>
                  <a:lnTo>
                    <a:pt x="174" y="84"/>
                  </a:lnTo>
                  <a:lnTo>
                    <a:pt x="176" y="81"/>
                  </a:lnTo>
                  <a:lnTo>
                    <a:pt x="181" y="67"/>
                  </a:lnTo>
                  <a:lnTo>
                    <a:pt x="181" y="65"/>
                  </a:lnTo>
                  <a:lnTo>
                    <a:pt x="183" y="62"/>
                  </a:lnTo>
                  <a:lnTo>
                    <a:pt x="183" y="60"/>
                  </a:lnTo>
                  <a:lnTo>
                    <a:pt x="184" y="55"/>
                  </a:lnTo>
                  <a:lnTo>
                    <a:pt x="188" y="48"/>
                  </a:lnTo>
                  <a:lnTo>
                    <a:pt x="190" y="44"/>
                  </a:lnTo>
                  <a:lnTo>
                    <a:pt x="191" y="39"/>
                  </a:lnTo>
                  <a:lnTo>
                    <a:pt x="193" y="38"/>
                  </a:lnTo>
                  <a:lnTo>
                    <a:pt x="195" y="31"/>
                  </a:lnTo>
                  <a:lnTo>
                    <a:pt x="197" y="29"/>
                  </a:lnTo>
                  <a:lnTo>
                    <a:pt x="197" y="27"/>
                  </a:lnTo>
                  <a:lnTo>
                    <a:pt x="198" y="22"/>
                  </a:lnTo>
                  <a:lnTo>
                    <a:pt x="200" y="17"/>
                  </a:lnTo>
                  <a:lnTo>
                    <a:pt x="202" y="15"/>
                  </a:lnTo>
                  <a:lnTo>
                    <a:pt x="202" y="15"/>
                  </a:lnTo>
                  <a:lnTo>
                    <a:pt x="202" y="13"/>
                  </a:lnTo>
                  <a:lnTo>
                    <a:pt x="203" y="12"/>
                  </a:lnTo>
                  <a:lnTo>
                    <a:pt x="207" y="5"/>
                  </a:lnTo>
                  <a:lnTo>
                    <a:pt x="207" y="3"/>
                  </a:lnTo>
                  <a:lnTo>
                    <a:pt x="207" y="1"/>
                  </a:lnTo>
                  <a:lnTo>
                    <a:pt x="209" y="0"/>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1" name="Freeform 188"/>
            <p:cNvSpPr>
              <a:spLocks/>
            </p:cNvSpPr>
            <p:nvPr/>
          </p:nvSpPr>
          <p:spPr bwMode="auto">
            <a:xfrm>
              <a:off x="5615871" y="3168444"/>
              <a:ext cx="469900" cy="508000"/>
            </a:xfrm>
            <a:custGeom>
              <a:avLst/>
              <a:gdLst/>
              <a:ahLst/>
              <a:cxnLst>
                <a:cxn ang="0">
                  <a:pos x="172" y="79"/>
                </a:cxn>
                <a:cxn ang="0">
                  <a:pos x="175" y="91"/>
                </a:cxn>
                <a:cxn ang="0">
                  <a:pos x="175" y="101"/>
                </a:cxn>
                <a:cxn ang="0">
                  <a:pos x="193" y="117"/>
                </a:cxn>
                <a:cxn ang="0">
                  <a:pos x="203" y="124"/>
                </a:cxn>
                <a:cxn ang="0">
                  <a:pos x="213" y="129"/>
                </a:cxn>
                <a:cxn ang="0">
                  <a:pos x="225" y="134"/>
                </a:cxn>
                <a:cxn ang="0">
                  <a:pos x="263" y="137"/>
                </a:cxn>
                <a:cxn ang="0">
                  <a:pos x="294" y="132"/>
                </a:cxn>
                <a:cxn ang="0">
                  <a:pos x="286" y="139"/>
                </a:cxn>
                <a:cxn ang="0">
                  <a:pos x="284" y="163"/>
                </a:cxn>
                <a:cxn ang="0">
                  <a:pos x="292" y="180"/>
                </a:cxn>
                <a:cxn ang="0">
                  <a:pos x="292" y="191"/>
                </a:cxn>
                <a:cxn ang="0">
                  <a:pos x="287" y="199"/>
                </a:cxn>
                <a:cxn ang="0">
                  <a:pos x="273" y="206"/>
                </a:cxn>
                <a:cxn ang="0">
                  <a:pos x="260" y="206"/>
                </a:cxn>
                <a:cxn ang="0">
                  <a:pos x="241" y="213"/>
                </a:cxn>
                <a:cxn ang="0">
                  <a:pos x="225" y="215"/>
                </a:cxn>
                <a:cxn ang="0">
                  <a:pos x="215" y="206"/>
                </a:cxn>
                <a:cxn ang="0">
                  <a:pos x="201" y="205"/>
                </a:cxn>
                <a:cxn ang="0">
                  <a:pos x="198" y="213"/>
                </a:cxn>
                <a:cxn ang="0">
                  <a:pos x="201" y="225"/>
                </a:cxn>
                <a:cxn ang="0">
                  <a:pos x="212" y="235"/>
                </a:cxn>
                <a:cxn ang="0">
                  <a:pos x="225" y="246"/>
                </a:cxn>
                <a:cxn ang="0">
                  <a:pos x="229" y="256"/>
                </a:cxn>
                <a:cxn ang="0">
                  <a:pos x="225" y="266"/>
                </a:cxn>
                <a:cxn ang="0">
                  <a:pos x="215" y="273"/>
                </a:cxn>
                <a:cxn ang="0">
                  <a:pos x="203" y="278"/>
                </a:cxn>
                <a:cxn ang="0">
                  <a:pos x="194" y="277"/>
                </a:cxn>
                <a:cxn ang="0">
                  <a:pos x="184" y="280"/>
                </a:cxn>
                <a:cxn ang="0">
                  <a:pos x="172" y="309"/>
                </a:cxn>
                <a:cxn ang="0">
                  <a:pos x="160" y="315"/>
                </a:cxn>
                <a:cxn ang="0">
                  <a:pos x="151" y="318"/>
                </a:cxn>
                <a:cxn ang="0">
                  <a:pos x="139" y="316"/>
                </a:cxn>
                <a:cxn ang="0">
                  <a:pos x="124" y="308"/>
                </a:cxn>
                <a:cxn ang="0">
                  <a:pos x="114" y="309"/>
                </a:cxn>
                <a:cxn ang="0">
                  <a:pos x="89" y="308"/>
                </a:cxn>
                <a:cxn ang="0">
                  <a:pos x="53" y="306"/>
                </a:cxn>
                <a:cxn ang="0">
                  <a:pos x="53" y="284"/>
                </a:cxn>
                <a:cxn ang="0">
                  <a:pos x="55" y="251"/>
                </a:cxn>
                <a:cxn ang="0">
                  <a:pos x="31" y="241"/>
                </a:cxn>
                <a:cxn ang="0">
                  <a:pos x="0" y="235"/>
                </a:cxn>
                <a:cxn ang="0">
                  <a:pos x="5" y="218"/>
                </a:cxn>
                <a:cxn ang="0">
                  <a:pos x="14" y="189"/>
                </a:cxn>
                <a:cxn ang="0">
                  <a:pos x="21" y="156"/>
                </a:cxn>
                <a:cxn ang="0">
                  <a:pos x="26" y="136"/>
                </a:cxn>
                <a:cxn ang="0">
                  <a:pos x="31" y="115"/>
                </a:cxn>
                <a:cxn ang="0">
                  <a:pos x="36" y="94"/>
                </a:cxn>
                <a:cxn ang="0">
                  <a:pos x="41" y="72"/>
                </a:cxn>
                <a:cxn ang="0">
                  <a:pos x="46" y="51"/>
                </a:cxn>
                <a:cxn ang="0">
                  <a:pos x="53" y="26"/>
                </a:cxn>
                <a:cxn ang="0">
                  <a:pos x="60" y="0"/>
                </a:cxn>
                <a:cxn ang="0">
                  <a:pos x="69" y="5"/>
                </a:cxn>
                <a:cxn ang="0">
                  <a:pos x="84" y="10"/>
                </a:cxn>
                <a:cxn ang="0">
                  <a:pos x="83" y="32"/>
                </a:cxn>
                <a:cxn ang="0">
                  <a:pos x="91" y="50"/>
                </a:cxn>
                <a:cxn ang="0">
                  <a:pos x="114" y="55"/>
                </a:cxn>
                <a:cxn ang="0">
                  <a:pos x="134" y="65"/>
                </a:cxn>
                <a:cxn ang="0">
                  <a:pos x="150" y="72"/>
                </a:cxn>
                <a:cxn ang="0">
                  <a:pos x="163" y="72"/>
                </a:cxn>
              </a:cxnLst>
              <a:rect l="0" t="0" r="r" b="b"/>
              <a:pathLst>
                <a:path w="296" h="320">
                  <a:moveTo>
                    <a:pt x="165" y="72"/>
                  </a:moveTo>
                  <a:lnTo>
                    <a:pt x="165" y="74"/>
                  </a:lnTo>
                  <a:lnTo>
                    <a:pt x="167" y="74"/>
                  </a:lnTo>
                  <a:lnTo>
                    <a:pt x="167" y="75"/>
                  </a:lnTo>
                  <a:lnTo>
                    <a:pt x="169" y="75"/>
                  </a:lnTo>
                  <a:lnTo>
                    <a:pt x="170" y="77"/>
                  </a:lnTo>
                  <a:lnTo>
                    <a:pt x="172" y="79"/>
                  </a:lnTo>
                  <a:lnTo>
                    <a:pt x="172" y="81"/>
                  </a:lnTo>
                  <a:lnTo>
                    <a:pt x="174" y="82"/>
                  </a:lnTo>
                  <a:lnTo>
                    <a:pt x="175" y="84"/>
                  </a:lnTo>
                  <a:lnTo>
                    <a:pt x="175" y="86"/>
                  </a:lnTo>
                  <a:lnTo>
                    <a:pt x="175" y="88"/>
                  </a:lnTo>
                  <a:lnTo>
                    <a:pt x="175" y="89"/>
                  </a:lnTo>
                  <a:lnTo>
                    <a:pt x="175" y="91"/>
                  </a:lnTo>
                  <a:lnTo>
                    <a:pt x="175" y="93"/>
                  </a:lnTo>
                  <a:lnTo>
                    <a:pt x="175" y="94"/>
                  </a:lnTo>
                  <a:lnTo>
                    <a:pt x="175" y="96"/>
                  </a:lnTo>
                  <a:lnTo>
                    <a:pt x="175" y="98"/>
                  </a:lnTo>
                  <a:lnTo>
                    <a:pt x="175" y="100"/>
                  </a:lnTo>
                  <a:lnTo>
                    <a:pt x="175" y="100"/>
                  </a:lnTo>
                  <a:lnTo>
                    <a:pt x="175" y="101"/>
                  </a:lnTo>
                  <a:lnTo>
                    <a:pt x="175" y="103"/>
                  </a:lnTo>
                  <a:lnTo>
                    <a:pt x="177" y="105"/>
                  </a:lnTo>
                  <a:lnTo>
                    <a:pt x="181" y="108"/>
                  </a:lnTo>
                  <a:lnTo>
                    <a:pt x="184" y="113"/>
                  </a:lnTo>
                  <a:lnTo>
                    <a:pt x="186" y="113"/>
                  </a:lnTo>
                  <a:lnTo>
                    <a:pt x="189" y="115"/>
                  </a:lnTo>
                  <a:lnTo>
                    <a:pt x="193" y="117"/>
                  </a:lnTo>
                  <a:lnTo>
                    <a:pt x="194" y="119"/>
                  </a:lnTo>
                  <a:lnTo>
                    <a:pt x="196" y="120"/>
                  </a:lnTo>
                  <a:lnTo>
                    <a:pt x="196" y="122"/>
                  </a:lnTo>
                  <a:lnTo>
                    <a:pt x="198" y="122"/>
                  </a:lnTo>
                  <a:lnTo>
                    <a:pt x="200" y="122"/>
                  </a:lnTo>
                  <a:lnTo>
                    <a:pt x="201" y="124"/>
                  </a:lnTo>
                  <a:lnTo>
                    <a:pt x="203" y="124"/>
                  </a:lnTo>
                  <a:lnTo>
                    <a:pt x="205" y="125"/>
                  </a:lnTo>
                  <a:lnTo>
                    <a:pt x="206" y="125"/>
                  </a:lnTo>
                  <a:lnTo>
                    <a:pt x="208" y="125"/>
                  </a:lnTo>
                  <a:lnTo>
                    <a:pt x="210" y="127"/>
                  </a:lnTo>
                  <a:lnTo>
                    <a:pt x="212" y="127"/>
                  </a:lnTo>
                  <a:lnTo>
                    <a:pt x="212" y="129"/>
                  </a:lnTo>
                  <a:lnTo>
                    <a:pt x="213" y="129"/>
                  </a:lnTo>
                  <a:lnTo>
                    <a:pt x="215" y="131"/>
                  </a:lnTo>
                  <a:lnTo>
                    <a:pt x="217" y="131"/>
                  </a:lnTo>
                  <a:lnTo>
                    <a:pt x="218" y="131"/>
                  </a:lnTo>
                  <a:lnTo>
                    <a:pt x="220" y="131"/>
                  </a:lnTo>
                  <a:lnTo>
                    <a:pt x="222" y="132"/>
                  </a:lnTo>
                  <a:lnTo>
                    <a:pt x="224" y="132"/>
                  </a:lnTo>
                  <a:lnTo>
                    <a:pt x="225" y="134"/>
                  </a:lnTo>
                  <a:lnTo>
                    <a:pt x="230" y="134"/>
                  </a:lnTo>
                  <a:lnTo>
                    <a:pt x="237" y="136"/>
                  </a:lnTo>
                  <a:lnTo>
                    <a:pt x="239" y="136"/>
                  </a:lnTo>
                  <a:lnTo>
                    <a:pt x="246" y="137"/>
                  </a:lnTo>
                  <a:lnTo>
                    <a:pt x="251" y="137"/>
                  </a:lnTo>
                  <a:lnTo>
                    <a:pt x="260" y="137"/>
                  </a:lnTo>
                  <a:lnTo>
                    <a:pt x="263" y="137"/>
                  </a:lnTo>
                  <a:lnTo>
                    <a:pt x="267" y="137"/>
                  </a:lnTo>
                  <a:lnTo>
                    <a:pt x="268" y="136"/>
                  </a:lnTo>
                  <a:lnTo>
                    <a:pt x="275" y="134"/>
                  </a:lnTo>
                  <a:lnTo>
                    <a:pt x="282" y="132"/>
                  </a:lnTo>
                  <a:lnTo>
                    <a:pt x="287" y="131"/>
                  </a:lnTo>
                  <a:lnTo>
                    <a:pt x="292" y="129"/>
                  </a:lnTo>
                  <a:lnTo>
                    <a:pt x="294" y="132"/>
                  </a:lnTo>
                  <a:lnTo>
                    <a:pt x="296" y="134"/>
                  </a:lnTo>
                  <a:lnTo>
                    <a:pt x="296" y="136"/>
                  </a:lnTo>
                  <a:lnTo>
                    <a:pt x="294" y="136"/>
                  </a:lnTo>
                  <a:lnTo>
                    <a:pt x="292" y="136"/>
                  </a:lnTo>
                  <a:lnTo>
                    <a:pt x="289" y="136"/>
                  </a:lnTo>
                  <a:lnTo>
                    <a:pt x="287" y="137"/>
                  </a:lnTo>
                  <a:lnTo>
                    <a:pt x="286" y="139"/>
                  </a:lnTo>
                  <a:lnTo>
                    <a:pt x="284" y="141"/>
                  </a:lnTo>
                  <a:lnTo>
                    <a:pt x="282" y="143"/>
                  </a:lnTo>
                  <a:lnTo>
                    <a:pt x="282" y="146"/>
                  </a:lnTo>
                  <a:lnTo>
                    <a:pt x="280" y="153"/>
                  </a:lnTo>
                  <a:lnTo>
                    <a:pt x="282" y="158"/>
                  </a:lnTo>
                  <a:lnTo>
                    <a:pt x="282" y="160"/>
                  </a:lnTo>
                  <a:lnTo>
                    <a:pt x="284" y="163"/>
                  </a:lnTo>
                  <a:lnTo>
                    <a:pt x="286" y="167"/>
                  </a:lnTo>
                  <a:lnTo>
                    <a:pt x="287" y="170"/>
                  </a:lnTo>
                  <a:lnTo>
                    <a:pt x="287" y="174"/>
                  </a:lnTo>
                  <a:lnTo>
                    <a:pt x="287" y="175"/>
                  </a:lnTo>
                  <a:lnTo>
                    <a:pt x="291" y="177"/>
                  </a:lnTo>
                  <a:lnTo>
                    <a:pt x="292" y="179"/>
                  </a:lnTo>
                  <a:lnTo>
                    <a:pt x="292" y="180"/>
                  </a:lnTo>
                  <a:lnTo>
                    <a:pt x="292" y="182"/>
                  </a:lnTo>
                  <a:lnTo>
                    <a:pt x="292" y="184"/>
                  </a:lnTo>
                  <a:lnTo>
                    <a:pt x="294" y="184"/>
                  </a:lnTo>
                  <a:lnTo>
                    <a:pt x="294" y="186"/>
                  </a:lnTo>
                  <a:lnTo>
                    <a:pt x="292" y="187"/>
                  </a:lnTo>
                  <a:lnTo>
                    <a:pt x="292" y="189"/>
                  </a:lnTo>
                  <a:lnTo>
                    <a:pt x="292" y="191"/>
                  </a:lnTo>
                  <a:lnTo>
                    <a:pt x="292" y="191"/>
                  </a:lnTo>
                  <a:lnTo>
                    <a:pt x="291" y="192"/>
                  </a:lnTo>
                  <a:lnTo>
                    <a:pt x="291" y="194"/>
                  </a:lnTo>
                  <a:lnTo>
                    <a:pt x="289" y="196"/>
                  </a:lnTo>
                  <a:lnTo>
                    <a:pt x="289" y="198"/>
                  </a:lnTo>
                  <a:lnTo>
                    <a:pt x="287" y="198"/>
                  </a:lnTo>
                  <a:lnTo>
                    <a:pt x="287" y="199"/>
                  </a:lnTo>
                  <a:lnTo>
                    <a:pt x="287" y="201"/>
                  </a:lnTo>
                  <a:lnTo>
                    <a:pt x="286" y="201"/>
                  </a:lnTo>
                  <a:lnTo>
                    <a:pt x="284" y="205"/>
                  </a:lnTo>
                  <a:lnTo>
                    <a:pt x="280" y="205"/>
                  </a:lnTo>
                  <a:lnTo>
                    <a:pt x="277" y="206"/>
                  </a:lnTo>
                  <a:lnTo>
                    <a:pt x="275" y="206"/>
                  </a:lnTo>
                  <a:lnTo>
                    <a:pt x="273" y="206"/>
                  </a:lnTo>
                  <a:lnTo>
                    <a:pt x="272" y="208"/>
                  </a:lnTo>
                  <a:lnTo>
                    <a:pt x="270" y="208"/>
                  </a:lnTo>
                  <a:lnTo>
                    <a:pt x="268" y="208"/>
                  </a:lnTo>
                  <a:lnTo>
                    <a:pt x="265" y="208"/>
                  </a:lnTo>
                  <a:lnTo>
                    <a:pt x="263" y="208"/>
                  </a:lnTo>
                  <a:lnTo>
                    <a:pt x="261" y="206"/>
                  </a:lnTo>
                  <a:lnTo>
                    <a:pt x="260" y="206"/>
                  </a:lnTo>
                  <a:lnTo>
                    <a:pt x="256" y="206"/>
                  </a:lnTo>
                  <a:lnTo>
                    <a:pt x="255" y="208"/>
                  </a:lnTo>
                  <a:lnTo>
                    <a:pt x="253" y="208"/>
                  </a:lnTo>
                  <a:lnTo>
                    <a:pt x="249" y="208"/>
                  </a:lnTo>
                  <a:lnTo>
                    <a:pt x="246" y="210"/>
                  </a:lnTo>
                  <a:lnTo>
                    <a:pt x="244" y="211"/>
                  </a:lnTo>
                  <a:lnTo>
                    <a:pt x="241" y="213"/>
                  </a:lnTo>
                  <a:lnTo>
                    <a:pt x="239" y="215"/>
                  </a:lnTo>
                  <a:lnTo>
                    <a:pt x="236" y="215"/>
                  </a:lnTo>
                  <a:lnTo>
                    <a:pt x="232" y="215"/>
                  </a:lnTo>
                  <a:lnTo>
                    <a:pt x="230" y="215"/>
                  </a:lnTo>
                  <a:lnTo>
                    <a:pt x="229" y="215"/>
                  </a:lnTo>
                  <a:lnTo>
                    <a:pt x="225" y="215"/>
                  </a:lnTo>
                  <a:lnTo>
                    <a:pt x="225" y="215"/>
                  </a:lnTo>
                  <a:lnTo>
                    <a:pt x="224" y="213"/>
                  </a:lnTo>
                  <a:lnTo>
                    <a:pt x="222" y="213"/>
                  </a:lnTo>
                  <a:lnTo>
                    <a:pt x="220" y="211"/>
                  </a:lnTo>
                  <a:lnTo>
                    <a:pt x="218" y="210"/>
                  </a:lnTo>
                  <a:lnTo>
                    <a:pt x="217" y="208"/>
                  </a:lnTo>
                  <a:lnTo>
                    <a:pt x="217" y="206"/>
                  </a:lnTo>
                  <a:lnTo>
                    <a:pt x="215" y="206"/>
                  </a:lnTo>
                  <a:lnTo>
                    <a:pt x="212" y="205"/>
                  </a:lnTo>
                  <a:lnTo>
                    <a:pt x="210" y="203"/>
                  </a:lnTo>
                  <a:lnTo>
                    <a:pt x="208" y="203"/>
                  </a:lnTo>
                  <a:lnTo>
                    <a:pt x="206" y="203"/>
                  </a:lnTo>
                  <a:lnTo>
                    <a:pt x="205" y="203"/>
                  </a:lnTo>
                  <a:lnTo>
                    <a:pt x="201" y="203"/>
                  </a:lnTo>
                  <a:lnTo>
                    <a:pt x="201" y="205"/>
                  </a:lnTo>
                  <a:lnTo>
                    <a:pt x="200" y="206"/>
                  </a:lnTo>
                  <a:lnTo>
                    <a:pt x="198" y="206"/>
                  </a:lnTo>
                  <a:lnTo>
                    <a:pt x="196" y="206"/>
                  </a:lnTo>
                  <a:lnTo>
                    <a:pt x="196" y="208"/>
                  </a:lnTo>
                  <a:lnTo>
                    <a:pt x="196" y="210"/>
                  </a:lnTo>
                  <a:lnTo>
                    <a:pt x="198" y="211"/>
                  </a:lnTo>
                  <a:lnTo>
                    <a:pt x="198" y="213"/>
                  </a:lnTo>
                  <a:lnTo>
                    <a:pt x="200" y="215"/>
                  </a:lnTo>
                  <a:lnTo>
                    <a:pt x="200" y="217"/>
                  </a:lnTo>
                  <a:lnTo>
                    <a:pt x="200" y="218"/>
                  </a:lnTo>
                  <a:lnTo>
                    <a:pt x="200" y="220"/>
                  </a:lnTo>
                  <a:lnTo>
                    <a:pt x="200" y="220"/>
                  </a:lnTo>
                  <a:lnTo>
                    <a:pt x="201" y="223"/>
                  </a:lnTo>
                  <a:lnTo>
                    <a:pt x="201" y="225"/>
                  </a:lnTo>
                  <a:lnTo>
                    <a:pt x="203" y="229"/>
                  </a:lnTo>
                  <a:lnTo>
                    <a:pt x="203" y="230"/>
                  </a:lnTo>
                  <a:lnTo>
                    <a:pt x="206" y="234"/>
                  </a:lnTo>
                  <a:lnTo>
                    <a:pt x="208" y="235"/>
                  </a:lnTo>
                  <a:lnTo>
                    <a:pt x="210" y="235"/>
                  </a:lnTo>
                  <a:lnTo>
                    <a:pt x="212" y="235"/>
                  </a:lnTo>
                  <a:lnTo>
                    <a:pt x="212" y="235"/>
                  </a:lnTo>
                  <a:lnTo>
                    <a:pt x="213" y="237"/>
                  </a:lnTo>
                  <a:lnTo>
                    <a:pt x="215" y="237"/>
                  </a:lnTo>
                  <a:lnTo>
                    <a:pt x="218" y="241"/>
                  </a:lnTo>
                  <a:lnTo>
                    <a:pt x="220" y="242"/>
                  </a:lnTo>
                  <a:lnTo>
                    <a:pt x="224" y="244"/>
                  </a:lnTo>
                  <a:lnTo>
                    <a:pt x="225" y="246"/>
                  </a:lnTo>
                  <a:lnTo>
                    <a:pt x="225" y="246"/>
                  </a:lnTo>
                  <a:lnTo>
                    <a:pt x="225" y="248"/>
                  </a:lnTo>
                  <a:lnTo>
                    <a:pt x="225" y="249"/>
                  </a:lnTo>
                  <a:lnTo>
                    <a:pt x="227" y="251"/>
                  </a:lnTo>
                  <a:lnTo>
                    <a:pt x="229" y="251"/>
                  </a:lnTo>
                  <a:lnTo>
                    <a:pt x="229" y="253"/>
                  </a:lnTo>
                  <a:lnTo>
                    <a:pt x="229" y="254"/>
                  </a:lnTo>
                  <a:lnTo>
                    <a:pt x="229" y="256"/>
                  </a:lnTo>
                  <a:lnTo>
                    <a:pt x="229" y="258"/>
                  </a:lnTo>
                  <a:lnTo>
                    <a:pt x="229" y="261"/>
                  </a:lnTo>
                  <a:lnTo>
                    <a:pt x="227" y="261"/>
                  </a:lnTo>
                  <a:lnTo>
                    <a:pt x="227" y="263"/>
                  </a:lnTo>
                  <a:lnTo>
                    <a:pt x="225" y="265"/>
                  </a:lnTo>
                  <a:lnTo>
                    <a:pt x="225" y="266"/>
                  </a:lnTo>
                  <a:lnTo>
                    <a:pt x="225" y="266"/>
                  </a:lnTo>
                  <a:lnTo>
                    <a:pt x="224" y="266"/>
                  </a:lnTo>
                  <a:lnTo>
                    <a:pt x="224" y="268"/>
                  </a:lnTo>
                  <a:lnTo>
                    <a:pt x="222" y="268"/>
                  </a:lnTo>
                  <a:lnTo>
                    <a:pt x="220" y="270"/>
                  </a:lnTo>
                  <a:lnTo>
                    <a:pt x="218" y="272"/>
                  </a:lnTo>
                  <a:lnTo>
                    <a:pt x="217" y="272"/>
                  </a:lnTo>
                  <a:lnTo>
                    <a:pt x="215" y="273"/>
                  </a:lnTo>
                  <a:lnTo>
                    <a:pt x="213" y="273"/>
                  </a:lnTo>
                  <a:lnTo>
                    <a:pt x="212" y="275"/>
                  </a:lnTo>
                  <a:lnTo>
                    <a:pt x="210" y="275"/>
                  </a:lnTo>
                  <a:lnTo>
                    <a:pt x="208" y="275"/>
                  </a:lnTo>
                  <a:lnTo>
                    <a:pt x="208" y="277"/>
                  </a:lnTo>
                  <a:lnTo>
                    <a:pt x="203" y="277"/>
                  </a:lnTo>
                  <a:lnTo>
                    <a:pt x="203" y="278"/>
                  </a:lnTo>
                  <a:lnTo>
                    <a:pt x="201" y="278"/>
                  </a:lnTo>
                  <a:lnTo>
                    <a:pt x="200" y="278"/>
                  </a:lnTo>
                  <a:lnTo>
                    <a:pt x="198" y="278"/>
                  </a:lnTo>
                  <a:lnTo>
                    <a:pt x="196" y="278"/>
                  </a:lnTo>
                  <a:lnTo>
                    <a:pt x="196" y="277"/>
                  </a:lnTo>
                  <a:lnTo>
                    <a:pt x="196" y="277"/>
                  </a:lnTo>
                  <a:lnTo>
                    <a:pt x="194" y="277"/>
                  </a:lnTo>
                  <a:lnTo>
                    <a:pt x="193" y="277"/>
                  </a:lnTo>
                  <a:lnTo>
                    <a:pt x="191" y="277"/>
                  </a:lnTo>
                  <a:lnTo>
                    <a:pt x="189" y="277"/>
                  </a:lnTo>
                  <a:lnTo>
                    <a:pt x="189" y="278"/>
                  </a:lnTo>
                  <a:lnTo>
                    <a:pt x="187" y="280"/>
                  </a:lnTo>
                  <a:lnTo>
                    <a:pt x="186" y="280"/>
                  </a:lnTo>
                  <a:lnTo>
                    <a:pt x="184" y="280"/>
                  </a:lnTo>
                  <a:lnTo>
                    <a:pt x="182" y="282"/>
                  </a:lnTo>
                  <a:lnTo>
                    <a:pt x="182" y="284"/>
                  </a:lnTo>
                  <a:lnTo>
                    <a:pt x="182" y="287"/>
                  </a:lnTo>
                  <a:lnTo>
                    <a:pt x="182" y="296"/>
                  </a:lnTo>
                  <a:lnTo>
                    <a:pt x="181" y="309"/>
                  </a:lnTo>
                  <a:lnTo>
                    <a:pt x="179" y="309"/>
                  </a:lnTo>
                  <a:lnTo>
                    <a:pt x="172" y="309"/>
                  </a:lnTo>
                  <a:lnTo>
                    <a:pt x="165" y="309"/>
                  </a:lnTo>
                  <a:lnTo>
                    <a:pt x="163" y="311"/>
                  </a:lnTo>
                  <a:lnTo>
                    <a:pt x="163" y="311"/>
                  </a:lnTo>
                  <a:lnTo>
                    <a:pt x="162" y="311"/>
                  </a:lnTo>
                  <a:lnTo>
                    <a:pt x="162" y="313"/>
                  </a:lnTo>
                  <a:lnTo>
                    <a:pt x="160" y="313"/>
                  </a:lnTo>
                  <a:lnTo>
                    <a:pt x="160" y="315"/>
                  </a:lnTo>
                  <a:lnTo>
                    <a:pt x="158" y="315"/>
                  </a:lnTo>
                  <a:lnTo>
                    <a:pt x="158" y="316"/>
                  </a:lnTo>
                  <a:lnTo>
                    <a:pt x="157" y="316"/>
                  </a:lnTo>
                  <a:lnTo>
                    <a:pt x="155" y="316"/>
                  </a:lnTo>
                  <a:lnTo>
                    <a:pt x="153" y="318"/>
                  </a:lnTo>
                  <a:lnTo>
                    <a:pt x="151" y="318"/>
                  </a:lnTo>
                  <a:lnTo>
                    <a:pt x="151" y="318"/>
                  </a:lnTo>
                  <a:lnTo>
                    <a:pt x="151" y="320"/>
                  </a:lnTo>
                  <a:lnTo>
                    <a:pt x="150" y="320"/>
                  </a:lnTo>
                  <a:lnTo>
                    <a:pt x="148" y="320"/>
                  </a:lnTo>
                  <a:lnTo>
                    <a:pt x="146" y="318"/>
                  </a:lnTo>
                  <a:lnTo>
                    <a:pt x="144" y="318"/>
                  </a:lnTo>
                  <a:lnTo>
                    <a:pt x="143" y="318"/>
                  </a:lnTo>
                  <a:lnTo>
                    <a:pt x="139" y="316"/>
                  </a:lnTo>
                  <a:lnTo>
                    <a:pt x="136" y="315"/>
                  </a:lnTo>
                  <a:lnTo>
                    <a:pt x="136" y="313"/>
                  </a:lnTo>
                  <a:lnTo>
                    <a:pt x="132" y="311"/>
                  </a:lnTo>
                  <a:lnTo>
                    <a:pt x="132" y="311"/>
                  </a:lnTo>
                  <a:lnTo>
                    <a:pt x="129" y="309"/>
                  </a:lnTo>
                  <a:lnTo>
                    <a:pt x="127" y="309"/>
                  </a:lnTo>
                  <a:lnTo>
                    <a:pt x="124" y="308"/>
                  </a:lnTo>
                  <a:lnTo>
                    <a:pt x="122" y="308"/>
                  </a:lnTo>
                  <a:lnTo>
                    <a:pt x="120" y="308"/>
                  </a:lnTo>
                  <a:lnTo>
                    <a:pt x="120" y="308"/>
                  </a:lnTo>
                  <a:lnTo>
                    <a:pt x="119" y="308"/>
                  </a:lnTo>
                  <a:lnTo>
                    <a:pt x="119" y="309"/>
                  </a:lnTo>
                  <a:lnTo>
                    <a:pt x="117" y="309"/>
                  </a:lnTo>
                  <a:lnTo>
                    <a:pt x="114" y="309"/>
                  </a:lnTo>
                  <a:lnTo>
                    <a:pt x="110" y="309"/>
                  </a:lnTo>
                  <a:lnTo>
                    <a:pt x="107" y="309"/>
                  </a:lnTo>
                  <a:lnTo>
                    <a:pt x="105" y="309"/>
                  </a:lnTo>
                  <a:lnTo>
                    <a:pt x="101" y="309"/>
                  </a:lnTo>
                  <a:lnTo>
                    <a:pt x="96" y="309"/>
                  </a:lnTo>
                  <a:lnTo>
                    <a:pt x="91" y="309"/>
                  </a:lnTo>
                  <a:lnTo>
                    <a:pt x="89" y="308"/>
                  </a:lnTo>
                  <a:lnTo>
                    <a:pt x="84" y="308"/>
                  </a:lnTo>
                  <a:lnTo>
                    <a:pt x="83" y="308"/>
                  </a:lnTo>
                  <a:lnTo>
                    <a:pt x="76" y="308"/>
                  </a:lnTo>
                  <a:lnTo>
                    <a:pt x="74" y="308"/>
                  </a:lnTo>
                  <a:lnTo>
                    <a:pt x="65" y="308"/>
                  </a:lnTo>
                  <a:lnTo>
                    <a:pt x="60" y="306"/>
                  </a:lnTo>
                  <a:lnTo>
                    <a:pt x="53" y="306"/>
                  </a:lnTo>
                  <a:lnTo>
                    <a:pt x="53" y="304"/>
                  </a:lnTo>
                  <a:lnTo>
                    <a:pt x="53" y="299"/>
                  </a:lnTo>
                  <a:lnTo>
                    <a:pt x="53" y="297"/>
                  </a:lnTo>
                  <a:lnTo>
                    <a:pt x="53" y="296"/>
                  </a:lnTo>
                  <a:lnTo>
                    <a:pt x="53" y="296"/>
                  </a:lnTo>
                  <a:lnTo>
                    <a:pt x="53" y="294"/>
                  </a:lnTo>
                  <a:lnTo>
                    <a:pt x="53" y="284"/>
                  </a:lnTo>
                  <a:lnTo>
                    <a:pt x="53" y="280"/>
                  </a:lnTo>
                  <a:lnTo>
                    <a:pt x="55" y="266"/>
                  </a:lnTo>
                  <a:lnTo>
                    <a:pt x="55" y="266"/>
                  </a:lnTo>
                  <a:lnTo>
                    <a:pt x="55" y="265"/>
                  </a:lnTo>
                  <a:lnTo>
                    <a:pt x="55" y="260"/>
                  </a:lnTo>
                  <a:lnTo>
                    <a:pt x="55" y="253"/>
                  </a:lnTo>
                  <a:lnTo>
                    <a:pt x="55" y="251"/>
                  </a:lnTo>
                  <a:lnTo>
                    <a:pt x="55" y="246"/>
                  </a:lnTo>
                  <a:lnTo>
                    <a:pt x="55" y="241"/>
                  </a:lnTo>
                  <a:lnTo>
                    <a:pt x="53" y="241"/>
                  </a:lnTo>
                  <a:lnTo>
                    <a:pt x="48" y="241"/>
                  </a:lnTo>
                  <a:lnTo>
                    <a:pt x="45" y="241"/>
                  </a:lnTo>
                  <a:lnTo>
                    <a:pt x="43" y="241"/>
                  </a:lnTo>
                  <a:lnTo>
                    <a:pt x="31" y="241"/>
                  </a:lnTo>
                  <a:lnTo>
                    <a:pt x="26" y="241"/>
                  </a:lnTo>
                  <a:lnTo>
                    <a:pt x="21" y="241"/>
                  </a:lnTo>
                  <a:lnTo>
                    <a:pt x="19" y="241"/>
                  </a:lnTo>
                  <a:lnTo>
                    <a:pt x="15" y="241"/>
                  </a:lnTo>
                  <a:lnTo>
                    <a:pt x="9" y="239"/>
                  </a:lnTo>
                  <a:lnTo>
                    <a:pt x="0" y="239"/>
                  </a:lnTo>
                  <a:lnTo>
                    <a:pt x="0" y="235"/>
                  </a:lnTo>
                  <a:lnTo>
                    <a:pt x="2" y="229"/>
                  </a:lnTo>
                  <a:lnTo>
                    <a:pt x="3" y="225"/>
                  </a:lnTo>
                  <a:lnTo>
                    <a:pt x="3" y="223"/>
                  </a:lnTo>
                  <a:lnTo>
                    <a:pt x="3" y="222"/>
                  </a:lnTo>
                  <a:lnTo>
                    <a:pt x="5" y="220"/>
                  </a:lnTo>
                  <a:lnTo>
                    <a:pt x="5" y="220"/>
                  </a:lnTo>
                  <a:lnTo>
                    <a:pt x="5" y="218"/>
                  </a:lnTo>
                  <a:lnTo>
                    <a:pt x="5" y="217"/>
                  </a:lnTo>
                  <a:lnTo>
                    <a:pt x="9" y="206"/>
                  </a:lnTo>
                  <a:lnTo>
                    <a:pt x="9" y="205"/>
                  </a:lnTo>
                  <a:lnTo>
                    <a:pt x="10" y="196"/>
                  </a:lnTo>
                  <a:lnTo>
                    <a:pt x="12" y="194"/>
                  </a:lnTo>
                  <a:lnTo>
                    <a:pt x="12" y="191"/>
                  </a:lnTo>
                  <a:lnTo>
                    <a:pt x="14" y="189"/>
                  </a:lnTo>
                  <a:lnTo>
                    <a:pt x="14" y="184"/>
                  </a:lnTo>
                  <a:lnTo>
                    <a:pt x="15" y="180"/>
                  </a:lnTo>
                  <a:lnTo>
                    <a:pt x="15" y="175"/>
                  </a:lnTo>
                  <a:lnTo>
                    <a:pt x="17" y="170"/>
                  </a:lnTo>
                  <a:lnTo>
                    <a:pt x="17" y="168"/>
                  </a:lnTo>
                  <a:lnTo>
                    <a:pt x="19" y="163"/>
                  </a:lnTo>
                  <a:lnTo>
                    <a:pt x="21" y="156"/>
                  </a:lnTo>
                  <a:lnTo>
                    <a:pt x="21" y="155"/>
                  </a:lnTo>
                  <a:lnTo>
                    <a:pt x="21" y="153"/>
                  </a:lnTo>
                  <a:lnTo>
                    <a:pt x="22" y="149"/>
                  </a:lnTo>
                  <a:lnTo>
                    <a:pt x="24" y="146"/>
                  </a:lnTo>
                  <a:lnTo>
                    <a:pt x="26" y="139"/>
                  </a:lnTo>
                  <a:lnTo>
                    <a:pt x="26" y="137"/>
                  </a:lnTo>
                  <a:lnTo>
                    <a:pt x="26" y="136"/>
                  </a:lnTo>
                  <a:lnTo>
                    <a:pt x="28" y="131"/>
                  </a:lnTo>
                  <a:lnTo>
                    <a:pt x="28" y="131"/>
                  </a:lnTo>
                  <a:lnTo>
                    <a:pt x="28" y="129"/>
                  </a:lnTo>
                  <a:lnTo>
                    <a:pt x="29" y="125"/>
                  </a:lnTo>
                  <a:lnTo>
                    <a:pt x="29" y="120"/>
                  </a:lnTo>
                  <a:lnTo>
                    <a:pt x="29" y="119"/>
                  </a:lnTo>
                  <a:lnTo>
                    <a:pt x="31" y="115"/>
                  </a:lnTo>
                  <a:lnTo>
                    <a:pt x="31" y="113"/>
                  </a:lnTo>
                  <a:lnTo>
                    <a:pt x="31" y="112"/>
                  </a:lnTo>
                  <a:lnTo>
                    <a:pt x="33" y="108"/>
                  </a:lnTo>
                  <a:lnTo>
                    <a:pt x="33" y="106"/>
                  </a:lnTo>
                  <a:lnTo>
                    <a:pt x="33" y="103"/>
                  </a:lnTo>
                  <a:lnTo>
                    <a:pt x="36" y="96"/>
                  </a:lnTo>
                  <a:lnTo>
                    <a:pt x="36" y="94"/>
                  </a:lnTo>
                  <a:lnTo>
                    <a:pt x="36" y="93"/>
                  </a:lnTo>
                  <a:lnTo>
                    <a:pt x="38" y="88"/>
                  </a:lnTo>
                  <a:lnTo>
                    <a:pt x="38" y="86"/>
                  </a:lnTo>
                  <a:lnTo>
                    <a:pt x="38" y="84"/>
                  </a:lnTo>
                  <a:lnTo>
                    <a:pt x="40" y="82"/>
                  </a:lnTo>
                  <a:lnTo>
                    <a:pt x="40" y="77"/>
                  </a:lnTo>
                  <a:lnTo>
                    <a:pt x="41" y="72"/>
                  </a:lnTo>
                  <a:lnTo>
                    <a:pt x="43" y="70"/>
                  </a:lnTo>
                  <a:lnTo>
                    <a:pt x="43" y="65"/>
                  </a:lnTo>
                  <a:lnTo>
                    <a:pt x="45" y="62"/>
                  </a:lnTo>
                  <a:lnTo>
                    <a:pt x="45" y="57"/>
                  </a:lnTo>
                  <a:lnTo>
                    <a:pt x="45" y="55"/>
                  </a:lnTo>
                  <a:lnTo>
                    <a:pt x="45" y="53"/>
                  </a:lnTo>
                  <a:lnTo>
                    <a:pt x="46" y="51"/>
                  </a:lnTo>
                  <a:lnTo>
                    <a:pt x="46" y="50"/>
                  </a:lnTo>
                  <a:lnTo>
                    <a:pt x="46" y="48"/>
                  </a:lnTo>
                  <a:lnTo>
                    <a:pt x="46" y="46"/>
                  </a:lnTo>
                  <a:lnTo>
                    <a:pt x="48" y="45"/>
                  </a:lnTo>
                  <a:lnTo>
                    <a:pt x="48" y="39"/>
                  </a:lnTo>
                  <a:lnTo>
                    <a:pt x="50" y="36"/>
                  </a:lnTo>
                  <a:lnTo>
                    <a:pt x="53" y="26"/>
                  </a:lnTo>
                  <a:lnTo>
                    <a:pt x="55" y="15"/>
                  </a:lnTo>
                  <a:lnTo>
                    <a:pt x="57" y="12"/>
                  </a:lnTo>
                  <a:lnTo>
                    <a:pt x="57" y="10"/>
                  </a:lnTo>
                  <a:lnTo>
                    <a:pt x="57" y="10"/>
                  </a:lnTo>
                  <a:lnTo>
                    <a:pt x="58" y="7"/>
                  </a:lnTo>
                  <a:lnTo>
                    <a:pt x="58" y="2"/>
                  </a:lnTo>
                  <a:lnTo>
                    <a:pt x="60" y="0"/>
                  </a:lnTo>
                  <a:lnTo>
                    <a:pt x="60" y="2"/>
                  </a:lnTo>
                  <a:lnTo>
                    <a:pt x="60" y="2"/>
                  </a:lnTo>
                  <a:lnTo>
                    <a:pt x="62" y="2"/>
                  </a:lnTo>
                  <a:lnTo>
                    <a:pt x="64" y="3"/>
                  </a:lnTo>
                  <a:lnTo>
                    <a:pt x="65" y="3"/>
                  </a:lnTo>
                  <a:lnTo>
                    <a:pt x="67" y="3"/>
                  </a:lnTo>
                  <a:lnTo>
                    <a:pt x="69" y="5"/>
                  </a:lnTo>
                  <a:lnTo>
                    <a:pt x="71" y="5"/>
                  </a:lnTo>
                  <a:lnTo>
                    <a:pt x="76" y="5"/>
                  </a:lnTo>
                  <a:lnTo>
                    <a:pt x="77" y="7"/>
                  </a:lnTo>
                  <a:lnTo>
                    <a:pt x="79" y="7"/>
                  </a:lnTo>
                  <a:lnTo>
                    <a:pt x="81" y="8"/>
                  </a:lnTo>
                  <a:lnTo>
                    <a:pt x="83" y="10"/>
                  </a:lnTo>
                  <a:lnTo>
                    <a:pt x="84" y="10"/>
                  </a:lnTo>
                  <a:lnTo>
                    <a:pt x="88" y="14"/>
                  </a:lnTo>
                  <a:lnTo>
                    <a:pt x="89" y="17"/>
                  </a:lnTo>
                  <a:lnTo>
                    <a:pt x="91" y="22"/>
                  </a:lnTo>
                  <a:lnTo>
                    <a:pt x="91" y="24"/>
                  </a:lnTo>
                  <a:lnTo>
                    <a:pt x="91" y="26"/>
                  </a:lnTo>
                  <a:lnTo>
                    <a:pt x="88" y="29"/>
                  </a:lnTo>
                  <a:lnTo>
                    <a:pt x="83" y="32"/>
                  </a:lnTo>
                  <a:lnTo>
                    <a:pt x="79" y="38"/>
                  </a:lnTo>
                  <a:lnTo>
                    <a:pt x="77" y="39"/>
                  </a:lnTo>
                  <a:lnTo>
                    <a:pt x="77" y="41"/>
                  </a:lnTo>
                  <a:lnTo>
                    <a:pt x="81" y="45"/>
                  </a:lnTo>
                  <a:lnTo>
                    <a:pt x="83" y="46"/>
                  </a:lnTo>
                  <a:lnTo>
                    <a:pt x="89" y="50"/>
                  </a:lnTo>
                  <a:lnTo>
                    <a:pt x="91" y="50"/>
                  </a:lnTo>
                  <a:lnTo>
                    <a:pt x="95" y="51"/>
                  </a:lnTo>
                  <a:lnTo>
                    <a:pt x="101" y="51"/>
                  </a:lnTo>
                  <a:lnTo>
                    <a:pt x="101" y="53"/>
                  </a:lnTo>
                  <a:lnTo>
                    <a:pt x="105" y="53"/>
                  </a:lnTo>
                  <a:lnTo>
                    <a:pt x="110" y="53"/>
                  </a:lnTo>
                  <a:lnTo>
                    <a:pt x="110" y="55"/>
                  </a:lnTo>
                  <a:lnTo>
                    <a:pt x="114" y="55"/>
                  </a:lnTo>
                  <a:lnTo>
                    <a:pt x="119" y="55"/>
                  </a:lnTo>
                  <a:lnTo>
                    <a:pt x="120" y="55"/>
                  </a:lnTo>
                  <a:lnTo>
                    <a:pt x="122" y="57"/>
                  </a:lnTo>
                  <a:lnTo>
                    <a:pt x="126" y="57"/>
                  </a:lnTo>
                  <a:lnTo>
                    <a:pt x="129" y="60"/>
                  </a:lnTo>
                  <a:lnTo>
                    <a:pt x="132" y="62"/>
                  </a:lnTo>
                  <a:lnTo>
                    <a:pt x="134" y="65"/>
                  </a:lnTo>
                  <a:lnTo>
                    <a:pt x="136" y="69"/>
                  </a:lnTo>
                  <a:lnTo>
                    <a:pt x="138" y="70"/>
                  </a:lnTo>
                  <a:lnTo>
                    <a:pt x="141" y="70"/>
                  </a:lnTo>
                  <a:lnTo>
                    <a:pt x="144" y="72"/>
                  </a:lnTo>
                  <a:lnTo>
                    <a:pt x="146" y="72"/>
                  </a:lnTo>
                  <a:lnTo>
                    <a:pt x="148" y="72"/>
                  </a:lnTo>
                  <a:lnTo>
                    <a:pt x="150" y="72"/>
                  </a:lnTo>
                  <a:lnTo>
                    <a:pt x="151" y="72"/>
                  </a:lnTo>
                  <a:lnTo>
                    <a:pt x="153" y="72"/>
                  </a:lnTo>
                  <a:lnTo>
                    <a:pt x="155" y="70"/>
                  </a:lnTo>
                  <a:lnTo>
                    <a:pt x="158" y="70"/>
                  </a:lnTo>
                  <a:lnTo>
                    <a:pt x="160" y="70"/>
                  </a:lnTo>
                  <a:lnTo>
                    <a:pt x="162" y="70"/>
                  </a:lnTo>
                  <a:lnTo>
                    <a:pt x="163" y="72"/>
                  </a:lnTo>
                  <a:lnTo>
                    <a:pt x="165" y="72"/>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2" name="Freeform 192"/>
            <p:cNvSpPr>
              <a:spLocks/>
            </p:cNvSpPr>
            <p:nvPr/>
          </p:nvSpPr>
          <p:spPr bwMode="auto">
            <a:xfrm>
              <a:off x="5055484" y="3228769"/>
              <a:ext cx="434975" cy="615950"/>
            </a:xfrm>
            <a:custGeom>
              <a:avLst/>
              <a:gdLst/>
              <a:ahLst/>
              <a:cxnLst>
                <a:cxn ang="0">
                  <a:pos x="143" y="34"/>
                </a:cxn>
                <a:cxn ang="0">
                  <a:pos x="143" y="62"/>
                </a:cxn>
                <a:cxn ang="0">
                  <a:pos x="150" y="79"/>
                </a:cxn>
                <a:cxn ang="0">
                  <a:pos x="167" y="94"/>
                </a:cxn>
                <a:cxn ang="0">
                  <a:pos x="183" y="110"/>
                </a:cxn>
                <a:cxn ang="0">
                  <a:pos x="203" y="132"/>
                </a:cxn>
                <a:cxn ang="0">
                  <a:pos x="226" y="153"/>
                </a:cxn>
                <a:cxn ang="0">
                  <a:pos x="246" y="173"/>
                </a:cxn>
                <a:cxn ang="0">
                  <a:pos x="272" y="197"/>
                </a:cxn>
                <a:cxn ang="0">
                  <a:pos x="270" y="227"/>
                </a:cxn>
                <a:cxn ang="0">
                  <a:pos x="269" y="263"/>
                </a:cxn>
                <a:cxn ang="0">
                  <a:pos x="248" y="263"/>
                </a:cxn>
                <a:cxn ang="0">
                  <a:pos x="234" y="277"/>
                </a:cxn>
                <a:cxn ang="0">
                  <a:pos x="234" y="299"/>
                </a:cxn>
                <a:cxn ang="0">
                  <a:pos x="233" y="320"/>
                </a:cxn>
                <a:cxn ang="0">
                  <a:pos x="233" y="344"/>
                </a:cxn>
                <a:cxn ang="0">
                  <a:pos x="231" y="361"/>
                </a:cxn>
                <a:cxn ang="0">
                  <a:pos x="221" y="363"/>
                </a:cxn>
                <a:cxn ang="0">
                  <a:pos x="210" y="361"/>
                </a:cxn>
                <a:cxn ang="0">
                  <a:pos x="202" y="363"/>
                </a:cxn>
                <a:cxn ang="0">
                  <a:pos x="193" y="370"/>
                </a:cxn>
                <a:cxn ang="0">
                  <a:pos x="190" y="380"/>
                </a:cxn>
                <a:cxn ang="0">
                  <a:pos x="181" y="385"/>
                </a:cxn>
                <a:cxn ang="0">
                  <a:pos x="157" y="383"/>
                </a:cxn>
                <a:cxn ang="0">
                  <a:pos x="138" y="383"/>
                </a:cxn>
                <a:cxn ang="0">
                  <a:pos x="112" y="382"/>
                </a:cxn>
                <a:cxn ang="0">
                  <a:pos x="81" y="380"/>
                </a:cxn>
                <a:cxn ang="0">
                  <a:pos x="73" y="376"/>
                </a:cxn>
                <a:cxn ang="0">
                  <a:pos x="81" y="373"/>
                </a:cxn>
                <a:cxn ang="0">
                  <a:pos x="88" y="366"/>
                </a:cxn>
                <a:cxn ang="0">
                  <a:pos x="85" y="359"/>
                </a:cxn>
                <a:cxn ang="0">
                  <a:pos x="74" y="352"/>
                </a:cxn>
                <a:cxn ang="0">
                  <a:pos x="67" y="359"/>
                </a:cxn>
                <a:cxn ang="0">
                  <a:pos x="62" y="373"/>
                </a:cxn>
                <a:cxn ang="0">
                  <a:pos x="54" y="387"/>
                </a:cxn>
                <a:cxn ang="0">
                  <a:pos x="36" y="385"/>
                </a:cxn>
                <a:cxn ang="0">
                  <a:pos x="36" y="373"/>
                </a:cxn>
                <a:cxn ang="0">
                  <a:pos x="49" y="370"/>
                </a:cxn>
                <a:cxn ang="0">
                  <a:pos x="57" y="366"/>
                </a:cxn>
                <a:cxn ang="0">
                  <a:pos x="50" y="363"/>
                </a:cxn>
                <a:cxn ang="0">
                  <a:pos x="40" y="349"/>
                </a:cxn>
                <a:cxn ang="0">
                  <a:pos x="31" y="339"/>
                </a:cxn>
                <a:cxn ang="0">
                  <a:pos x="24" y="332"/>
                </a:cxn>
                <a:cxn ang="0">
                  <a:pos x="19" y="323"/>
                </a:cxn>
                <a:cxn ang="0">
                  <a:pos x="7" y="325"/>
                </a:cxn>
                <a:cxn ang="0">
                  <a:pos x="0" y="325"/>
                </a:cxn>
                <a:cxn ang="0">
                  <a:pos x="2" y="297"/>
                </a:cxn>
                <a:cxn ang="0">
                  <a:pos x="4" y="258"/>
                </a:cxn>
                <a:cxn ang="0">
                  <a:pos x="6" y="225"/>
                </a:cxn>
                <a:cxn ang="0">
                  <a:pos x="6" y="192"/>
                </a:cxn>
                <a:cxn ang="0">
                  <a:pos x="6" y="149"/>
                </a:cxn>
                <a:cxn ang="0">
                  <a:pos x="6" y="127"/>
                </a:cxn>
                <a:cxn ang="0">
                  <a:pos x="7" y="110"/>
                </a:cxn>
                <a:cxn ang="0">
                  <a:pos x="7" y="86"/>
                </a:cxn>
                <a:cxn ang="0">
                  <a:pos x="9" y="51"/>
                </a:cxn>
                <a:cxn ang="0">
                  <a:pos x="9" y="36"/>
                </a:cxn>
                <a:cxn ang="0">
                  <a:pos x="11" y="22"/>
                </a:cxn>
                <a:cxn ang="0">
                  <a:pos x="19" y="0"/>
                </a:cxn>
                <a:cxn ang="0">
                  <a:pos x="38" y="1"/>
                </a:cxn>
                <a:cxn ang="0">
                  <a:pos x="61" y="1"/>
                </a:cxn>
                <a:cxn ang="0">
                  <a:pos x="86" y="3"/>
                </a:cxn>
                <a:cxn ang="0">
                  <a:pos x="112" y="5"/>
                </a:cxn>
                <a:cxn ang="0">
                  <a:pos x="140" y="5"/>
                </a:cxn>
              </a:cxnLst>
              <a:rect l="0" t="0" r="r" b="b"/>
              <a:pathLst>
                <a:path w="274" h="388">
                  <a:moveTo>
                    <a:pt x="143" y="5"/>
                  </a:moveTo>
                  <a:lnTo>
                    <a:pt x="143" y="12"/>
                  </a:lnTo>
                  <a:lnTo>
                    <a:pt x="143" y="17"/>
                  </a:lnTo>
                  <a:lnTo>
                    <a:pt x="143" y="19"/>
                  </a:lnTo>
                  <a:lnTo>
                    <a:pt x="143" y="25"/>
                  </a:lnTo>
                  <a:lnTo>
                    <a:pt x="143" y="29"/>
                  </a:lnTo>
                  <a:lnTo>
                    <a:pt x="143" y="31"/>
                  </a:lnTo>
                  <a:lnTo>
                    <a:pt x="143" y="34"/>
                  </a:lnTo>
                  <a:lnTo>
                    <a:pt x="143" y="36"/>
                  </a:lnTo>
                  <a:lnTo>
                    <a:pt x="143" y="39"/>
                  </a:lnTo>
                  <a:lnTo>
                    <a:pt x="143" y="41"/>
                  </a:lnTo>
                  <a:lnTo>
                    <a:pt x="143" y="51"/>
                  </a:lnTo>
                  <a:lnTo>
                    <a:pt x="143" y="53"/>
                  </a:lnTo>
                  <a:lnTo>
                    <a:pt x="143" y="58"/>
                  </a:lnTo>
                  <a:lnTo>
                    <a:pt x="143" y="60"/>
                  </a:lnTo>
                  <a:lnTo>
                    <a:pt x="143" y="62"/>
                  </a:lnTo>
                  <a:lnTo>
                    <a:pt x="143" y="65"/>
                  </a:lnTo>
                  <a:lnTo>
                    <a:pt x="143" y="67"/>
                  </a:lnTo>
                  <a:lnTo>
                    <a:pt x="143" y="68"/>
                  </a:lnTo>
                  <a:lnTo>
                    <a:pt x="143" y="72"/>
                  </a:lnTo>
                  <a:lnTo>
                    <a:pt x="141" y="74"/>
                  </a:lnTo>
                  <a:lnTo>
                    <a:pt x="143" y="74"/>
                  </a:lnTo>
                  <a:lnTo>
                    <a:pt x="148" y="77"/>
                  </a:lnTo>
                  <a:lnTo>
                    <a:pt x="150" y="79"/>
                  </a:lnTo>
                  <a:lnTo>
                    <a:pt x="152" y="81"/>
                  </a:lnTo>
                  <a:lnTo>
                    <a:pt x="153" y="82"/>
                  </a:lnTo>
                  <a:lnTo>
                    <a:pt x="155" y="84"/>
                  </a:lnTo>
                  <a:lnTo>
                    <a:pt x="157" y="86"/>
                  </a:lnTo>
                  <a:lnTo>
                    <a:pt x="157" y="87"/>
                  </a:lnTo>
                  <a:lnTo>
                    <a:pt x="164" y="93"/>
                  </a:lnTo>
                  <a:lnTo>
                    <a:pt x="165" y="94"/>
                  </a:lnTo>
                  <a:lnTo>
                    <a:pt x="167" y="94"/>
                  </a:lnTo>
                  <a:lnTo>
                    <a:pt x="167" y="96"/>
                  </a:lnTo>
                  <a:lnTo>
                    <a:pt x="169" y="98"/>
                  </a:lnTo>
                  <a:lnTo>
                    <a:pt x="171" y="99"/>
                  </a:lnTo>
                  <a:lnTo>
                    <a:pt x="172" y="103"/>
                  </a:lnTo>
                  <a:lnTo>
                    <a:pt x="174" y="105"/>
                  </a:lnTo>
                  <a:lnTo>
                    <a:pt x="176" y="106"/>
                  </a:lnTo>
                  <a:lnTo>
                    <a:pt x="179" y="108"/>
                  </a:lnTo>
                  <a:lnTo>
                    <a:pt x="183" y="110"/>
                  </a:lnTo>
                  <a:lnTo>
                    <a:pt x="184" y="111"/>
                  </a:lnTo>
                  <a:lnTo>
                    <a:pt x="186" y="113"/>
                  </a:lnTo>
                  <a:lnTo>
                    <a:pt x="188" y="117"/>
                  </a:lnTo>
                  <a:lnTo>
                    <a:pt x="191" y="120"/>
                  </a:lnTo>
                  <a:lnTo>
                    <a:pt x="195" y="122"/>
                  </a:lnTo>
                  <a:lnTo>
                    <a:pt x="198" y="125"/>
                  </a:lnTo>
                  <a:lnTo>
                    <a:pt x="202" y="130"/>
                  </a:lnTo>
                  <a:lnTo>
                    <a:pt x="203" y="132"/>
                  </a:lnTo>
                  <a:lnTo>
                    <a:pt x="208" y="136"/>
                  </a:lnTo>
                  <a:lnTo>
                    <a:pt x="208" y="137"/>
                  </a:lnTo>
                  <a:lnTo>
                    <a:pt x="215" y="141"/>
                  </a:lnTo>
                  <a:lnTo>
                    <a:pt x="215" y="142"/>
                  </a:lnTo>
                  <a:lnTo>
                    <a:pt x="217" y="142"/>
                  </a:lnTo>
                  <a:lnTo>
                    <a:pt x="219" y="148"/>
                  </a:lnTo>
                  <a:lnTo>
                    <a:pt x="221" y="149"/>
                  </a:lnTo>
                  <a:lnTo>
                    <a:pt x="226" y="153"/>
                  </a:lnTo>
                  <a:lnTo>
                    <a:pt x="227" y="153"/>
                  </a:lnTo>
                  <a:lnTo>
                    <a:pt x="229" y="156"/>
                  </a:lnTo>
                  <a:lnTo>
                    <a:pt x="231" y="156"/>
                  </a:lnTo>
                  <a:lnTo>
                    <a:pt x="233" y="160"/>
                  </a:lnTo>
                  <a:lnTo>
                    <a:pt x="238" y="165"/>
                  </a:lnTo>
                  <a:lnTo>
                    <a:pt x="241" y="168"/>
                  </a:lnTo>
                  <a:lnTo>
                    <a:pt x="245" y="170"/>
                  </a:lnTo>
                  <a:lnTo>
                    <a:pt x="246" y="173"/>
                  </a:lnTo>
                  <a:lnTo>
                    <a:pt x="248" y="175"/>
                  </a:lnTo>
                  <a:lnTo>
                    <a:pt x="250" y="177"/>
                  </a:lnTo>
                  <a:lnTo>
                    <a:pt x="253" y="180"/>
                  </a:lnTo>
                  <a:lnTo>
                    <a:pt x="260" y="185"/>
                  </a:lnTo>
                  <a:lnTo>
                    <a:pt x="264" y="191"/>
                  </a:lnTo>
                  <a:lnTo>
                    <a:pt x="269" y="194"/>
                  </a:lnTo>
                  <a:lnTo>
                    <a:pt x="270" y="196"/>
                  </a:lnTo>
                  <a:lnTo>
                    <a:pt x="272" y="197"/>
                  </a:lnTo>
                  <a:lnTo>
                    <a:pt x="274" y="199"/>
                  </a:lnTo>
                  <a:lnTo>
                    <a:pt x="270" y="199"/>
                  </a:lnTo>
                  <a:lnTo>
                    <a:pt x="270" y="203"/>
                  </a:lnTo>
                  <a:lnTo>
                    <a:pt x="270" y="208"/>
                  </a:lnTo>
                  <a:lnTo>
                    <a:pt x="270" y="216"/>
                  </a:lnTo>
                  <a:lnTo>
                    <a:pt x="270" y="218"/>
                  </a:lnTo>
                  <a:lnTo>
                    <a:pt x="270" y="223"/>
                  </a:lnTo>
                  <a:lnTo>
                    <a:pt x="270" y="227"/>
                  </a:lnTo>
                  <a:lnTo>
                    <a:pt x="270" y="230"/>
                  </a:lnTo>
                  <a:lnTo>
                    <a:pt x="270" y="235"/>
                  </a:lnTo>
                  <a:lnTo>
                    <a:pt x="270" y="239"/>
                  </a:lnTo>
                  <a:lnTo>
                    <a:pt x="270" y="242"/>
                  </a:lnTo>
                  <a:lnTo>
                    <a:pt x="270" y="247"/>
                  </a:lnTo>
                  <a:lnTo>
                    <a:pt x="270" y="251"/>
                  </a:lnTo>
                  <a:lnTo>
                    <a:pt x="269" y="256"/>
                  </a:lnTo>
                  <a:lnTo>
                    <a:pt x="269" y="263"/>
                  </a:lnTo>
                  <a:lnTo>
                    <a:pt x="267" y="263"/>
                  </a:lnTo>
                  <a:lnTo>
                    <a:pt x="265" y="263"/>
                  </a:lnTo>
                  <a:lnTo>
                    <a:pt x="264" y="263"/>
                  </a:lnTo>
                  <a:lnTo>
                    <a:pt x="262" y="263"/>
                  </a:lnTo>
                  <a:lnTo>
                    <a:pt x="260" y="263"/>
                  </a:lnTo>
                  <a:lnTo>
                    <a:pt x="253" y="263"/>
                  </a:lnTo>
                  <a:lnTo>
                    <a:pt x="250" y="263"/>
                  </a:lnTo>
                  <a:lnTo>
                    <a:pt x="248" y="263"/>
                  </a:lnTo>
                  <a:lnTo>
                    <a:pt x="248" y="263"/>
                  </a:lnTo>
                  <a:lnTo>
                    <a:pt x="246" y="263"/>
                  </a:lnTo>
                  <a:lnTo>
                    <a:pt x="245" y="263"/>
                  </a:lnTo>
                  <a:lnTo>
                    <a:pt x="234" y="263"/>
                  </a:lnTo>
                  <a:lnTo>
                    <a:pt x="234" y="265"/>
                  </a:lnTo>
                  <a:lnTo>
                    <a:pt x="234" y="268"/>
                  </a:lnTo>
                  <a:lnTo>
                    <a:pt x="234" y="273"/>
                  </a:lnTo>
                  <a:lnTo>
                    <a:pt x="234" y="277"/>
                  </a:lnTo>
                  <a:lnTo>
                    <a:pt x="234" y="282"/>
                  </a:lnTo>
                  <a:lnTo>
                    <a:pt x="234" y="285"/>
                  </a:lnTo>
                  <a:lnTo>
                    <a:pt x="234" y="289"/>
                  </a:lnTo>
                  <a:lnTo>
                    <a:pt x="234" y="290"/>
                  </a:lnTo>
                  <a:lnTo>
                    <a:pt x="234" y="292"/>
                  </a:lnTo>
                  <a:lnTo>
                    <a:pt x="234" y="294"/>
                  </a:lnTo>
                  <a:lnTo>
                    <a:pt x="234" y="296"/>
                  </a:lnTo>
                  <a:lnTo>
                    <a:pt x="234" y="299"/>
                  </a:lnTo>
                  <a:lnTo>
                    <a:pt x="234" y="301"/>
                  </a:lnTo>
                  <a:lnTo>
                    <a:pt x="233" y="302"/>
                  </a:lnTo>
                  <a:lnTo>
                    <a:pt x="233" y="304"/>
                  </a:lnTo>
                  <a:lnTo>
                    <a:pt x="233" y="306"/>
                  </a:lnTo>
                  <a:lnTo>
                    <a:pt x="233" y="308"/>
                  </a:lnTo>
                  <a:lnTo>
                    <a:pt x="233" y="311"/>
                  </a:lnTo>
                  <a:lnTo>
                    <a:pt x="233" y="318"/>
                  </a:lnTo>
                  <a:lnTo>
                    <a:pt x="233" y="320"/>
                  </a:lnTo>
                  <a:lnTo>
                    <a:pt x="233" y="323"/>
                  </a:lnTo>
                  <a:lnTo>
                    <a:pt x="233" y="325"/>
                  </a:lnTo>
                  <a:lnTo>
                    <a:pt x="233" y="330"/>
                  </a:lnTo>
                  <a:lnTo>
                    <a:pt x="233" y="332"/>
                  </a:lnTo>
                  <a:lnTo>
                    <a:pt x="233" y="339"/>
                  </a:lnTo>
                  <a:lnTo>
                    <a:pt x="233" y="340"/>
                  </a:lnTo>
                  <a:lnTo>
                    <a:pt x="233" y="342"/>
                  </a:lnTo>
                  <a:lnTo>
                    <a:pt x="233" y="344"/>
                  </a:lnTo>
                  <a:lnTo>
                    <a:pt x="233" y="349"/>
                  </a:lnTo>
                  <a:lnTo>
                    <a:pt x="233" y="352"/>
                  </a:lnTo>
                  <a:lnTo>
                    <a:pt x="233" y="354"/>
                  </a:lnTo>
                  <a:lnTo>
                    <a:pt x="233" y="356"/>
                  </a:lnTo>
                  <a:lnTo>
                    <a:pt x="233" y="357"/>
                  </a:lnTo>
                  <a:lnTo>
                    <a:pt x="233" y="359"/>
                  </a:lnTo>
                  <a:lnTo>
                    <a:pt x="233" y="361"/>
                  </a:lnTo>
                  <a:lnTo>
                    <a:pt x="231" y="361"/>
                  </a:lnTo>
                  <a:lnTo>
                    <a:pt x="229" y="361"/>
                  </a:lnTo>
                  <a:lnTo>
                    <a:pt x="227" y="359"/>
                  </a:lnTo>
                  <a:lnTo>
                    <a:pt x="226" y="359"/>
                  </a:lnTo>
                  <a:lnTo>
                    <a:pt x="224" y="359"/>
                  </a:lnTo>
                  <a:lnTo>
                    <a:pt x="222" y="359"/>
                  </a:lnTo>
                  <a:lnTo>
                    <a:pt x="222" y="361"/>
                  </a:lnTo>
                  <a:lnTo>
                    <a:pt x="221" y="361"/>
                  </a:lnTo>
                  <a:lnTo>
                    <a:pt x="221" y="363"/>
                  </a:lnTo>
                  <a:lnTo>
                    <a:pt x="219" y="363"/>
                  </a:lnTo>
                  <a:lnTo>
                    <a:pt x="217" y="363"/>
                  </a:lnTo>
                  <a:lnTo>
                    <a:pt x="217" y="363"/>
                  </a:lnTo>
                  <a:lnTo>
                    <a:pt x="215" y="363"/>
                  </a:lnTo>
                  <a:lnTo>
                    <a:pt x="214" y="363"/>
                  </a:lnTo>
                  <a:lnTo>
                    <a:pt x="214" y="361"/>
                  </a:lnTo>
                  <a:lnTo>
                    <a:pt x="212" y="361"/>
                  </a:lnTo>
                  <a:lnTo>
                    <a:pt x="210" y="361"/>
                  </a:lnTo>
                  <a:lnTo>
                    <a:pt x="208" y="361"/>
                  </a:lnTo>
                  <a:lnTo>
                    <a:pt x="207" y="361"/>
                  </a:lnTo>
                  <a:lnTo>
                    <a:pt x="205" y="361"/>
                  </a:lnTo>
                  <a:lnTo>
                    <a:pt x="203" y="361"/>
                  </a:lnTo>
                  <a:lnTo>
                    <a:pt x="203" y="363"/>
                  </a:lnTo>
                  <a:lnTo>
                    <a:pt x="202" y="363"/>
                  </a:lnTo>
                  <a:lnTo>
                    <a:pt x="202" y="363"/>
                  </a:lnTo>
                  <a:lnTo>
                    <a:pt x="202" y="363"/>
                  </a:lnTo>
                  <a:lnTo>
                    <a:pt x="200" y="363"/>
                  </a:lnTo>
                  <a:lnTo>
                    <a:pt x="200" y="364"/>
                  </a:lnTo>
                  <a:lnTo>
                    <a:pt x="198" y="364"/>
                  </a:lnTo>
                  <a:lnTo>
                    <a:pt x="196" y="366"/>
                  </a:lnTo>
                  <a:lnTo>
                    <a:pt x="195" y="366"/>
                  </a:lnTo>
                  <a:lnTo>
                    <a:pt x="195" y="368"/>
                  </a:lnTo>
                  <a:lnTo>
                    <a:pt x="193" y="368"/>
                  </a:lnTo>
                  <a:lnTo>
                    <a:pt x="193" y="370"/>
                  </a:lnTo>
                  <a:lnTo>
                    <a:pt x="193" y="371"/>
                  </a:lnTo>
                  <a:lnTo>
                    <a:pt x="193" y="373"/>
                  </a:lnTo>
                  <a:lnTo>
                    <a:pt x="193" y="375"/>
                  </a:lnTo>
                  <a:lnTo>
                    <a:pt x="191" y="376"/>
                  </a:lnTo>
                  <a:lnTo>
                    <a:pt x="191" y="378"/>
                  </a:lnTo>
                  <a:lnTo>
                    <a:pt x="190" y="378"/>
                  </a:lnTo>
                  <a:lnTo>
                    <a:pt x="190" y="378"/>
                  </a:lnTo>
                  <a:lnTo>
                    <a:pt x="190" y="380"/>
                  </a:lnTo>
                  <a:lnTo>
                    <a:pt x="190" y="382"/>
                  </a:lnTo>
                  <a:lnTo>
                    <a:pt x="190" y="383"/>
                  </a:lnTo>
                  <a:lnTo>
                    <a:pt x="190" y="385"/>
                  </a:lnTo>
                  <a:lnTo>
                    <a:pt x="188" y="385"/>
                  </a:lnTo>
                  <a:lnTo>
                    <a:pt x="188" y="385"/>
                  </a:lnTo>
                  <a:lnTo>
                    <a:pt x="184" y="385"/>
                  </a:lnTo>
                  <a:lnTo>
                    <a:pt x="183" y="385"/>
                  </a:lnTo>
                  <a:lnTo>
                    <a:pt x="181" y="385"/>
                  </a:lnTo>
                  <a:lnTo>
                    <a:pt x="179" y="385"/>
                  </a:lnTo>
                  <a:lnTo>
                    <a:pt x="176" y="385"/>
                  </a:lnTo>
                  <a:lnTo>
                    <a:pt x="172" y="385"/>
                  </a:lnTo>
                  <a:lnTo>
                    <a:pt x="171" y="385"/>
                  </a:lnTo>
                  <a:lnTo>
                    <a:pt x="165" y="385"/>
                  </a:lnTo>
                  <a:lnTo>
                    <a:pt x="162" y="383"/>
                  </a:lnTo>
                  <a:lnTo>
                    <a:pt x="159" y="383"/>
                  </a:lnTo>
                  <a:lnTo>
                    <a:pt x="157" y="383"/>
                  </a:lnTo>
                  <a:lnTo>
                    <a:pt x="155" y="383"/>
                  </a:lnTo>
                  <a:lnTo>
                    <a:pt x="150" y="383"/>
                  </a:lnTo>
                  <a:lnTo>
                    <a:pt x="148" y="383"/>
                  </a:lnTo>
                  <a:lnTo>
                    <a:pt x="147" y="383"/>
                  </a:lnTo>
                  <a:lnTo>
                    <a:pt x="145" y="383"/>
                  </a:lnTo>
                  <a:lnTo>
                    <a:pt x="143" y="383"/>
                  </a:lnTo>
                  <a:lnTo>
                    <a:pt x="141" y="383"/>
                  </a:lnTo>
                  <a:lnTo>
                    <a:pt x="138" y="383"/>
                  </a:lnTo>
                  <a:lnTo>
                    <a:pt x="136" y="383"/>
                  </a:lnTo>
                  <a:lnTo>
                    <a:pt x="131" y="382"/>
                  </a:lnTo>
                  <a:lnTo>
                    <a:pt x="128" y="382"/>
                  </a:lnTo>
                  <a:lnTo>
                    <a:pt x="126" y="382"/>
                  </a:lnTo>
                  <a:lnTo>
                    <a:pt x="124" y="382"/>
                  </a:lnTo>
                  <a:lnTo>
                    <a:pt x="121" y="382"/>
                  </a:lnTo>
                  <a:lnTo>
                    <a:pt x="117" y="382"/>
                  </a:lnTo>
                  <a:lnTo>
                    <a:pt x="112" y="382"/>
                  </a:lnTo>
                  <a:lnTo>
                    <a:pt x="109" y="382"/>
                  </a:lnTo>
                  <a:lnTo>
                    <a:pt x="107" y="382"/>
                  </a:lnTo>
                  <a:lnTo>
                    <a:pt x="98" y="380"/>
                  </a:lnTo>
                  <a:lnTo>
                    <a:pt x="97" y="380"/>
                  </a:lnTo>
                  <a:lnTo>
                    <a:pt x="92" y="380"/>
                  </a:lnTo>
                  <a:lnTo>
                    <a:pt x="85" y="380"/>
                  </a:lnTo>
                  <a:lnTo>
                    <a:pt x="83" y="380"/>
                  </a:lnTo>
                  <a:lnTo>
                    <a:pt x="81" y="380"/>
                  </a:lnTo>
                  <a:lnTo>
                    <a:pt x="76" y="380"/>
                  </a:lnTo>
                  <a:lnTo>
                    <a:pt x="74" y="380"/>
                  </a:lnTo>
                  <a:lnTo>
                    <a:pt x="69" y="380"/>
                  </a:lnTo>
                  <a:lnTo>
                    <a:pt x="69" y="378"/>
                  </a:lnTo>
                  <a:lnTo>
                    <a:pt x="71" y="378"/>
                  </a:lnTo>
                  <a:lnTo>
                    <a:pt x="71" y="378"/>
                  </a:lnTo>
                  <a:lnTo>
                    <a:pt x="71" y="376"/>
                  </a:lnTo>
                  <a:lnTo>
                    <a:pt x="73" y="376"/>
                  </a:lnTo>
                  <a:lnTo>
                    <a:pt x="73" y="375"/>
                  </a:lnTo>
                  <a:lnTo>
                    <a:pt x="74" y="375"/>
                  </a:lnTo>
                  <a:lnTo>
                    <a:pt x="76" y="375"/>
                  </a:lnTo>
                  <a:lnTo>
                    <a:pt x="78" y="375"/>
                  </a:lnTo>
                  <a:lnTo>
                    <a:pt x="79" y="375"/>
                  </a:lnTo>
                  <a:lnTo>
                    <a:pt x="81" y="375"/>
                  </a:lnTo>
                  <a:lnTo>
                    <a:pt x="81" y="373"/>
                  </a:lnTo>
                  <a:lnTo>
                    <a:pt x="81" y="373"/>
                  </a:lnTo>
                  <a:lnTo>
                    <a:pt x="83" y="373"/>
                  </a:lnTo>
                  <a:lnTo>
                    <a:pt x="83" y="371"/>
                  </a:lnTo>
                  <a:lnTo>
                    <a:pt x="85" y="371"/>
                  </a:lnTo>
                  <a:lnTo>
                    <a:pt x="85" y="370"/>
                  </a:lnTo>
                  <a:lnTo>
                    <a:pt x="86" y="370"/>
                  </a:lnTo>
                  <a:lnTo>
                    <a:pt x="86" y="368"/>
                  </a:lnTo>
                  <a:lnTo>
                    <a:pt x="88" y="368"/>
                  </a:lnTo>
                  <a:lnTo>
                    <a:pt x="88" y="366"/>
                  </a:lnTo>
                  <a:lnTo>
                    <a:pt x="88" y="364"/>
                  </a:lnTo>
                  <a:lnTo>
                    <a:pt x="88" y="363"/>
                  </a:lnTo>
                  <a:lnTo>
                    <a:pt x="90" y="363"/>
                  </a:lnTo>
                  <a:lnTo>
                    <a:pt x="88" y="363"/>
                  </a:lnTo>
                  <a:lnTo>
                    <a:pt x="88" y="363"/>
                  </a:lnTo>
                  <a:lnTo>
                    <a:pt x="86" y="361"/>
                  </a:lnTo>
                  <a:lnTo>
                    <a:pt x="86" y="359"/>
                  </a:lnTo>
                  <a:lnTo>
                    <a:pt x="85" y="359"/>
                  </a:lnTo>
                  <a:lnTo>
                    <a:pt x="85" y="357"/>
                  </a:lnTo>
                  <a:lnTo>
                    <a:pt x="81" y="357"/>
                  </a:lnTo>
                  <a:lnTo>
                    <a:pt x="81" y="356"/>
                  </a:lnTo>
                  <a:lnTo>
                    <a:pt x="81" y="356"/>
                  </a:lnTo>
                  <a:lnTo>
                    <a:pt x="79" y="356"/>
                  </a:lnTo>
                  <a:lnTo>
                    <a:pt x="78" y="356"/>
                  </a:lnTo>
                  <a:lnTo>
                    <a:pt x="76" y="354"/>
                  </a:lnTo>
                  <a:lnTo>
                    <a:pt x="74" y="352"/>
                  </a:lnTo>
                  <a:lnTo>
                    <a:pt x="73" y="352"/>
                  </a:lnTo>
                  <a:lnTo>
                    <a:pt x="73" y="354"/>
                  </a:lnTo>
                  <a:lnTo>
                    <a:pt x="71" y="354"/>
                  </a:lnTo>
                  <a:lnTo>
                    <a:pt x="71" y="356"/>
                  </a:lnTo>
                  <a:lnTo>
                    <a:pt x="69" y="356"/>
                  </a:lnTo>
                  <a:lnTo>
                    <a:pt x="69" y="357"/>
                  </a:lnTo>
                  <a:lnTo>
                    <a:pt x="69" y="359"/>
                  </a:lnTo>
                  <a:lnTo>
                    <a:pt x="67" y="359"/>
                  </a:lnTo>
                  <a:lnTo>
                    <a:pt x="67" y="361"/>
                  </a:lnTo>
                  <a:lnTo>
                    <a:pt x="66" y="363"/>
                  </a:lnTo>
                  <a:lnTo>
                    <a:pt x="66" y="363"/>
                  </a:lnTo>
                  <a:lnTo>
                    <a:pt x="66" y="366"/>
                  </a:lnTo>
                  <a:lnTo>
                    <a:pt x="66" y="368"/>
                  </a:lnTo>
                  <a:lnTo>
                    <a:pt x="64" y="370"/>
                  </a:lnTo>
                  <a:lnTo>
                    <a:pt x="64" y="371"/>
                  </a:lnTo>
                  <a:lnTo>
                    <a:pt x="62" y="373"/>
                  </a:lnTo>
                  <a:lnTo>
                    <a:pt x="61" y="375"/>
                  </a:lnTo>
                  <a:lnTo>
                    <a:pt x="59" y="378"/>
                  </a:lnTo>
                  <a:lnTo>
                    <a:pt x="59" y="378"/>
                  </a:lnTo>
                  <a:lnTo>
                    <a:pt x="57" y="380"/>
                  </a:lnTo>
                  <a:lnTo>
                    <a:pt x="57" y="382"/>
                  </a:lnTo>
                  <a:lnTo>
                    <a:pt x="57" y="383"/>
                  </a:lnTo>
                  <a:lnTo>
                    <a:pt x="55" y="385"/>
                  </a:lnTo>
                  <a:lnTo>
                    <a:pt x="54" y="387"/>
                  </a:lnTo>
                  <a:lnTo>
                    <a:pt x="52" y="388"/>
                  </a:lnTo>
                  <a:lnTo>
                    <a:pt x="50" y="388"/>
                  </a:lnTo>
                  <a:lnTo>
                    <a:pt x="49" y="388"/>
                  </a:lnTo>
                  <a:lnTo>
                    <a:pt x="43" y="388"/>
                  </a:lnTo>
                  <a:lnTo>
                    <a:pt x="42" y="387"/>
                  </a:lnTo>
                  <a:lnTo>
                    <a:pt x="40" y="387"/>
                  </a:lnTo>
                  <a:lnTo>
                    <a:pt x="38" y="385"/>
                  </a:lnTo>
                  <a:lnTo>
                    <a:pt x="36" y="385"/>
                  </a:lnTo>
                  <a:lnTo>
                    <a:pt x="36" y="383"/>
                  </a:lnTo>
                  <a:lnTo>
                    <a:pt x="36" y="382"/>
                  </a:lnTo>
                  <a:lnTo>
                    <a:pt x="35" y="380"/>
                  </a:lnTo>
                  <a:lnTo>
                    <a:pt x="35" y="378"/>
                  </a:lnTo>
                  <a:lnTo>
                    <a:pt x="35" y="378"/>
                  </a:lnTo>
                  <a:lnTo>
                    <a:pt x="36" y="375"/>
                  </a:lnTo>
                  <a:lnTo>
                    <a:pt x="36" y="373"/>
                  </a:lnTo>
                  <a:lnTo>
                    <a:pt x="36" y="373"/>
                  </a:lnTo>
                  <a:lnTo>
                    <a:pt x="36" y="371"/>
                  </a:lnTo>
                  <a:lnTo>
                    <a:pt x="38" y="371"/>
                  </a:lnTo>
                  <a:lnTo>
                    <a:pt x="40" y="370"/>
                  </a:lnTo>
                  <a:lnTo>
                    <a:pt x="42" y="370"/>
                  </a:lnTo>
                  <a:lnTo>
                    <a:pt x="43" y="370"/>
                  </a:lnTo>
                  <a:lnTo>
                    <a:pt x="45" y="370"/>
                  </a:lnTo>
                  <a:lnTo>
                    <a:pt x="47" y="370"/>
                  </a:lnTo>
                  <a:lnTo>
                    <a:pt x="49" y="370"/>
                  </a:lnTo>
                  <a:lnTo>
                    <a:pt x="50" y="370"/>
                  </a:lnTo>
                  <a:lnTo>
                    <a:pt x="52" y="370"/>
                  </a:lnTo>
                  <a:lnTo>
                    <a:pt x="52" y="370"/>
                  </a:lnTo>
                  <a:lnTo>
                    <a:pt x="54" y="370"/>
                  </a:lnTo>
                  <a:lnTo>
                    <a:pt x="55" y="370"/>
                  </a:lnTo>
                  <a:lnTo>
                    <a:pt x="57" y="370"/>
                  </a:lnTo>
                  <a:lnTo>
                    <a:pt x="57" y="368"/>
                  </a:lnTo>
                  <a:lnTo>
                    <a:pt x="57" y="366"/>
                  </a:lnTo>
                  <a:lnTo>
                    <a:pt x="57" y="364"/>
                  </a:lnTo>
                  <a:lnTo>
                    <a:pt x="57" y="363"/>
                  </a:lnTo>
                  <a:lnTo>
                    <a:pt x="57" y="363"/>
                  </a:lnTo>
                  <a:lnTo>
                    <a:pt x="55" y="363"/>
                  </a:lnTo>
                  <a:lnTo>
                    <a:pt x="54" y="363"/>
                  </a:lnTo>
                  <a:lnTo>
                    <a:pt x="52" y="363"/>
                  </a:lnTo>
                  <a:lnTo>
                    <a:pt x="52" y="363"/>
                  </a:lnTo>
                  <a:lnTo>
                    <a:pt x="50" y="363"/>
                  </a:lnTo>
                  <a:lnTo>
                    <a:pt x="49" y="363"/>
                  </a:lnTo>
                  <a:lnTo>
                    <a:pt x="47" y="363"/>
                  </a:lnTo>
                  <a:lnTo>
                    <a:pt x="45" y="361"/>
                  </a:lnTo>
                  <a:lnTo>
                    <a:pt x="43" y="359"/>
                  </a:lnTo>
                  <a:lnTo>
                    <a:pt x="43" y="356"/>
                  </a:lnTo>
                  <a:lnTo>
                    <a:pt x="42" y="354"/>
                  </a:lnTo>
                  <a:lnTo>
                    <a:pt x="42" y="352"/>
                  </a:lnTo>
                  <a:lnTo>
                    <a:pt x="40" y="349"/>
                  </a:lnTo>
                  <a:lnTo>
                    <a:pt x="38" y="349"/>
                  </a:lnTo>
                  <a:lnTo>
                    <a:pt x="38" y="347"/>
                  </a:lnTo>
                  <a:lnTo>
                    <a:pt x="36" y="345"/>
                  </a:lnTo>
                  <a:lnTo>
                    <a:pt x="36" y="344"/>
                  </a:lnTo>
                  <a:lnTo>
                    <a:pt x="36" y="342"/>
                  </a:lnTo>
                  <a:lnTo>
                    <a:pt x="33" y="340"/>
                  </a:lnTo>
                  <a:lnTo>
                    <a:pt x="31" y="340"/>
                  </a:lnTo>
                  <a:lnTo>
                    <a:pt x="31" y="339"/>
                  </a:lnTo>
                  <a:lnTo>
                    <a:pt x="30" y="339"/>
                  </a:lnTo>
                  <a:lnTo>
                    <a:pt x="28" y="337"/>
                  </a:lnTo>
                  <a:lnTo>
                    <a:pt x="28" y="335"/>
                  </a:lnTo>
                  <a:lnTo>
                    <a:pt x="26" y="335"/>
                  </a:lnTo>
                  <a:lnTo>
                    <a:pt x="26" y="333"/>
                  </a:lnTo>
                  <a:lnTo>
                    <a:pt x="26" y="333"/>
                  </a:lnTo>
                  <a:lnTo>
                    <a:pt x="26" y="332"/>
                  </a:lnTo>
                  <a:lnTo>
                    <a:pt x="24" y="332"/>
                  </a:lnTo>
                  <a:lnTo>
                    <a:pt x="24" y="330"/>
                  </a:lnTo>
                  <a:lnTo>
                    <a:pt x="24" y="328"/>
                  </a:lnTo>
                  <a:lnTo>
                    <a:pt x="23" y="328"/>
                  </a:lnTo>
                  <a:lnTo>
                    <a:pt x="23" y="327"/>
                  </a:lnTo>
                  <a:lnTo>
                    <a:pt x="21" y="325"/>
                  </a:lnTo>
                  <a:lnTo>
                    <a:pt x="21" y="325"/>
                  </a:lnTo>
                  <a:lnTo>
                    <a:pt x="21" y="323"/>
                  </a:lnTo>
                  <a:lnTo>
                    <a:pt x="19" y="323"/>
                  </a:lnTo>
                  <a:lnTo>
                    <a:pt x="18" y="323"/>
                  </a:lnTo>
                  <a:lnTo>
                    <a:pt x="16" y="323"/>
                  </a:lnTo>
                  <a:lnTo>
                    <a:pt x="16" y="325"/>
                  </a:lnTo>
                  <a:lnTo>
                    <a:pt x="14" y="325"/>
                  </a:lnTo>
                  <a:lnTo>
                    <a:pt x="12" y="323"/>
                  </a:lnTo>
                  <a:lnTo>
                    <a:pt x="11" y="325"/>
                  </a:lnTo>
                  <a:lnTo>
                    <a:pt x="9" y="325"/>
                  </a:lnTo>
                  <a:lnTo>
                    <a:pt x="7" y="325"/>
                  </a:lnTo>
                  <a:lnTo>
                    <a:pt x="7" y="327"/>
                  </a:lnTo>
                  <a:lnTo>
                    <a:pt x="6" y="327"/>
                  </a:lnTo>
                  <a:lnTo>
                    <a:pt x="6" y="327"/>
                  </a:lnTo>
                  <a:lnTo>
                    <a:pt x="4" y="328"/>
                  </a:lnTo>
                  <a:lnTo>
                    <a:pt x="2" y="330"/>
                  </a:lnTo>
                  <a:lnTo>
                    <a:pt x="2" y="332"/>
                  </a:lnTo>
                  <a:lnTo>
                    <a:pt x="0" y="332"/>
                  </a:lnTo>
                  <a:lnTo>
                    <a:pt x="0" y="325"/>
                  </a:lnTo>
                  <a:lnTo>
                    <a:pt x="0" y="323"/>
                  </a:lnTo>
                  <a:lnTo>
                    <a:pt x="0" y="320"/>
                  </a:lnTo>
                  <a:lnTo>
                    <a:pt x="2" y="320"/>
                  </a:lnTo>
                  <a:lnTo>
                    <a:pt x="2" y="318"/>
                  </a:lnTo>
                  <a:lnTo>
                    <a:pt x="2" y="304"/>
                  </a:lnTo>
                  <a:lnTo>
                    <a:pt x="2" y="301"/>
                  </a:lnTo>
                  <a:lnTo>
                    <a:pt x="2" y="299"/>
                  </a:lnTo>
                  <a:lnTo>
                    <a:pt x="2" y="297"/>
                  </a:lnTo>
                  <a:lnTo>
                    <a:pt x="2" y="289"/>
                  </a:lnTo>
                  <a:lnTo>
                    <a:pt x="2" y="280"/>
                  </a:lnTo>
                  <a:lnTo>
                    <a:pt x="4" y="270"/>
                  </a:lnTo>
                  <a:lnTo>
                    <a:pt x="4" y="266"/>
                  </a:lnTo>
                  <a:lnTo>
                    <a:pt x="4" y="265"/>
                  </a:lnTo>
                  <a:lnTo>
                    <a:pt x="4" y="261"/>
                  </a:lnTo>
                  <a:lnTo>
                    <a:pt x="4" y="258"/>
                  </a:lnTo>
                  <a:lnTo>
                    <a:pt x="4" y="258"/>
                  </a:lnTo>
                  <a:lnTo>
                    <a:pt x="4" y="254"/>
                  </a:lnTo>
                  <a:lnTo>
                    <a:pt x="4" y="244"/>
                  </a:lnTo>
                  <a:lnTo>
                    <a:pt x="4" y="242"/>
                  </a:lnTo>
                  <a:lnTo>
                    <a:pt x="4" y="240"/>
                  </a:lnTo>
                  <a:lnTo>
                    <a:pt x="4" y="239"/>
                  </a:lnTo>
                  <a:lnTo>
                    <a:pt x="6" y="237"/>
                  </a:lnTo>
                  <a:lnTo>
                    <a:pt x="6" y="228"/>
                  </a:lnTo>
                  <a:lnTo>
                    <a:pt x="6" y="225"/>
                  </a:lnTo>
                  <a:lnTo>
                    <a:pt x="6" y="218"/>
                  </a:lnTo>
                  <a:lnTo>
                    <a:pt x="6" y="216"/>
                  </a:lnTo>
                  <a:lnTo>
                    <a:pt x="6" y="206"/>
                  </a:lnTo>
                  <a:lnTo>
                    <a:pt x="6" y="203"/>
                  </a:lnTo>
                  <a:lnTo>
                    <a:pt x="6" y="197"/>
                  </a:lnTo>
                  <a:lnTo>
                    <a:pt x="6" y="192"/>
                  </a:lnTo>
                  <a:lnTo>
                    <a:pt x="4" y="192"/>
                  </a:lnTo>
                  <a:lnTo>
                    <a:pt x="6" y="192"/>
                  </a:lnTo>
                  <a:lnTo>
                    <a:pt x="6" y="191"/>
                  </a:lnTo>
                  <a:lnTo>
                    <a:pt x="6" y="184"/>
                  </a:lnTo>
                  <a:lnTo>
                    <a:pt x="6" y="179"/>
                  </a:lnTo>
                  <a:lnTo>
                    <a:pt x="6" y="173"/>
                  </a:lnTo>
                  <a:lnTo>
                    <a:pt x="6" y="161"/>
                  </a:lnTo>
                  <a:lnTo>
                    <a:pt x="6" y="153"/>
                  </a:lnTo>
                  <a:lnTo>
                    <a:pt x="6" y="151"/>
                  </a:lnTo>
                  <a:lnTo>
                    <a:pt x="6" y="149"/>
                  </a:lnTo>
                  <a:lnTo>
                    <a:pt x="6" y="148"/>
                  </a:lnTo>
                  <a:lnTo>
                    <a:pt x="6" y="146"/>
                  </a:lnTo>
                  <a:lnTo>
                    <a:pt x="6" y="141"/>
                  </a:lnTo>
                  <a:lnTo>
                    <a:pt x="6" y="139"/>
                  </a:lnTo>
                  <a:lnTo>
                    <a:pt x="6" y="137"/>
                  </a:lnTo>
                  <a:lnTo>
                    <a:pt x="6" y="130"/>
                  </a:lnTo>
                  <a:lnTo>
                    <a:pt x="6" y="129"/>
                  </a:lnTo>
                  <a:lnTo>
                    <a:pt x="6" y="127"/>
                  </a:lnTo>
                  <a:lnTo>
                    <a:pt x="6" y="125"/>
                  </a:lnTo>
                  <a:lnTo>
                    <a:pt x="6" y="124"/>
                  </a:lnTo>
                  <a:lnTo>
                    <a:pt x="6" y="122"/>
                  </a:lnTo>
                  <a:lnTo>
                    <a:pt x="7" y="120"/>
                  </a:lnTo>
                  <a:lnTo>
                    <a:pt x="7" y="118"/>
                  </a:lnTo>
                  <a:lnTo>
                    <a:pt x="7" y="113"/>
                  </a:lnTo>
                  <a:lnTo>
                    <a:pt x="7" y="111"/>
                  </a:lnTo>
                  <a:lnTo>
                    <a:pt x="7" y="110"/>
                  </a:lnTo>
                  <a:lnTo>
                    <a:pt x="7" y="105"/>
                  </a:lnTo>
                  <a:lnTo>
                    <a:pt x="7" y="101"/>
                  </a:lnTo>
                  <a:lnTo>
                    <a:pt x="7" y="98"/>
                  </a:lnTo>
                  <a:lnTo>
                    <a:pt x="7" y="96"/>
                  </a:lnTo>
                  <a:lnTo>
                    <a:pt x="7" y="93"/>
                  </a:lnTo>
                  <a:lnTo>
                    <a:pt x="7" y="93"/>
                  </a:lnTo>
                  <a:lnTo>
                    <a:pt x="7" y="91"/>
                  </a:lnTo>
                  <a:lnTo>
                    <a:pt x="7" y="86"/>
                  </a:lnTo>
                  <a:lnTo>
                    <a:pt x="7" y="77"/>
                  </a:lnTo>
                  <a:lnTo>
                    <a:pt x="7" y="75"/>
                  </a:lnTo>
                  <a:lnTo>
                    <a:pt x="9" y="72"/>
                  </a:lnTo>
                  <a:lnTo>
                    <a:pt x="9" y="70"/>
                  </a:lnTo>
                  <a:lnTo>
                    <a:pt x="9" y="65"/>
                  </a:lnTo>
                  <a:lnTo>
                    <a:pt x="9" y="60"/>
                  </a:lnTo>
                  <a:lnTo>
                    <a:pt x="9" y="55"/>
                  </a:lnTo>
                  <a:lnTo>
                    <a:pt x="9" y="51"/>
                  </a:lnTo>
                  <a:lnTo>
                    <a:pt x="9" y="48"/>
                  </a:lnTo>
                  <a:lnTo>
                    <a:pt x="9" y="48"/>
                  </a:lnTo>
                  <a:lnTo>
                    <a:pt x="9" y="46"/>
                  </a:lnTo>
                  <a:lnTo>
                    <a:pt x="9" y="44"/>
                  </a:lnTo>
                  <a:lnTo>
                    <a:pt x="9" y="41"/>
                  </a:lnTo>
                  <a:lnTo>
                    <a:pt x="9" y="39"/>
                  </a:lnTo>
                  <a:lnTo>
                    <a:pt x="9" y="37"/>
                  </a:lnTo>
                  <a:lnTo>
                    <a:pt x="9" y="36"/>
                  </a:lnTo>
                  <a:lnTo>
                    <a:pt x="9" y="34"/>
                  </a:lnTo>
                  <a:lnTo>
                    <a:pt x="9" y="32"/>
                  </a:lnTo>
                  <a:lnTo>
                    <a:pt x="11" y="32"/>
                  </a:lnTo>
                  <a:lnTo>
                    <a:pt x="11" y="32"/>
                  </a:lnTo>
                  <a:lnTo>
                    <a:pt x="11" y="29"/>
                  </a:lnTo>
                  <a:lnTo>
                    <a:pt x="11" y="27"/>
                  </a:lnTo>
                  <a:lnTo>
                    <a:pt x="11" y="25"/>
                  </a:lnTo>
                  <a:lnTo>
                    <a:pt x="11" y="22"/>
                  </a:lnTo>
                  <a:lnTo>
                    <a:pt x="11" y="20"/>
                  </a:lnTo>
                  <a:lnTo>
                    <a:pt x="11" y="17"/>
                  </a:lnTo>
                  <a:lnTo>
                    <a:pt x="11" y="13"/>
                  </a:lnTo>
                  <a:lnTo>
                    <a:pt x="11" y="5"/>
                  </a:lnTo>
                  <a:lnTo>
                    <a:pt x="11" y="1"/>
                  </a:lnTo>
                  <a:lnTo>
                    <a:pt x="11" y="1"/>
                  </a:lnTo>
                  <a:lnTo>
                    <a:pt x="11" y="0"/>
                  </a:lnTo>
                  <a:lnTo>
                    <a:pt x="19" y="0"/>
                  </a:lnTo>
                  <a:lnTo>
                    <a:pt x="21" y="0"/>
                  </a:lnTo>
                  <a:lnTo>
                    <a:pt x="21" y="0"/>
                  </a:lnTo>
                  <a:lnTo>
                    <a:pt x="23" y="0"/>
                  </a:lnTo>
                  <a:lnTo>
                    <a:pt x="26" y="1"/>
                  </a:lnTo>
                  <a:lnTo>
                    <a:pt x="33" y="1"/>
                  </a:lnTo>
                  <a:lnTo>
                    <a:pt x="35" y="1"/>
                  </a:lnTo>
                  <a:lnTo>
                    <a:pt x="36" y="1"/>
                  </a:lnTo>
                  <a:lnTo>
                    <a:pt x="38" y="1"/>
                  </a:lnTo>
                  <a:lnTo>
                    <a:pt x="43" y="1"/>
                  </a:lnTo>
                  <a:lnTo>
                    <a:pt x="49" y="1"/>
                  </a:lnTo>
                  <a:lnTo>
                    <a:pt x="50" y="1"/>
                  </a:lnTo>
                  <a:lnTo>
                    <a:pt x="52" y="1"/>
                  </a:lnTo>
                  <a:lnTo>
                    <a:pt x="54" y="1"/>
                  </a:lnTo>
                  <a:lnTo>
                    <a:pt x="57" y="1"/>
                  </a:lnTo>
                  <a:lnTo>
                    <a:pt x="59" y="1"/>
                  </a:lnTo>
                  <a:lnTo>
                    <a:pt x="61" y="1"/>
                  </a:lnTo>
                  <a:lnTo>
                    <a:pt x="62" y="3"/>
                  </a:lnTo>
                  <a:lnTo>
                    <a:pt x="64" y="3"/>
                  </a:lnTo>
                  <a:lnTo>
                    <a:pt x="67" y="3"/>
                  </a:lnTo>
                  <a:lnTo>
                    <a:pt x="71" y="3"/>
                  </a:lnTo>
                  <a:lnTo>
                    <a:pt x="73" y="3"/>
                  </a:lnTo>
                  <a:lnTo>
                    <a:pt x="76" y="3"/>
                  </a:lnTo>
                  <a:lnTo>
                    <a:pt x="78" y="3"/>
                  </a:lnTo>
                  <a:lnTo>
                    <a:pt x="86" y="3"/>
                  </a:lnTo>
                  <a:lnTo>
                    <a:pt x="86" y="5"/>
                  </a:lnTo>
                  <a:lnTo>
                    <a:pt x="88" y="5"/>
                  </a:lnTo>
                  <a:lnTo>
                    <a:pt x="92" y="5"/>
                  </a:lnTo>
                  <a:lnTo>
                    <a:pt x="97" y="5"/>
                  </a:lnTo>
                  <a:lnTo>
                    <a:pt x="98" y="5"/>
                  </a:lnTo>
                  <a:lnTo>
                    <a:pt x="102" y="5"/>
                  </a:lnTo>
                  <a:lnTo>
                    <a:pt x="104" y="5"/>
                  </a:lnTo>
                  <a:lnTo>
                    <a:pt x="112" y="5"/>
                  </a:lnTo>
                  <a:lnTo>
                    <a:pt x="114" y="5"/>
                  </a:lnTo>
                  <a:lnTo>
                    <a:pt x="122" y="5"/>
                  </a:lnTo>
                  <a:lnTo>
                    <a:pt x="126" y="5"/>
                  </a:lnTo>
                  <a:lnTo>
                    <a:pt x="126" y="5"/>
                  </a:lnTo>
                  <a:lnTo>
                    <a:pt x="131" y="5"/>
                  </a:lnTo>
                  <a:lnTo>
                    <a:pt x="133" y="5"/>
                  </a:lnTo>
                  <a:lnTo>
                    <a:pt x="138" y="5"/>
                  </a:lnTo>
                  <a:lnTo>
                    <a:pt x="140" y="5"/>
                  </a:lnTo>
                  <a:lnTo>
                    <a:pt x="141" y="5"/>
                  </a:lnTo>
                  <a:lnTo>
                    <a:pt x="141" y="5"/>
                  </a:lnTo>
                  <a:lnTo>
                    <a:pt x="143" y="5"/>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3" name="Freeform 194"/>
            <p:cNvSpPr>
              <a:spLocks/>
            </p:cNvSpPr>
            <p:nvPr/>
          </p:nvSpPr>
          <p:spPr bwMode="auto">
            <a:xfrm>
              <a:off x="4626859" y="3419269"/>
              <a:ext cx="447675" cy="579438"/>
            </a:xfrm>
            <a:custGeom>
              <a:avLst/>
              <a:gdLst/>
              <a:ahLst/>
              <a:cxnLst>
                <a:cxn ang="0">
                  <a:pos x="276" y="17"/>
                </a:cxn>
                <a:cxn ang="0">
                  <a:pos x="276" y="31"/>
                </a:cxn>
                <a:cxn ang="0">
                  <a:pos x="276" y="71"/>
                </a:cxn>
                <a:cxn ang="0">
                  <a:pos x="276" y="86"/>
                </a:cxn>
                <a:cxn ang="0">
                  <a:pos x="274" y="119"/>
                </a:cxn>
                <a:cxn ang="0">
                  <a:pos x="274" y="138"/>
                </a:cxn>
                <a:cxn ang="0">
                  <a:pos x="272" y="169"/>
                </a:cxn>
                <a:cxn ang="0">
                  <a:pos x="272" y="200"/>
                </a:cxn>
                <a:cxn ang="0">
                  <a:pos x="270" y="217"/>
                </a:cxn>
                <a:cxn ang="0">
                  <a:pos x="270" y="229"/>
                </a:cxn>
                <a:cxn ang="0">
                  <a:pos x="269" y="241"/>
                </a:cxn>
                <a:cxn ang="0">
                  <a:pos x="269" y="263"/>
                </a:cxn>
                <a:cxn ang="0">
                  <a:pos x="282" y="268"/>
                </a:cxn>
                <a:cxn ang="0">
                  <a:pos x="281" y="305"/>
                </a:cxn>
                <a:cxn ang="0">
                  <a:pos x="279" y="323"/>
                </a:cxn>
                <a:cxn ang="0">
                  <a:pos x="277" y="349"/>
                </a:cxn>
                <a:cxn ang="0">
                  <a:pos x="260" y="365"/>
                </a:cxn>
                <a:cxn ang="0">
                  <a:pos x="214" y="363"/>
                </a:cxn>
                <a:cxn ang="0">
                  <a:pos x="195" y="363"/>
                </a:cxn>
                <a:cxn ang="0">
                  <a:pos x="171" y="361"/>
                </a:cxn>
                <a:cxn ang="0">
                  <a:pos x="148" y="361"/>
                </a:cxn>
                <a:cxn ang="0">
                  <a:pos x="121" y="360"/>
                </a:cxn>
                <a:cxn ang="0">
                  <a:pos x="100" y="360"/>
                </a:cxn>
                <a:cxn ang="0">
                  <a:pos x="90" y="358"/>
                </a:cxn>
                <a:cxn ang="0">
                  <a:pos x="55" y="356"/>
                </a:cxn>
                <a:cxn ang="0">
                  <a:pos x="43" y="356"/>
                </a:cxn>
                <a:cxn ang="0">
                  <a:pos x="16" y="354"/>
                </a:cxn>
                <a:cxn ang="0">
                  <a:pos x="12" y="348"/>
                </a:cxn>
                <a:cxn ang="0">
                  <a:pos x="12" y="329"/>
                </a:cxn>
                <a:cxn ang="0">
                  <a:pos x="14" y="306"/>
                </a:cxn>
                <a:cxn ang="0">
                  <a:pos x="14" y="296"/>
                </a:cxn>
                <a:cxn ang="0">
                  <a:pos x="16" y="265"/>
                </a:cxn>
                <a:cxn ang="0">
                  <a:pos x="5" y="256"/>
                </a:cxn>
                <a:cxn ang="0">
                  <a:pos x="0" y="251"/>
                </a:cxn>
                <a:cxn ang="0">
                  <a:pos x="2" y="229"/>
                </a:cxn>
                <a:cxn ang="0">
                  <a:pos x="2" y="205"/>
                </a:cxn>
                <a:cxn ang="0">
                  <a:pos x="4" y="193"/>
                </a:cxn>
                <a:cxn ang="0">
                  <a:pos x="4" y="167"/>
                </a:cxn>
                <a:cxn ang="0">
                  <a:pos x="4" y="146"/>
                </a:cxn>
                <a:cxn ang="0">
                  <a:pos x="5" y="120"/>
                </a:cxn>
                <a:cxn ang="0">
                  <a:pos x="7" y="95"/>
                </a:cxn>
                <a:cxn ang="0">
                  <a:pos x="7" y="81"/>
                </a:cxn>
                <a:cxn ang="0">
                  <a:pos x="7" y="62"/>
                </a:cxn>
                <a:cxn ang="0">
                  <a:pos x="5" y="48"/>
                </a:cxn>
                <a:cxn ang="0">
                  <a:pos x="7" y="24"/>
                </a:cxn>
                <a:cxn ang="0">
                  <a:pos x="18" y="17"/>
                </a:cxn>
                <a:cxn ang="0">
                  <a:pos x="45" y="17"/>
                </a:cxn>
                <a:cxn ang="0">
                  <a:pos x="59" y="17"/>
                </a:cxn>
                <a:cxn ang="0">
                  <a:pos x="88" y="19"/>
                </a:cxn>
                <a:cxn ang="0">
                  <a:pos x="107" y="21"/>
                </a:cxn>
                <a:cxn ang="0">
                  <a:pos x="122" y="21"/>
                </a:cxn>
                <a:cxn ang="0">
                  <a:pos x="141" y="19"/>
                </a:cxn>
                <a:cxn ang="0">
                  <a:pos x="147" y="0"/>
                </a:cxn>
                <a:cxn ang="0">
                  <a:pos x="169" y="0"/>
                </a:cxn>
                <a:cxn ang="0">
                  <a:pos x="198" y="2"/>
                </a:cxn>
                <a:cxn ang="0">
                  <a:pos x="220" y="2"/>
                </a:cxn>
                <a:cxn ang="0">
                  <a:pos x="239" y="2"/>
                </a:cxn>
                <a:cxn ang="0">
                  <a:pos x="258" y="2"/>
                </a:cxn>
                <a:cxn ang="0">
                  <a:pos x="276" y="4"/>
                </a:cxn>
              </a:cxnLst>
              <a:rect l="0" t="0" r="r" b="b"/>
              <a:pathLst>
                <a:path w="282" h="365">
                  <a:moveTo>
                    <a:pt x="276" y="4"/>
                  </a:moveTo>
                  <a:lnTo>
                    <a:pt x="276" y="5"/>
                  </a:lnTo>
                  <a:lnTo>
                    <a:pt x="276" y="7"/>
                  </a:lnTo>
                  <a:lnTo>
                    <a:pt x="276" y="9"/>
                  </a:lnTo>
                  <a:lnTo>
                    <a:pt x="276" y="10"/>
                  </a:lnTo>
                  <a:lnTo>
                    <a:pt x="276" y="17"/>
                  </a:lnTo>
                  <a:lnTo>
                    <a:pt x="276" y="19"/>
                  </a:lnTo>
                  <a:lnTo>
                    <a:pt x="276" y="21"/>
                  </a:lnTo>
                  <a:lnTo>
                    <a:pt x="276" y="26"/>
                  </a:lnTo>
                  <a:lnTo>
                    <a:pt x="276" y="28"/>
                  </a:lnTo>
                  <a:lnTo>
                    <a:pt x="276" y="29"/>
                  </a:lnTo>
                  <a:lnTo>
                    <a:pt x="276" y="31"/>
                  </a:lnTo>
                  <a:lnTo>
                    <a:pt x="276" y="33"/>
                  </a:lnTo>
                  <a:lnTo>
                    <a:pt x="276" y="41"/>
                  </a:lnTo>
                  <a:lnTo>
                    <a:pt x="276" y="53"/>
                  </a:lnTo>
                  <a:lnTo>
                    <a:pt x="276" y="59"/>
                  </a:lnTo>
                  <a:lnTo>
                    <a:pt x="276" y="64"/>
                  </a:lnTo>
                  <a:lnTo>
                    <a:pt x="276" y="71"/>
                  </a:lnTo>
                  <a:lnTo>
                    <a:pt x="276" y="72"/>
                  </a:lnTo>
                  <a:lnTo>
                    <a:pt x="274" y="72"/>
                  </a:lnTo>
                  <a:lnTo>
                    <a:pt x="276" y="72"/>
                  </a:lnTo>
                  <a:lnTo>
                    <a:pt x="276" y="77"/>
                  </a:lnTo>
                  <a:lnTo>
                    <a:pt x="276" y="83"/>
                  </a:lnTo>
                  <a:lnTo>
                    <a:pt x="276" y="86"/>
                  </a:lnTo>
                  <a:lnTo>
                    <a:pt x="276" y="96"/>
                  </a:lnTo>
                  <a:lnTo>
                    <a:pt x="276" y="98"/>
                  </a:lnTo>
                  <a:lnTo>
                    <a:pt x="276" y="105"/>
                  </a:lnTo>
                  <a:lnTo>
                    <a:pt x="276" y="108"/>
                  </a:lnTo>
                  <a:lnTo>
                    <a:pt x="276" y="117"/>
                  </a:lnTo>
                  <a:lnTo>
                    <a:pt x="274" y="119"/>
                  </a:lnTo>
                  <a:lnTo>
                    <a:pt x="274" y="120"/>
                  </a:lnTo>
                  <a:lnTo>
                    <a:pt x="274" y="122"/>
                  </a:lnTo>
                  <a:lnTo>
                    <a:pt x="274" y="124"/>
                  </a:lnTo>
                  <a:lnTo>
                    <a:pt x="274" y="134"/>
                  </a:lnTo>
                  <a:lnTo>
                    <a:pt x="274" y="138"/>
                  </a:lnTo>
                  <a:lnTo>
                    <a:pt x="274" y="138"/>
                  </a:lnTo>
                  <a:lnTo>
                    <a:pt x="274" y="141"/>
                  </a:lnTo>
                  <a:lnTo>
                    <a:pt x="274" y="145"/>
                  </a:lnTo>
                  <a:lnTo>
                    <a:pt x="274" y="146"/>
                  </a:lnTo>
                  <a:lnTo>
                    <a:pt x="274" y="150"/>
                  </a:lnTo>
                  <a:lnTo>
                    <a:pt x="272" y="160"/>
                  </a:lnTo>
                  <a:lnTo>
                    <a:pt x="272" y="169"/>
                  </a:lnTo>
                  <a:lnTo>
                    <a:pt x="272" y="177"/>
                  </a:lnTo>
                  <a:lnTo>
                    <a:pt x="272" y="179"/>
                  </a:lnTo>
                  <a:lnTo>
                    <a:pt x="272" y="181"/>
                  </a:lnTo>
                  <a:lnTo>
                    <a:pt x="272" y="184"/>
                  </a:lnTo>
                  <a:lnTo>
                    <a:pt x="272" y="198"/>
                  </a:lnTo>
                  <a:lnTo>
                    <a:pt x="272" y="200"/>
                  </a:lnTo>
                  <a:lnTo>
                    <a:pt x="270" y="200"/>
                  </a:lnTo>
                  <a:lnTo>
                    <a:pt x="270" y="203"/>
                  </a:lnTo>
                  <a:lnTo>
                    <a:pt x="270" y="205"/>
                  </a:lnTo>
                  <a:lnTo>
                    <a:pt x="270" y="212"/>
                  </a:lnTo>
                  <a:lnTo>
                    <a:pt x="270" y="213"/>
                  </a:lnTo>
                  <a:lnTo>
                    <a:pt x="270" y="217"/>
                  </a:lnTo>
                  <a:lnTo>
                    <a:pt x="270" y="219"/>
                  </a:lnTo>
                  <a:lnTo>
                    <a:pt x="270" y="220"/>
                  </a:lnTo>
                  <a:lnTo>
                    <a:pt x="270" y="222"/>
                  </a:lnTo>
                  <a:lnTo>
                    <a:pt x="270" y="224"/>
                  </a:lnTo>
                  <a:lnTo>
                    <a:pt x="270" y="227"/>
                  </a:lnTo>
                  <a:lnTo>
                    <a:pt x="270" y="229"/>
                  </a:lnTo>
                  <a:lnTo>
                    <a:pt x="270" y="229"/>
                  </a:lnTo>
                  <a:lnTo>
                    <a:pt x="270" y="231"/>
                  </a:lnTo>
                  <a:lnTo>
                    <a:pt x="270" y="232"/>
                  </a:lnTo>
                  <a:lnTo>
                    <a:pt x="269" y="234"/>
                  </a:lnTo>
                  <a:lnTo>
                    <a:pt x="269" y="237"/>
                  </a:lnTo>
                  <a:lnTo>
                    <a:pt x="269" y="241"/>
                  </a:lnTo>
                  <a:lnTo>
                    <a:pt x="269" y="243"/>
                  </a:lnTo>
                  <a:lnTo>
                    <a:pt x="269" y="244"/>
                  </a:lnTo>
                  <a:lnTo>
                    <a:pt x="269" y="258"/>
                  </a:lnTo>
                  <a:lnTo>
                    <a:pt x="269" y="260"/>
                  </a:lnTo>
                  <a:lnTo>
                    <a:pt x="269" y="262"/>
                  </a:lnTo>
                  <a:lnTo>
                    <a:pt x="269" y="263"/>
                  </a:lnTo>
                  <a:lnTo>
                    <a:pt x="267" y="268"/>
                  </a:lnTo>
                  <a:lnTo>
                    <a:pt x="269" y="268"/>
                  </a:lnTo>
                  <a:lnTo>
                    <a:pt x="272" y="268"/>
                  </a:lnTo>
                  <a:lnTo>
                    <a:pt x="277" y="268"/>
                  </a:lnTo>
                  <a:lnTo>
                    <a:pt x="279" y="268"/>
                  </a:lnTo>
                  <a:lnTo>
                    <a:pt x="282" y="268"/>
                  </a:lnTo>
                  <a:lnTo>
                    <a:pt x="281" y="272"/>
                  </a:lnTo>
                  <a:lnTo>
                    <a:pt x="281" y="277"/>
                  </a:lnTo>
                  <a:lnTo>
                    <a:pt x="281" y="282"/>
                  </a:lnTo>
                  <a:lnTo>
                    <a:pt x="281" y="289"/>
                  </a:lnTo>
                  <a:lnTo>
                    <a:pt x="281" y="303"/>
                  </a:lnTo>
                  <a:lnTo>
                    <a:pt x="281" y="305"/>
                  </a:lnTo>
                  <a:lnTo>
                    <a:pt x="281" y="305"/>
                  </a:lnTo>
                  <a:lnTo>
                    <a:pt x="281" y="306"/>
                  </a:lnTo>
                  <a:lnTo>
                    <a:pt x="279" y="315"/>
                  </a:lnTo>
                  <a:lnTo>
                    <a:pt x="279" y="320"/>
                  </a:lnTo>
                  <a:lnTo>
                    <a:pt x="279" y="322"/>
                  </a:lnTo>
                  <a:lnTo>
                    <a:pt x="279" y="323"/>
                  </a:lnTo>
                  <a:lnTo>
                    <a:pt x="279" y="329"/>
                  </a:lnTo>
                  <a:lnTo>
                    <a:pt x="279" y="330"/>
                  </a:lnTo>
                  <a:lnTo>
                    <a:pt x="279" y="336"/>
                  </a:lnTo>
                  <a:lnTo>
                    <a:pt x="279" y="339"/>
                  </a:lnTo>
                  <a:lnTo>
                    <a:pt x="279" y="342"/>
                  </a:lnTo>
                  <a:lnTo>
                    <a:pt x="277" y="349"/>
                  </a:lnTo>
                  <a:lnTo>
                    <a:pt x="277" y="351"/>
                  </a:lnTo>
                  <a:lnTo>
                    <a:pt x="277" y="354"/>
                  </a:lnTo>
                  <a:lnTo>
                    <a:pt x="277" y="361"/>
                  </a:lnTo>
                  <a:lnTo>
                    <a:pt x="277" y="365"/>
                  </a:lnTo>
                  <a:lnTo>
                    <a:pt x="269" y="365"/>
                  </a:lnTo>
                  <a:lnTo>
                    <a:pt x="260" y="365"/>
                  </a:lnTo>
                  <a:lnTo>
                    <a:pt x="245" y="363"/>
                  </a:lnTo>
                  <a:lnTo>
                    <a:pt x="241" y="363"/>
                  </a:lnTo>
                  <a:lnTo>
                    <a:pt x="233" y="363"/>
                  </a:lnTo>
                  <a:lnTo>
                    <a:pt x="222" y="363"/>
                  </a:lnTo>
                  <a:lnTo>
                    <a:pt x="215" y="363"/>
                  </a:lnTo>
                  <a:lnTo>
                    <a:pt x="214" y="363"/>
                  </a:lnTo>
                  <a:lnTo>
                    <a:pt x="212" y="363"/>
                  </a:lnTo>
                  <a:lnTo>
                    <a:pt x="208" y="363"/>
                  </a:lnTo>
                  <a:lnTo>
                    <a:pt x="205" y="363"/>
                  </a:lnTo>
                  <a:lnTo>
                    <a:pt x="202" y="363"/>
                  </a:lnTo>
                  <a:lnTo>
                    <a:pt x="196" y="363"/>
                  </a:lnTo>
                  <a:lnTo>
                    <a:pt x="195" y="363"/>
                  </a:lnTo>
                  <a:lnTo>
                    <a:pt x="186" y="361"/>
                  </a:lnTo>
                  <a:lnTo>
                    <a:pt x="184" y="361"/>
                  </a:lnTo>
                  <a:lnTo>
                    <a:pt x="183" y="361"/>
                  </a:lnTo>
                  <a:lnTo>
                    <a:pt x="179" y="361"/>
                  </a:lnTo>
                  <a:lnTo>
                    <a:pt x="177" y="361"/>
                  </a:lnTo>
                  <a:lnTo>
                    <a:pt x="171" y="361"/>
                  </a:lnTo>
                  <a:lnTo>
                    <a:pt x="169" y="361"/>
                  </a:lnTo>
                  <a:lnTo>
                    <a:pt x="165" y="361"/>
                  </a:lnTo>
                  <a:lnTo>
                    <a:pt x="159" y="361"/>
                  </a:lnTo>
                  <a:lnTo>
                    <a:pt x="157" y="361"/>
                  </a:lnTo>
                  <a:lnTo>
                    <a:pt x="155" y="361"/>
                  </a:lnTo>
                  <a:lnTo>
                    <a:pt x="148" y="361"/>
                  </a:lnTo>
                  <a:lnTo>
                    <a:pt x="145" y="361"/>
                  </a:lnTo>
                  <a:lnTo>
                    <a:pt x="134" y="360"/>
                  </a:lnTo>
                  <a:lnTo>
                    <a:pt x="131" y="360"/>
                  </a:lnTo>
                  <a:lnTo>
                    <a:pt x="128" y="360"/>
                  </a:lnTo>
                  <a:lnTo>
                    <a:pt x="126" y="360"/>
                  </a:lnTo>
                  <a:lnTo>
                    <a:pt x="121" y="360"/>
                  </a:lnTo>
                  <a:lnTo>
                    <a:pt x="119" y="360"/>
                  </a:lnTo>
                  <a:lnTo>
                    <a:pt x="117" y="360"/>
                  </a:lnTo>
                  <a:lnTo>
                    <a:pt x="114" y="360"/>
                  </a:lnTo>
                  <a:lnTo>
                    <a:pt x="107" y="360"/>
                  </a:lnTo>
                  <a:lnTo>
                    <a:pt x="105" y="360"/>
                  </a:lnTo>
                  <a:lnTo>
                    <a:pt x="100" y="360"/>
                  </a:lnTo>
                  <a:lnTo>
                    <a:pt x="97" y="360"/>
                  </a:lnTo>
                  <a:lnTo>
                    <a:pt x="97" y="358"/>
                  </a:lnTo>
                  <a:lnTo>
                    <a:pt x="95" y="358"/>
                  </a:lnTo>
                  <a:lnTo>
                    <a:pt x="95" y="358"/>
                  </a:lnTo>
                  <a:lnTo>
                    <a:pt x="93" y="358"/>
                  </a:lnTo>
                  <a:lnTo>
                    <a:pt x="90" y="358"/>
                  </a:lnTo>
                  <a:lnTo>
                    <a:pt x="85" y="358"/>
                  </a:lnTo>
                  <a:lnTo>
                    <a:pt x="78" y="358"/>
                  </a:lnTo>
                  <a:lnTo>
                    <a:pt x="66" y="356"/>
                  </a:lnTo>
                  <a:lnTo>
                    <a:pt x="66" y="356"/>
                  </a:lnTo>
                  <a:lnTo>
                    <a:pt x="62" y="356"/>
                  </a:lnTo>
                  <a:lnTo>
                    <a:pt x="55" y="356"/>
                  </a:lnTo>
                  <a:lnTo>
                    <a:pt x="52" y="356"/>
                  </a:lnTo>
                  <a:lnTo>
                    <a:pt x="50" y="356"/>
                  </a:lnTo>
                  <a:lnTo>
                    <a:pt x="50" y="356"/>
                  </a:lnTo>
                  <a:lnTo>
                    <a:pt x="48" y="356"/>
                  </a:lnTo>
                  <a:lnTo>
                    <a:pt x="45" y="356"/>
                  </a:lnTo>
                  <a:lnTo>
                    <a:pt x="43" y="356"/>
                  </a:lnTo>
                  <a:lnTo>
                    <a:pt x="42" y="356"/>
                  </a:lnTo>
                  <a:lnTo>
                    <a:pt x="35" y="356"/>
                  </a:lnTo>
                  <a:lnTo>
                    <a:pt x="26" y="354"/>
                  </a:lnTo>
                  <a:lnTo>
                    <a:pt x="24" y="354"/>
                  </a:lnTo>
                  <a:lnTo>
                    <a:pt x="19" y="354"/>
                  </a:lnTo>
                  <a:lnTo>
                    <a:pt x="16" y="354"/>
                  </a:lnTo>
                  <a:lnTo>
                    <a:pt x="14" y="354"/>
                  </a:lnTo>
                  <a:lnTo>
                    <a:pt x="12" y="354"/>
                  </a:lnTo>
                  <a:lnTo>
                    <a:pt x="11" y="354"/>
                  </a:lnTo>
                  <a:lnTo>
                    <a:pt x="12" y="351"/>
                  </a:lnTo>
                  <a:lnTo>
                    <a:pt x="12" y="349"/>
                  </a:lnTo>
                  <a:lnTo>
                    <a:pt x="12" y="348"/>
                  </a:lnTo>
                  <a:lnTo>
                    <a:pt x="12" y="346"/>
                  </a:lnTo>
                  <a:lnTo>
                    <a:pt x="12" y="344"/>
                  </a:lnTo>
                  <a:lnTo>
                    <a:pt x="12" y="341"/>
                  </a:lnTo>
                  <a:lnTo>
                    <a:pt x="12" y="339"/>
                  </a:lnTo>
                  <a:lnTo>
                    <a:pt x="12" y="337"/>
                  </a:lnTo>
                  <a:lnTo>
                    <a:pt x="12" y="329"/>
                  </a:lnTo>
                  <a:lnTo>
                    <a:pt x="12" y="327"/>
                  </a:lnTo>
                  <a:lnTo>
                    <a:pt x="12" y="318"/>
                  </a:lnTo>
                  <a:lnTo>
                    <a:pt x="14" y="315"/>
                  </a:lnTo>
                  <a:lnTo>
                    <a:pt x="14" y="311"/>
                  </a:lnTo>
                  <a:lnTo>
                    <a:pt x="14" y="308"/>
                  </a:lnTo>
                  <a:lnTo>
                    <a:pt x="14" y="306"/>
                  </a:lnTo>
                  <a:lnTo>
                    <a:pt x="14" y="305"/>
                  </a:lnTo>
                  <a:lnTo>
                    <a:pt x="14" y="305"/>
                  </a:lnTo>
                  <a:lnTo>
                    <a:pt x="14" y="301"/>
                  </a:lnTo>
                  <a:lnTo>
                    <a:pt x="14" y="299"/>
                  </a:lnTo>
                  <a:lnTo>
                    <a:pt x="14" y="298"/>
                  </a:lnTo>
                  <a:lnTo>
                    <a:pt x="14" y="296"/>
                  </a:lnTo>
                  <a:lnTo>
                    <a:pt x="14" y="294"/>
                  </a:lnTo>
                  <a:lnTo>
                    <a:pt x="14" y="293"/>
                  </a:lnTo>
                  <a:lnTo>
                    <a:pt x="14" y="291"/>
                  </a:lnTo>
                  <a:lnTo>
                    <a:pt x="16" y="286"/>
                  </a:lnTo>
                  <a:lnTo>
                    <a:pt x="16" y="284"/>
                  </a:lnTo>
                  <a:lnTo>
                    <a:pt x="16" y="265"/>
                  </a:lnTo>
                  <a:lnTo>
                    <a:pt x="16" y="258"/>
                  </a:lnTo>
                  <a:lnTo>
                    <a:pt x="14" y="258"/>
                  </a:lnTo>
                  <a:lnTo>
                    <a:pt x="9" y="258"/>
                  </a:lnTo>
                  <a:lnTo>
                    <a:pt x="7" y="258"/>
                  </a:lnTo>
                  <a:lnTo>
                    <a:pt x="5" y="258"/>
                  </a:lnTo>
                  <a:lnTo>
                    <a:pt x="5" y="256"/>
                  </a:lnTo>
                  <a:lnTo>
                    <a:pt x="7" y="255"/>
                  </a:lnTo>
                  <a:lnTo>
                    <a:pt x="7" y="253"/>
                  </a:lnTo>
                  <a:lnTo>
                    <a:pt x="7" y="251"/>
                  </a:lnTo>
                  <a:lnTo>
                    <a:pt x="5" y="251"/>
                  </a:lnTo>
                  <a:lnTo>
                    <a:pt x="2" y="251"/>
                  </a:lnTo>
                  <a:lnTo>
                    <a:pt x="0" y="251"/>
                  </a:lnTo>
                  <a:lnTo>
                    <a:pt x="0" y="246"/>
                  </a:lnTo>
                  <a:lnTo>
                    <a:pt x="0" y="244"/>
                  </a:lnTo>
                  <a:lnTo>
                    <a:pt x="2" y="236"/>
                  </a:lnTo>
                  <a:lnTo>
                    <a:pt x="2" y="232"/>
                  </a:lnTo>
                  <a:lnTo>
                    <a:pt x="2" y="231"/>
                  </a:lnTo>
                  <a:lnTo>
                    <a:pt x="2" y="229"/>
                  </a:lnTo>
                  <a:lnTo>
                    <a:pt x="2" y="222"/>
                  </a:lnTo>
                  <a:lnTo>
                    <a:pt x="2" y="219"/>
                  </a:lnTo>
                  <a:lnTo>
                    <a:pt x="2" y="215"/>
                  </a:lnTo>
                  <a:lnTo>
                    <a:pt x="2" y="213"/>
                  </a:lnTo>
                  <a:lnTo>
                    <a:pt x="2" y="210"/>
                  </a:lnTo>
                  <a:lnTo>
                    <a:pt x="2" y="205"/>
                  </a:lnTo>
                  <a:lnTo>
                    <a:pt x="2" y="200"/>
                  </a:lnTo>
                  <a:lnTo>
                    <a:pt x="4" y="200"/>
                  </a:lnTo>
                  <a:lnTo>
                    <a:pt x="4" y="198"/>
                  </a:lnTo>
                  <a:lnTo>
                    <a:pt x="4" y="198"/>
                  </a:lnTo>
                  <a:lnTo>
                    <a:pt x="4" y="196"/>
                  </a:lnTo>
                  <a:lnTo>
                    <a:pt x="4" y="193"/>
                  </a:lnTo>
                  <a:lnTo>
                    <a:pt x="4" y="191"/>
                  </a:lnTo>
                  <a:lnTo>
                    <a:pt x="4" y="186"/>
                  </a:lnTo>
                  <a:lnTo>
                    <a:pt x="4" y="184"/>
                  </a:lnTo>
                  <a:lnTo>
                    <a:pt x="4" y="182"/>
                  </a:lnTo>
                  <a:lnTo>
                    <a:pt x="4" y="176"/>
                  </a:lnTo>
                  <a:lnTo>
                    <a:pt x="4" y="167"/>
                  </a:lnTo>
                  <a:lnTo>
                    <a:pt x="4" y="164"/>
                  </a:lnTo>
                  <a:lnTo>
                    <a:pt x="4" y="160"/>
                  </a:lnTo>
                  <a:lnTo>
                    <a:pt x="4" y="155"/>
                  </a:lnTo>
                  <a:lnTo>
                    <a:pt x="4" y="153"/>
                  </a:lnTo>
                  <a:lnTo>
                    <a:pt x="4" y="148"/>
                  </a:lnTo>
                  <a:lnTo>
                    <a:pt x="4" y="146"/>
                  </a:lnTo>
                  <a:lnTo>
                    <a:pt x="4" y="145"/>
                  </a:lnTo>
                  <a:lnTo>
                    <a:pt x="4" y="134"/>
                  </a:lnTo>
                  <a:lnTo>
                    <a:pt x="5" y="124"/>
                  </a:lnTo>
                  <a:lnTo>
                    <a:pt x="5" y="122"/>
                  </a:lnTo>
                  <a:lnTo>
                    <a:pt x="5" y="122"/>
                  </a:lnTo>
                  <a:lnTo>
                    <a:pt x="5" y="120"/>
                  </a:lnTo>
                  <a:lnTo>
                    <a:pt x="5" y="108"/>
                  </a:lnTo>
                  <a:lnTo>
                    <a:pt x="5" y="108"/>
                  </a:lnTo>
                  <a:lnTo>
                    <a:pt x="5" y="100"/>
                  </a:lnTo>
                  <a:lnTo>
                    <a:pt x="5" y="98"/>
                  </a:lnTo>
                  <a:lnTo>
                    <a:pt x="7" y="96"/>
                  </a:lnTo>
                  <a:lnTo>
                    <a:pt x="7" y="95"/>
                  </a:lnTo>
                  <a:lnTo>
                    <a:pt x="7" y="91"/>
                  </a:lnTo>
                  <a:lnTo>
                    <a:pt x="7" y="90"/>
                  </a:lnTo>
                  <a:lnTo>
                    <a:pt x="7" y="86"/>
                  </a:lnTo>
                  <a:lnTo>
                    <a:pt x="7" y="84"/>
                  </a:lnTo>
                  <a:lnTo>
                    <a:pt x="7" y="83"/>
                  </a:lnTo>
                  <a:lnTo>
                    <a:pt x="7" y="81"/>
                  </a:lnTo>
                  <a:lnTo>
                    <a:pt x="7" y="79"/>
                  </a:lnTo>
                  <a:lnTo>
                    <a:pt x="7" y="77"/>
                  </a:lnTo>
                  <a:lnTo>
                    <a:pt x="7" y="76"/>
                  </a:lnTo>
                  <a:lnTo>
                    <a:pt x="7" y="67"/>
                  </a:lnTo>
                  <a:lnTo>
                    <a:pt x="7" y="65"/>
                  </a:lnTo>
                  <a:lnTo>
                    <a:pt x="7" y="62"/>
                  </a:lnTo>
                  <a:lnTo>
                    <a:pt x="5" y="62"/>
                  </a:lnTo>
                  <a:lnTo>
                    <a:pt x="5" y="60"/>
                  </a:lnTo>
                  <a:lnTo>
                    <a:pt x="5" y="59"/>
                  </a:lnTo>
                  <a:lnTo>
                    <a:pt x="5" y="55"/>
                  </a:lnTo>
                  <a:lnTo>
                    <a:pt x="5" y="52"/>
                  </a:lnTo>
                  <a:lnTo>
                    <a:pt x="5" y="48"/>
                  </a:lnTo>
                  <a:lnTo>
                    <a:pt x="7" y="45"/>
                  </a:lnTo>
                  <a:lnTo>
                    <a:pt x="7" y="38"/>
                  </a:lnTo>
                  <a:lnTo>
                    <a:pt x="7" y="33"/>
                  </a:lnTo>
                  <a:lnTo>
                    <a:pt x="7" y="28"/>
                  </a:lnTo>
                  <a:lnTo>
                    <a:pt x="7" y="26"/>
                  </a:lnTo>
                  <a:lnTo>
                    <a:pt x="7" y="24"/>
                  </a:lnTo>
                  <a:lnTo>
                    <a:pt x="7" y="22"/>
                  </a:lnTo>
                  <a:lnTo>
                    <a:pt x="7" y="19"/>
                  </a:lnTo>
                  <a:lnTo>
                    <a:pt x="7" y="17"/>
                  </a:lnTo>
                  <a:lnTo>
                    <a:pt x="14" y="17"/>
                  </a:lnTo>
                  <a:lnTo>
                    <a:pt x="16" y="17"/>
                  </a:lnTo>
                  <a:lnTo>
                    <a:pt x="18" y="17"/>
                  </a:lnTo>
                  <a:lnTo>
                    <a:pt x="24" y="17"/>
                  </a:lnTo>
                  <a:lnTo>
                    <a:pt x="28" y="17"/>
                  </a:lnTo>
                  <a:lnTo>
                    <a:pt x="31" y="17"/>
                  </a:lnTo>
                  <a:lnTo>
                    <a:pt x="33" y="17"/>
                  </a:lnTo>
                  <a:lnTo>
                    <a:pt x="42" y="17"/>
                  </a:lnTo>
                  <a:lnTo>
                    <a:pt x="45" y="17"/>
                  </a:lnTo>
                  <a:lnTo>
                    <a:pt x="48" y="17"/>
                  </a:lnTo>
                  <a:lnTo>
                    <a:pt x="52" y="17"/>
                  </a:lnTo>
                  <a:lnTo>
                    <a:pt x="54" y="17"/>
                  </a:lnTo>
                  <a:lnTo>
                    <a:pt x="55" y="17"/>
                  </a:lnTo>
                  <a:lnTo>
                    <a:pt x="57" y="17"/>
                  </a:lnTo>
                  <a:lnTo>
                    <a:pt x="59" y="17"/>
                  </a:lnTo>
                  <a:lnTo>
                    <a:pt x="64" y="19"/>
                  </a:lnTo>
                  <a:lnTo>
                    <a:pt x="73" y="19"/>
                  </a:lnTo>
                  <a:lnTo>
                    <a:pt x="76" y="19"/>
                  </a:lnTo>
                  <a:lnTo>
                    <a:pt x="81" y="19"/>
                  </a:lnTo>
                  <a:lnTo>
                    <a:pt x="86" y="19"/>
                  </a:lnTo>
                  <a:lnTo>
                    <a:pt x="88" y="19"/>
                  </a:lnTo>
                  <a:lnTo>
                    <a:pt x="91" y="19"/>
                  </a:lnTo>
                  <a:lnTo>
                    <a:pt x="93" y="19"/>
                  </a:lnTo>
                  <a:lnTo>
                    <a:pt x="97" y="19"/>
                  </a:lnTo>
                  <a:lnTo>
                    <a:pt x="100" y="21"/>
                  </a:lnTo>
                  <a:lnTo>
                    <a:pt x="102" y="21"/>
                  </a:lnTo>
                  <a:lnTo>
                    <a:pt x="107" y="21"/>
                  </a:lnTo>
                  <a:lnTo>
                    <a:pt x="109" y="21"/>
                  </a:lnTo>
                  <a:lnTo>
                    <a:pt x="110" y="21"/>
                  </a:lnTo>
                  <a:lnTo>
                    <a:pt x="114" y="21"/>
                  </a:lnTo>
                  <a:lnTo>
                    <a:pt x="116" y="21"/>
                  </a:lnTo>
                  <a:lnTo>
                    <a:pt x="121" y="21"/>
                  </a:lnTo>
                  <a:lnTo>
                    <a:pt x="122" y="21"/>
                  </a:lnTo>
                  <a:lnTo>
                    <a:pt x="124" y="21"/>
                  </a:lnTo>
                  <a:lnTo>
                    <a:pt x="126" y="21"/>
                  </a:lnTo>
                  <a:lnTo>
                    <a:pt x="129" y="21"/>
                  </a:lnTo>
                  <a:lnTo>
                    <a:pt x="141" y="22"/>
                  </a:lnTo>
                  <a:lnTo>
                    <a:pt x="141" y="21"/>
                  </a:lnTo>
                  <a:lnTo>
                    <a:pt x="141" y="19"/>
                  </a:lnTo>
                  <a:lnTo>
                    <a:pt x="141" y="14"/>
                  </a:lnTo>
                  <a:lnTo>
                    <a:pt x="141" y="12"/>
                  </a:lnTo>
                  <a:lnTo>
                    <a:pt x="141" y="10"/>
                  </a:lnTo>
                  <a:lnTo>
                    <a:pt x="141" y="0"/>
                  </a:lnTo>
                  <a:lnTo>
                    <a:pt x="143" y="0"/>
                  </a:lnTo>
                  <a:lnTo>
                    <a:pt x="147" y="0"/>
                  </a:lnTo>
                  <a:lnTo>
                    <a:pt x="153" y="0"/>
                  </a:lnTo>
                  <a:lnTo>
                    <a:pt x="155" y="0"/>
                  </a:lnTo>
                  <a:lnTo>
                    <a:pt x="162" y="0"/>
                  </a:lnTo>
                  <a:lnTo>
                    <a:pt x="165" y="0"/>
                  </a:lnTo>
                  <a:lnTo>
                    <a:pt x="167" y="0"/>
                  </a:lnTo>
                  <a:lnTo>
                    <a:pt x="169" y="0"/>
                  </a:lnTo>
                  <a:lnTo>
                    <a:pt x="171" y="0"/>
                  </a:lnTo>
                  <a:lnTo>
                    <a:pt x="176" y="0"/>
                  </a:lnTo>
                  <a:lnTo>
                    <a:pt x="184" y="2"/>
                  </a:lnTo>
                  <a:lnTo>
                    <a:pt x="186" y="2"/>
                  </a:lnTo>
                  <a:lnTo>
                    <a:pt x="190" y="2"/>
                  </a:lnTo>
                  <a:lnTo>
                    <a:pt x="198" y="2"/>
                  </a:lnTo>
                  <a:lnTo>
                    <a:pt x="202" y="2"/>
                  </a:lnTo>
                  <a:lnTo>
                    <a:pt x="203" y="2"/>
                  </a:lnTo>
                  <a:lnTo>
                    <a:pt x="205" y="2"/>
                  </a:lnTo>
                  <a:lnTo>
                    <a:pt x="210" y="2"/>
                  </a:lnTo>
                  <a:lnTo>
                    <a:pt x="212" y="2"/>
                  </a:lnTo>
                  <a:lnTo>
                    <a:pt x="220" y="2"/>
                  </a:lnTo>
                  <a:lnTo>
                    <a:pt x="226" y="2"/>
                  </a:lnTo>
                  <a:lnTo>
                    <a:pt x="229" y="2"/>
                  </a:lnTo>
                  <a:lnTo>
                    <a:pt x="229" y="2"/>
                  </a:lnTo>
                  <a:lnTo>
                    <a:pt x="233" y="2"/>
                  </a:lnTo>
                  <a:lnTo>
                    <a:pt x="238" y="2"/>
                  </a:lnTo>
                  <a:lnTo>
                    <a:pt x="239" y="2"/>
                  </a:lnTo>
                  <a:lnTo>
                    <a:pt x="241" y="2"/>
                  </a:lnTo>
                  <a:lnTo>
                    <a:pt x="243" y="2"/>
                  </a:lnTo>
                  <a:lnTo>
                    <a:pt x="245" y="2"/>
                  </a:lnTo>
                  <a:lnTo>
                    <a:pt x="246" y="2"/>
                  </a:lnTo>
                  <a:lnTo>
                    <a:pt x="248" y="2"/>
                  </a:lnTo>
                  <a:lnTo>
                    <a:pt x="258" y="2"/>
                  </a:lnTo>
                  <a:lnTo>
                    <a:pt x="260" y="2"/>
                  </a:lnTo>
                  <a:lnTo>
                    <a:pt x="262" y="2"/>
                  </a:lnTo>
                  <a:lnTo>
                    <a:pt x="265" y="4"/>
                  </a:lnTo>
                  <a:lnTo>
                    <a:pt x="269" y="4"/>
                  </a:lnTo>
                  <a:lnTo>
                    <a:pt x="274" y="4"/>
                  </a:lnTo>
                  <a:lnTo>
                    <a:pt x="276" y="4"/>
                  </a:lnTo>
                  <a:lnTo>
                    <a:pt x="276" y="4"/>
                  </a:lnTo>
                </a:path>
              </a:pathLst>
            </a:custGeom>
            <a:solidFill>
              <a:schemeClr val="tx2">
                <a:lumMod val="20000"/>
                <a:lumOff val="80000"/>
              </a:schemeClr>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4" name="Freeform 197"/>
            <p:cNvSpPr>
              <a:spLocks/>
            </p:cNvSpPr>
            <p:nvPr/>
          </p:nvSpPr>
          <p:spPr bwMode="auto">
            <a:xfrm>
              <a:off x="5425371" y="3544681"/>
              <a:ext cx="493713" cy="503238"/>
            </a:xfrm>
            <a:custGeom>
              <a:avLst/>
              <a:gdLst/>
              <a:ahLst/>
              <a:cxnLst>
                <a:cxn ang="0">
                  <a:pos x="146" y="4"/>
                </a:cxn>
                <a:cxn ang="0">
                  <a:pos x="175" y="4"/>
                </a:cxn>
                <a:cxn ang="0">
                  <a:pos x="175" y="29"/>
                </a:cxn>
                <a:cxn ang="0">
                  <a:pos x="173" y="59"/>
                </a:cxn>
                <a:cxn ang="0">
                  <a:pos x="185" y="71"/>
                </a:cxn>
                <a:cxn ang="0">
                  <a:pos x="211" y="72"/>
                </a:cxn>
                <a:cxn ang="0">
                  <a:pos x="234" y="72"/>
                </a:cxn>
                <a:cxn ang="0">
                  <a:pos x="242" y="71"/>
                </a:cxn>
                <a:cxn ang="0">
                  <a:pos x="256" y="76"/>
                </a:cxn>
                <a:cxn ang="0">
                  <a:pos x="268" y="83"/>
                </a:cxn>
                <a:cxn ang="0">
                  <a:pos x="275" y="79"/>
                </a:cxn>
                <a:cxn ang="0">
                  <a:pos x="282" y="76"/>
                </a:cxn>
                <a:cxn ang="0">
                  <a:pos x="299" y="72"/>
                </a:cxn>
                <a:cxn ang="0">
                  <a:pos x="301" y="95"/>
                </a:cxn>
                <a:cxn ang="0">
                  <a:pos x="301" y="122"/>
                </a:cxn>
                <a:cxn ang="0">
                  <a:pos x="301" y="141"/>
                </a:cxn>
                <a:cxn ang="0">
                  <a:pos x="301" y="179"/>
                </a:cxn>
                <a:cxn ang="0">
                  <a:pos x="311" y="207"/>
                </a:cxn>
                <a:cxn ang="0">
                  <a:pos x="311" y="227"/>
                </a:cxn>
                <a:cxn ang="0">
                  <a:pos x="311" y="258"/>
                </a:cxn>
                <a:cxn ang="0">
                  <a:pos x="311" y="300"/>
                </a:cxn>
                <a:cxn ang="0">
                  <a:pos x="309" y="310"/>
                </a:cxn>
                <a:cxn ang="0">
                  <a:pos x="285" y="317"/>
                </a:cxn>
                <a:cxn ang="0">
                  <a:pos x="263" y="317"/>
                </a:cxn>
                <a:cxn ang="0">
                  <a:pos x="234" y="315"/>
                </a:cxn>
                <a:cxn ang="0">
                  <a:pos x="209" y="315"/>
                </a:cxn>
                <a:cxn ang="0">
                  <a:pos x="192" y="315"/>
                </a:cxn>
                <a:cxn ang="0">
                  <a:pos x="175" y="315"/>
                </a:cxn>
                <a:cxn ang="0">
                  <a:pos x="123" y="315"/>
                </a:cxn>
                <a:cxn ang="0">
                  <a:pos x="108" y="308"/>
                </a:cxn>
                <a:cxn ang="0">
                  <a:pos x="98" y="300"/>
                </a:cxn>
                <a:cxn ang="0">
                  <a:pos x="87" y="291"/>
                </a:cxn>
                <a:cxn ang="0">
                  <a:pos x="75" y="279"/>
                </a:cxn>
                <a:cxn ang="0">
                  <a:pos x="75" y="258"/>
                </a:cxn>
                <a:cxn ang="0">
                  <a:pos x="65" y="258"/>
                </a:cxn>
                <a:cxn ang="0">
                  <a:pos x="60" y="244"/>
                </a:cxn>
                <a:cxn ang="0">
                  <a:pos x="60" y="227"/>
                </a:cxn>
                <a:cxn ang="0">
                  <a:pos x="55" y="215"/>
                </a:cxn>
                <a:cxn ang="0">
                  <a:pos x="53" y="200"/>
                </a:cxn>
                <a:cxn ang="0">
                  <a:pos x="43" y="200"/>
                </a:cxn>
                <a:cxn ang="0">
                  <a:pos x="32" y="196"/>
                </a:cxn>
                <a:cxn ang="0">
                  <a:pos x="32" y="181"/>
                </a:cxn>
                <a:cxn ang="0">
                  <a:pos x="32" y="167"/>
                </a:cxn>
                <a:cxn ang="0">
                  <a:pos x="25" y="169"/>
                </a:cxn>
                <a:cxn ang="0">
                  <a:pos x="8" y="167"/>
                </a:cxn>
                <a:cxn ang="0">
                  <a:pos x="3" y="164"/>
                </a:cxn>
                <a:cxn ang="0">
                  <a:pos x="0" y="158"/>
                </a:cxn>
                <a:cxn ang="0">
                  <a:pos x="0" y="143"/>
                </a:cxn>
                <a:cxn ang="0">
                  <a:pos x="0" y="124"/>
                </a:cxn>
                <a:cxn ang="0">
                  <a:pos x="0" y="105"/>
                </a:cxn>
                <a:cxn ang="0">
                  <a:pos x="1" y="93"/>
                </a:cxn>
                <a:cxn ang="0">
                  <a:pos x="1" y="74"/>
                </a:cxn>
                <a:cxn ang="0">
                  <a:pos x="15" y="64"/>
                </a:cxn>
                <a:cxn ang="0">
                  <a:pos x="31" y="64"/>
                </a:cxn>
                <a:cxn ang="0">
                  <a:pos x="37" y="48"/>
                </a:cxn>
                <a:cxn ang="0">
                  <a:pos x="37" y="24"/>
                </a:cxn>
                <a:cxn ang="0">
                  <a:pos x="41" y="0"/>
                </a:cxn>
                <a:cxn ang="0">
                  <a:pos x="56" y="0"/>
                </a:cxn>
                <a:cxn ang="0">
                  <a:pos x="79" y="2"/>
                </a:cxn>
                <a:cxn ang="0">
                  <a:pos x="91" y="2"/>
                </a:cxn>
                <a:cxn ang="0">
                  <a:pos x="111" y="2"/>
                </a:cxn>
              </a:cxnLst>
              <a:rect l="0" t="0" r="r" b="b"/>
              <a:pathLst>
                <a:path w="311" h="317">
                  <a:moveTo>
                    <a:pt x="120" y="2"/>
                  </a:moveTo>
                  <a:lnTo>
                    <a:pt x="129" y="2"/>
                  </a:lnTo>
                  <a:lnTo>
                    <a:pt x="135" y="4"/>
                  </a:lnTo>
                  <a:lnTo>
                    <a:pt x="139" y="4"/>
                  </a:lnTo>
                  <a:lnTo>
                    <a:pt x="141" y="4"/>
                  </a:lnTo>
                  <a:lnTo>
                    <a:pt x="146" y="4"/>
                  </a:lnTo>
                  <a:lnTo>
                    <a:pt x="151" y="4"/>
                  </a:lnTo>
                  <a:lnTo>
                    <a:pt x="163" y="4"/>
                  </a:lnTo>
                  <a:lnTo>
                    <a:pt x="165" y="4"/>
                  </a:lnTo>
                  <a:lnTo>
                    <a:pt x="168" y="4"/>
                  </a:lnTo>
                  <a:lnTo>
                    <a:pt x="173" y="4"/>
                  </a:lnTo>
                  <a:lnTo>
                    <a:pt x="175" y="4"/>
                  </a:lnTo>
                  <a:lnTo>
                    <a:pt x="175" y="9"/>
                  </a:lnTo>
                  <a:lnTo>
                    <a:pt x="175" y="14"/>
                  </a:lnTo>
                  <a:lnTo>
                    <a:pt x="175" y="16"/>
                  </a:lnTo>
                  <a:lnTo>
                    <a:pt x="175" y="23"/>
                  </a:lnTo>
                  <a:lnTo>
                    <a:pt x="175" y="28"/>
                  </a:lnTo>
                  <a:lnTo>
                    <a:pt x="175" y="29"/>
                  </a:lnTo>
                  <a:lnTo>
                    <a:pt x="175" y="29"/>
                  </a:lnTo>
                  <a:lnTo>
                    <a:pt x="173" y="43"/>
                  </a:lnTo>
                  <a:lnTo>
                    <a:pt x="173" y="47"/>
                  </a:lnTo>
                  <a:lnTo>
                    <a:pt x="173" y="57"/>
                  </a:lnTo>
                  <a:lnTo>
                    <a:pt x="173" y="59"/>
                  </a:lnTo>
                  <a:lnTo>
                    <a:pt x="173" y="59"/>
                  </a:lnTo>
                  <a:lnTo>
                    <a:pt x="173" y="60"/>
                  </a:lnTo>
                  <a:lnTo>
                    <a:pt x="173" y="62"/>
                  </a:lnTo>
                  <a:lnTo>
                    <a:pt x="173" y="67"/>
                  </a:lnTo>
                  <a:lnTo>
                    <a:pt x="173" y="69"/>
                  </a:lnTo>
                  <a:lnTo>
                    <a:pt x="180" y="69"/>
                  </a:lnTo>
                  <a:lnTo>
                    <a:pt x="185" y="71"/>
                  </a:lnTo>
                  <a:lnTo>
                    <a:pt x="194" y="71"/>
                  </a:lnTo>
                  <a:lnTo>
                    <a:pt x="196" y="71"/>
                  </a:lnTo>
                  <a:lnTo>
                    <a:pt x="203" y="71"/>
                  </a:lnTo>
                  <a:lnTo>
                    <a:pt x="204" y="71"/>
                  </a:lnTo>
                  <a:lnTo>
                    <a:pt x="209" y="71"/>
                  </a:lnTo>
                  <a:lnTo>
                    <a:pt x="211" y="72"/>
                  </a:lnTo>
                  <a:lnTo>
                    <a:pt x="216" y="72"/>
                  </a:lnTo>
                  <a:lnTo>
                    <a:pt x="221" y="72"/>
                  </a:lnTo>
                  <a:lnTo>
                    <a:pt x="225" y="72"/>
                  </a:lnTo>
                  <a:lnTo>
                    <a:pt x="227" y="72"/>
                  </a:lnTo>
                  <a:lnTo>
                    <a:pt x="230" y="72"/>
                  </a:lnTo>
                  <a:lnTo>
                    <a:pt x="234" y="72"/>
                  </a:lnTo>
                  <a:lnTo>
                    <a:pt x="237" y="72"/>
                  </a:lnTo>
                  <a:lnTo>
                    <a:pt x="239" y="72"/>
                  </a:lnTo>
                  <a:lnTo>
                    <a:pt x="239" y="71"/>
                  </a:lnTo>
                  <a:lnTo>
                    <a:pt x="240" y="71"/>
                  </a:lnTo>
                  <a:lnTo>
                    <a:pt x="240" y="71"/>
                  </a:lnTo>
                  <a:lnTo>
                    <a:pt x="242" y="71"/>
                  </a:lnTo>
                  <a:lnTo>
                    <a:pt x="244" y="71"/>
                  </a:lnTo>
                  <a:lnTo>
                    <a:pt x="247" y="72"/>
                  </a:lnTo>
                  <a:lnTo>
                    <a:pt x="249" y="72"/>
                  </a:lnTo>
                  <a:lnTo>
                    <a:pt x="252" y="74"/>
                  </a:lnTo>
                  <a:lnTo>
                    <a:pt x="252" y="74"/>
                  </a:lnTo>
                  <a:lnTo>
                    <a:pt x="256" y="76"/>
                  </a:lnTo>
                  <a:lnTo>
                    <a:pt x="256" y="78"/>
                  </a:lnTo>
                  <a:lnTo>
                    <a:pt x="259" y="79"/>
                  </a:lnTo>
                  <a:lnTo>
                    <a:pt x="263" y="81"/>
                  </a:lnTo>
                  <a:lnTo>
                    <a:pt x="264" y="81"/>
                  </a:lnTo>
                  <a:lnTo>
                    <a:pt x="266" y="81"/>
                  </a:lnTo>
                  <a:lnTo>
                    <a:pt x="268" y="83"/>
                  </a:lnTo>
                  <a:lnTo>
                    <a:pt x="270" y="83"/>
                  </a:lnTo>
                  <a:lnTo>
                    <a:pt x="271" y="83"/>
                  </a:lnTo>
                  <a:lnTo>
                    <a:pt x="271" y="81"/>
                  </a:lnTo>
                  <a:lnTo>
                    <a:pt x="271" y="81"/>
                  </a:lnTo>
                  <a:lnTo>
                    <a:pt x="273" y="81"/>
                  </a:lnTo>
                  <a:lnTo>
                    <a:pt x="275" y="79"/>
                  </a:lnTo>
                  <a:lnTo>
                    <a:pt x="277" y="79"/>
                  </a:lnTo>
                  <a:lnTo>
                    <a:pt x="278" y="79"/>
                  </a:lnTo>
                  <a:lnTo>
                    <a:pt x="278" y="78"/>
                  </a:lnTo>
                  <a:lnTo>
                    <a:pt x="280" y="78"/>
                  </a:lnTo>
                  <a:lnTo>
                    <a:pt x="280" y="76"/>
                  </a:lnTo>
                  <a:lnTo>
                    <a:pt x="282" y="76"/>
                  </a:lnTo>
                  <a:lnTo>
                    <a:pt x="282" y="74"/>
                  </a:lnTo>
                  <a:lnTo>
                    <a:pt x="283" y="74"/>
                  </a:lnTo>
                  <a:lnTo>
                    <a:pt x="283" y="74"/>
                  </a:lnTo>
                  <a:lnTo>
                    <a:pt x="285" y="72"/>
                  </a:lnTo>
                  <a:lnTo>
                    <a:pt x="292" y="72"/>
                  </a:lnTo>
                  <a:lnTo>
                    <a:pt x="299" y="72"/>
                  </a:lnTo>
                  <a:lnTo>
                    <a:pt x="301" y="72"/>
                  </a:lnTo>
                  <a:lnTo>
                    <a:pt x="301" y="76"/>
                  </a:lnTo>
                  <a:lnTo>
                    <a:pt x="301" y="78"/>
                  </a:lnTo>
                  <a:lnTo>
                    <a:pt x="301" y="85"/>
                  </a:lnTo>
                  <a:lnTo>
                    <a:pt x="301" y="93"/>
                  </a:lnTo>
                  <a:lnTo>
                    <a:pt x="301" y="95"/>
                  </a:lnTo>
                  <a:lnTo>
                    <a:pt x="301" y="105"/>
                  </a:lnTo>
                  <a:lnTo>
                    <a:pt x="301" y="109"/>
                  </a:lnTo>
                  <a:lnTo>
                    <a:pt x="301" y="110"/>
                  </a:lnTo>
                  <a:lnTo>
                    <a:pt x="301" y="114"/>
                  </a:lnTo>
                  <a:lnTo>
                    <a:pt x="301" y="119"/>
                  </a:lnTo>
                  <a:lnTo>
                    <a:pt x="301" y="122"/>
                  </a:lnTo>
                  <a:lnTo>
                    <a:pt x="301" y="129"/>
                  </a:lnTo>
                  <a:lnTo>
                    <a:pt x="301" y="134"/>
                  </a:lnTo>
                  <a:lnTo>
                    <a:pt x="301" y="136"/>
                  </a:lnTo>
                  <a:lnTo>
                    <a:pt x="301" y="138"/>
                  </a:lnTo>
                  <a:lnTo>
                    <a:pt x="301" y="140"/>
                  </a:lnTo>
                  <a:lnTo>
                    <a:pt x="301" y="141"/>
                  </a:lnTo>
                  <a:lnTo>
                    <a:pt x="301" y="143"/>
                  </a:lnTo>
                  <a:lnTo>
                    <a:pt x="301" y="158"/>
                  </a:lnTo>
                  <a:lnTo>
                    <a:pt x="301" y="160"/>
                  </a:lnTo>
                  <a:lnTo>
                    <a:pt x="301" y="169"/>
                  </a:lnTo>
                  <a:lnTo>
                    <a:pt x="301" y="172"/>
                  </a:lnTo>
                  <a:lnTo>
                    <a:pt x="301" y="179"/>
                  </a:lnTo>
                  <a:lnTo>
                    <a:pt x="301" y="188"/>
                  </a:lnTo>
                  <a:lnTo>
                    <a:pt x="301" y="189"/>
                  </a:lnTo>
                  <a:lnTo>
                    <a:pt x="301" y="196"/>
                  </a:lnTo>
                  <a:lnTo>
                    <a:pt x="301" y="198"/>
                  </a:lnTo>
                  <a:lnTo>
                    <a:pt x="301" y="207"/>
                  </a:lnTo>
                  <a:lnTo>
                    <a:pt x="311" y="207"/>
                  </a:lnTo>
                  <a:lnTo>
                    <a:pt x="311" y="214"/>
                  </a:lnTo>
                  <a:lnTo>
                    <a:pt x="311" y="215"/>
                  </a:lnTo>
                  <a:lnTo>
                    <a:pt x="311" y="217"/>
                  </a:lnTo>
                  <a:lnTo>
                    <a:pt x="311" y="222"/>
                  </a:lnTo>
                  <a:lnTo>
                    <a:pt x="311" y="224"/>
                  </a:lnTo>
                  <a:lnTo>
                    <a:pt x="311" y="227"/>
                  </a:lnTo>
                  <a:lnTo>
                    <a:pt x="311" y="229"/>
                  </a:lnTo>
                  <a:lnTo>
                    <a:pt x="311" y="234"/>
                  </a:lnTo>
                  <a:lnTo>
                    <a:pt x="311" y="236"/>
                  </a:lnTo>
                  <a:lnTo>
                    <a:pt x="311" y="248"/>
                  </a:lnTo>
                  <a:lnTo>
                    <a:pt x="311" y="250"/>
                  </a:lnTo>
                  <a:lnTo>
                    <a:pt x="311" y="258"/>
                  </a:lnTo>
                  <a:lnTo>
                    <a:pt x="311" y="274"/>
                  </a:lnTo>
                  <a:lnTo>
                    <a:pt x="311" y="277"/>
                  </a:lnTo>
                  <a:lnTo>
                    <a:pt x="311" y="279"/>
                  </a:lnTo>
                  <a:lnTo>
                    <a:pt x="311" y="282"/>
                  </a:lnTo>
                  <a:lnTo>
                    <a:pt x="311" y="284"/>
                  </a:lnTo>
                  <a:lnTo>
                    <a:pt x="311" y="300"/>
                  </a:lnTo>
                  <a:lnTo>
                    <a:pt x="311" y="305"/>
                  </a:lnTo>
                  <a:lnTo>
                    <a:pt x="311" y="306"/>
                  </a:lnTo>
                  <a:lnTo>
                    <a:pt x="309" y="306"/>
                  </a:lnTo>
                  <a:lnTo>
                    <a:pt x="311" y="306"/>
                  </a:lnTo>
                  <a:lnTo>
                    <a:pt x="309" y="308"/>
                  </a:lnTo>
                  <a:lnTo>
                    <a:pt x="309" y="310"/>
                  </a:lnTo>
                  <a:lnTo>
                    <a:pt x="309" y="313"/>
                  </a:lnTo>
                  <a:lnTo>
                    <a:pt x="309" y="315"/>
                  </a:lnTo>
                  <a:lnTo>
                    <a:pt x="309" y="317"/>
                  </a:lnTo>
                  <a:lnTo>
                    <a:pt x="297" y="317"/>
                  </a:lnTo>
                  <a:lnTo>
                    <a:pt x="287" y="317"/>
                  </a:lnTo>
                  <a:lnTo>
                    <a:pt x="285" y="317"/>
                  </a:lnTo>
                  <a:lnTo>
                    <a:pt x="285" y="317"/>
                  </a:lnTo>
                  <a:lnTo>
                    <a:pt x="275" y="317"/>
                  </a:lnTo>
                  <a:lnTo>
                    <a:pt x="271" y="317"/>
                  </a:lnTo>
                  <a:lnTo>
                    <a:pt x="268" y="317"/>
                  </a:lnTo>
                  <a:lnTo>
                    <a:pt x="266" y="317"/>
                  </a:lnTo>
                  <a:lnTo>
                    <a:pt x="263" y="317"/>
                  </a:lnTo>
                  <a:lnTo>
                    <a:pt x="258" y="317"/>
                  </a:lnTo>
                  <a:lnTo>
                    <a:pt x="256" y="317"/>
                  </a:lnTo>
                  <a:lnTo>
                    <a:pt x="252" y="317"/>
                  </a:lnTo>
                  <a:lnTo>
                    <a:pt x="244" y="315"/>
                  </a:lnTo>
                  <a:lnTo>
                    <a:pt x="242" y="315"/>
                  </a:lnTo>
                  <a:lnTo>
                    <a:pt x="234" y="315"/>
                  </a:lnTo>
                  <a:lnTo>
                    <a:pt x="232" y="315"/>
                  </a:lnTo>
                  <a:lnTo>
                    <a:pt x="227" y="315"/>
                  </a:lnTo>
                  <a:lnTo>
                    <a:pt x="220" y="315"/>
                  </a:lnTo>
                  <a:lnTo>
                    <a:pt x="218" y="315"/>
                  </a:lnTo>
                  <a:lnTo>
                    <a:pt x="211" y="315"/>
                  </a:lnTo>
                  <a:lnTo>
                    <a:pt x="209" y="315"/>
                  </a:lnTo>
                  <a:lnTo>
                    <a:pt x="206" y="315"/>
                  </a:lnTo>
                  <a:lnTo>
                    <a:pt x="201" y="315"/>
                  </a:lnTo>
                  <a:lnTo>
                    <a:pt x="197" y="315"/>
                  </a:lnTo>
                  <a:lnTo>
                    <a:pt x="196" y="315"/>
                  </a:lnTo>
                  <a:lnTo>
                    <a:pt x="194" y="315"/>
                  </a:lnTo>
                  <a:lnTo>
                    <a:pt x="192" y="315"/>
                  </a:lnTo>
                  <a:lnTo>
                    <a:pt x="189" y="315"/>
                  </a:lnTo>
                  <a:lnTo>
                    <a:pt x="185" y="315"/>
                  </a:lnTo>
                  <a:lnTo>
                    <a:pt x="182" y="315"/>
                  </a:lnTo>
                  <a:lnTo>
                    <a:pt x="180" y="315"/>
                  </a:lnTo>
                  <a:lnTo>
                    <a:pt x="177" y="315"/>
                  </a:lnTo>
                  <a:lnTo>
                    <a:pt x="175" y="315"/>
                  </a:lnTo>
                  <a:lnTo>
                    <a:pt x="168" y="315"/>
                  </a:lnTo>
                  <a:lnTo>
                    <a:pt x="165" y="315"/>
                  </a:lnTo>
                  <a:lnTo>
                    <a:pt x="149" y="315"/>
                  </a:lnTo>
                  <a:lnTo>
                    <a:pt x="144" y="315"/>
                  </a:lnTo>
                  <a:lnTo>
                    <a:pt x="142" y="315"/>
                  </a:lnTo>
                  <a:lnTo>
                    <a:pt x="123" y="315"/>
                  </a:lnTo>
                  <a:lnTo>
                    <a:pt x="122" y="315"/>
                  </a:lnTo>
                  <a:lnTo>
                    <a:pt x="120" y="315"/>
                  </a:lnTo>
                  <a:lnTo>
                    <a:pt x="118" y="315"/>
                  </a:lnTo>
                  <a:lnTo>
                    <a:pt x="108" y="315"/>
                  </a:lnTo>
                  <a:lnTo>
                    <a:pt x="108" y="313"/>
                  </a:lnTo>
                  <a:lnTo>
                    <a:pt x="108" y="308"/>
                  </a:lnTo>
                  <a:lnTo>
                    <a:pt x="108" y="306"/>
                  </a:lnTo>
                  <a:lnTo>
                    <a:pt x="108" y="303"/>
                  </a:lnTo>
                  <a:lnTo>
                    <a:pt x="105" y="303"/>
                  </a:lnTo>
                  <a:lnTo>
                    <a:pt x="103" y="303"/>
                  </a:lnTo>
                  <a:lnTo>
                    <a:pt x="98" y="303"/>
                  </a:lnTo>
                  <a:lnTo>
                    <a:pt x="98" y="300"/>
                  </a:lnTo>
                  <a:lnTo>
                    <a:pt x="98" y="300"/>
                  </a:lnTo>
                  <a:lnTo>
                    <a:pt x="98" y="296"/>
                  </a:lnTo>
                  <a:lnTo>
                    <a:pt x="98" y="291"/>
                  </a:lnTo>
                  <a:lnTo>
                    <a:pt x="94" y="291"/>
                  </a:lnTo>
                  <a:lnTo>
                    <a:pt x="89" y="291"/>
                  </a:lnTo>
                  <a:lnTo>
                    <a:pt x="87" y="291"/>
                  </a:lnTo>
                  <a:lnTo>
                    <a:pt x="87" y="281"/>
                  </a:lnTo>
                  <a:lnTo>
                    <a:pt x="84" y="281"/>
                  </a:lnTo>
                  <a:lnTo>
                    <a:pt x="79" y="281"/>
                  </a:lnTo>
                  <a:lnTo>
                    <a:pt x="77" y="281"/>
                  </a:lnTo>
                  <a:lnTo>
                    <a:pt x="75" y="281"/>
                  </a:lnTo>
                  <a:lnTo>
                    <a:pt x="75" y="279"/>
                  </a:lnTo>
                  <a:lnTo>
                    <a:pt x="75" y="277"/>
                  </a:lnTo>
                  <a:lnTo>
                    <a:pt x="75" y="275"/>
                  </a:lnTo>
                  <a:lnTo>
                    <a:pt x="75" y="274"/>
                  </a:lnTo>
                  <a:lnTo>
                    <a:pt x="75" y="270"/>
                  </a:lnTo>
                  <a:lnTo>
                    <a:pt x="75" y="263"/>
                  </a:lnTo>
                  <a:lnTo>
                    <a:pt x="75" y="258"/>
                  </a:lnTo>
                  <a:lnTo>
                    <a:pt x="72" y="258"/>
                  </a:lnTo>
                  <a:lnTo>
                    <a:pt x="70" y="258"/>
                  </a:lnTo>
                  <a:lnTo>
                    <a:pt x="68" y="258"/>
                  </a:lnTo>
                  <a:lnTo>
                    <a:pt x="67" y="258"/>
                  </a:lnTo>
                  <a:lnTo>
                    <a:pt x="65" y="257"/>
                  </a:lnTo>
                  <a:lnTo>
                    <a:pt x="65" y="258"/>
                  </a:lnTo>
                  <a:lnTo>
                    <a:pt x="65" y="257"/>
                  </a:lnTo>
                  <a:lnTo>
                    <a:pt x="65" y="255"/>
                  </a:lnTo>
                  <a:lnTo>
                    <a:pt x="65" y="246"/>
                  </a:lnTo>
                  <a:lnTo>
                    <a:pt x="62" y="246"/>
                  </a:lnTo>
                  <a:lnTo>
                    <a:pt x="60" y="246"/>
                  </a:lnTo>
                  <a:lnTo>
                    <a:pt x="60" y="244"/>
                  </a:lnTo>
                  <a:lnTo>
                    <a:pt x="60" y="243"/>
                  </a:lnTo>
                  <a:lnTo>
                    <a:pt x="60" y="241"/>
                  </a:lnTo>
                  <a:lnTo>
                    <a:pt x="60" y="236"/>
                  </a:lnTo>
                  <a:lnTo>
                    <a:pt x="60" y="234"/>
                  </a:lnTo>
                  <a:lnTo>
                    <a:pt x="60" y="229"/>
                  </a:lnTo>
                  <a:lnTo>
                    <a:pt x="60" y="227"/>
                  </a:lnTo>
                  <a:lnTo>
                    <a:pt x="60" y="226"/>
                  </a:lnTo>
                  <a:lnTo>
                    <a:pt x="58" y="226"/>
                  </a:lnTo>
                  <a:lnTo>
                    <a:pt x="58" y="224"/>
                  </a:lnTo>
                  <a:lnTo>
                    <a:pt x="55" y="222"/>
                  </a:lnTo>
                  <a:lnTo>
                    <a:pt x="55" y="219"/>
                  </a:lnTo>
                  <a:lnTo>
                    <a:pt x="55" y="215"/>
                  </a:lnTo>
                  <a:lnTo>
                    <a:pt x="55" y="214"/>
                  </a:lnTo>
                  <a:lnTo>
                    <a:pt x="55" y="210"/>
                  </a:lnTo>
                  <a:lnTo>
                    <a:pt x="55" y="208"/>
                  </a:lnTo>
                  <a:lnTo>
                    <a:pt x="55" y="207"/>
                  </a:lnTo>
                  <a:lnTo>
                    <a:pt x="55" y="200"/>
                  </a:lnTo>
                  <a:lnTo>
                    <a:pt x="53" y="200"/>
                  </a:lnTo>
                  <a:lnTo>
                    <a:pt x="49" y="200"/>
                  </a:lnTo>
                  <a:lnTo>
                    <a:pt x="48" y="200"/>
                  </a:lnTo>
                  <a:lnTo>
                    <a:pt x="46" y="200"/>
                  </a:lnTo>
                  <a:lnTo>
                    <a:pt x="44" y="200"/>
                  </a:lnTo>
                  <a:lnTo>
                    <a:pt x="44" y="200"/>
                  </a:lnTo>
                  <a:lnTo>
                    <a:pt x="43" y="200"/>
                  </a:lnTo>
                  <a:lnTo>
                    <a:pt x="41" y="200"/>
                  </a:lnTo>
                  <a:lnTo>
                    <a:pt x="39" y="200"/>
                  </a:lnTo>
                  <a:lnTo>
                    <a:pt x="37" y="200"/>
                  </a:lnTo>
                  <a:lnTo>
                    <a:pt x="32" y="200"/>
                  </a:lnTo>
                  <a:lnTo>
                    <a:pt x="32" y="198"/>
                  </a:lnTo>
                  <a:lnTo>
                    <a:pt x="32" y="196"/>
                  </a:lnTo>
                  <a:lnTo>
                    <a:pt x="32" y="191"/>
                  </a:lnTo>
                  <a:lnTo>
                    <a:pt x="32" y="189"/>
                  </a:lnTo>
                  <a:lnTo>
                    <a:pt x="32" y="188"/>
                  </a:lnTo>
                  <a:lnTo>
                    <a:pt x="32" y="186"/>
                  </a:lnTo>
                  <a:lnTo>
                    <a:pt x="32" y="183"/>
                  </a:lnTo>
                  <a:lnTo>
                    <a:pt x="32" y="181"/>
                  </a:lnTo>
                  <a:lnTo>
                    <a:pt x="32" y="179"/>
                  </a:lnTo>
                  <a:lnTo>
                    <a:pt x="32" y="179"/>
                  </a:lnTo>
                  <a:lnTo>
                    <a:pt x="32" y="177"/>
                  </a:lnTo>
                  <a:lnTo>
                    <a:pt x="32" y="176"/>
                  </a:lnTo>
                  <a:lnTo>
                    <a:pt x="32" y="174"/>
                  </a:lnTo>
                  <a:lnTo>
                    <a:pt x="32" y="167"/>
                  </a:lnTo>
                  <a:lnTo>
                    <a:pt x="31" y="167"/>
                  </a:lnTo>
                  <a:lnTo>
                    <a:pt x="31" y="169"/>
                  </a:lnTo>
                  <a:lnTo>
                    <a:pt x="29" y="169"/>
                  </a:lnTo>
                  <a:lnTo>
                    <a:pt x="29" y="169"/>
                  </a:lnTo>
                  <a:lnTo>
                    <a:pt x="27" y="169"/>
                  </a:lnTo>
                  <a:lnTo>
                    <a:pt x="25" y="169"/>
                  </a:lnTo>
                  <a:lnTo>
                    <a:pt x="24" y="169"/>
                  </a:lnTo>
                  <a:lnTo>
                    <a:pt x="22" y="169"/>
                  </a:lnTo>
                  <a:lnTo>
                    <a:pt x="12" y="169"/>
                  </a:lnTo>
                  <a:lnTo>
                    <a:pt x="12" y="167"/>
                  </a:lnTo>
                  <a:lnTo>
                    <a:pt x="10" y="167"/>
                  </a:lnTo>
                  <a:lnTo>
                    <a:pt x="8" y="167"/>
                  </a:lnTo>
                  <a:lnTo>
                    <a:pt x="8" y="165"/>
                  </a:lnTo>
                  <a:lnTo>
                    <a:pt x="6" y="165"/>
                  </a:lnTo>
                  <a:lnTo>
                    <a:pt x="6" y="164"/>
                  </a:lnTo>
                  <a:lnTo>
                    <a:pt x="5" y="164"/>
                  </a:lnTo>
                  <a:lnTo>
                    <a:pt x="5" y="164"/>
                  </a:lnTo>
                  <a:lnTo>
                    <a:pt x="3" y="164"/>
                  </a:lnTo>
                  <a:lnTo>
                    <a:pt x="1" y="164"/>
                  </a:lnTo>
                  <a:lnTo>
                    <a:pt x="1" y="162"/>
                  </a:lnTo>
                  <a:lnTo>
                    <a:pt x="0" y="162"/>
                  </a:lnTo>
                  <a:lnTo>
                    <a:pt x="0" y="162"/>
                  </a:lnTo>
                  <a:lnTo>
                    <a:pt x="0" y="160"/>
                  </a:lnTo>
                  <a:lnTo>
                    <a:pt x="0" y="158"/>
                  </a:lnTo>
                  <a:lnTo>
                    <a:pt x="0" y="157"/>
                  </a:lnTo>
                  <a:lnTo>
                    <a:pt x="0" y="155"/>
                  </a:lnTo>
                  <a:lnTo>
                    <a:pt x="0" y="153"/>
                  </a:lnTo>
                  <a:lnTo>
                    <a:pt x="0" y="150"/>
                  </a:lnTo>
                  <a:lnTo>
                    <a:pt x="0" y="145"/>
                  </a:lnTo>
                  <a:lnTo>
                    <a:pt x="0" y="143"/>
                  </a:lnTo>
                  <a:lnTo>
                    <a:pt x="0" y="141"/>
                  </a:lnTo>
                  <a:lnTo>
                    <a:pt x="0" y="140"/>
                  </a:lnTo>
                  <a:lnTo>
                    <a:pt x="0" y="133"/>
                  </a:lnTo>
                  <a:lnTo>
                    <a:pt x="0" y="131"/>
                  </a:lnTo>
                  <a:lnTo>
                    <a:pt x="0" y="126"/>
                  </a:lnTo>
                  <a:lnTo>
                    <a:pt x="0" y="124"/>
                  </a:lnTo>
                  <a:lnTo>
                    <a:pt x="0" y="121"/>
                  </a:lnTo>
                  <a:lnTo>
                    <a:pt x="0" y="119"/>
                  </a:lnTo>
                  <a:lnTo>
                    <a:pt x="0" y="112"/>
                  </a:lnTo>
                  <a:lnTo>
                    <a:pt x="0" y="109"/>
                  </a:lnTo>
                  <a:lnTo>
                    <a:pt x="0" y="107"/>
                  </a:lnTo>
                  <a:lnTo>
                    <a:pt x="0" y="105"/>
                  </a:lnTo>
                  <a:lnTo>
                    <a:pt x="0" y="103"/>
                  </a:lnTo>
                  <a:lnTo>
                    <a:pt x="1" y="102"/>
                  </a:lnTo>
                  <a:lnTo>
                    <a:pt x="1" y="100"/>
                  </a:lnTo>
                  <a:lnTo>
                    <a:pt x="1" y="97"/>
                  </a:lnTo>
                  <a:lnTo>
                    <a:pt x="1" y="95"/>
                  </a:lnTo>
                  <a:lnTo>
                    <a:pt x="1" y="93"/>
                  </a:lnTo>
                  <a:lnTo>
                    <a:pt x="1" y="91"/>
                  </a:lnTo>
                  <a:lnTo>
                    <a:pt x="1" y="90"/>
                  </a:lnTo>
                  <a:lnTo>
                    <a:pt x="1" y="86"/>
                  </a:lnTo>
                  <a:lnTo>
                    <a:pt x="1" y="83"/>
                  </a:lnTo>
                  <a:lnTo>
                    <a:pt x="1" y="78"/>
                  </a:lnTo>
                  <a:lnTo>
                    <a:pt x="1" y="74"/>
                  </a:lnTo>
                  <a:lnTo>
                    <a:pt x="1" y="69"/>
                  </a:lnTo>
                  <a:lnTo>
                    <a:pt x="1" y="66"/>
                  </a:lnTo>
                  <a:lnTo>
                    <a:pt x="1" y="64"/>
                  </a:lnTo>
                  <a:lnTo>
                    <a:pt x="12" y="64"/>
                  </a:lnTo>
                  <a:lnTo>
                    <a:pt x="13" y="64"/>
                  </a:lnTo>
                  <a:lnTo>
                    <a:pt x="15" y="64"/>
                  </a:lnTo>
                  <a:lnTo>
                    <a:pt x="15" y="64"/>
                  </a:lnTo>
                  <a:lnTo>
                    <a:pt x="17" y="64"/>
                  </a:lnTo>
                  <a:lnTo>
                    <a:pt x="20" y="64"/>
                  </a:lnTo>
                  <a:lnTo>
                    <a:pt x="27" y="64"/>
                  </a:lnTo>
                  <a:lnTo>
                    <a:pt x="29" y="64"/>
                  </a:lnTo>
                  <a:lnTo>
                    <a:pt x="31" y="64"/>
                  </a:lnTo>
                  <a:lnTo>
                    <a:pt x="32" y="64"/>
                  </a:lnTo>
                  <a:lnTo>
                    <a:pt x="34" y="64"/>
                  </a:lnTo>
                  <a:lnTo>
                    <a:pt x="36" y="64"/>
                  </a:lnTo>
                  <a:lnTo>
                    <a:pt x="36" y="57"/>
                  </a:lnTo>
                  <a:lnTo>
                    <a:pt x="37" y="52"/>
                  </a:lnTo>
                  <a:lnTo>
                    <a:pt x="37" y="48"/>
                  </a:lnTo>
                  <a:lnTo>
                    <a:pt x="37" y="43"/>
                  </a:lnTo>
                  <a:lnTo>
                    <a:pt x="37" y="40"/>
                  </a:lnTo>
                  <a:lnTo>
                    <a:pt x="37" y="36"/>
                  </a:lnTo>
                  <a:lnTo>
                    <a:pt x="37" y="31"/>
                  </a:lnTo>
                  <a:lnTo>
                    <a:pt x="37" y="28"/>
                  </a:lnTo>
                  <a:lnTo>
                    <a:pt x="37" y="24"/>
                  </a:lnTo>
                  <a:lnTo>
                    <a:pt x="37" y="19"/>
                  </a:lnTo>
                  <a:lnTo>
                    <a:pt x="37" y="17"/>
                  </a:lnTo>
                  <a:lnTo>
                    <a:pt x="37" y="9"/>
                  </a:lnTo>
                  <a:lnTo>
                    <a:pt x="37" y="4"/>
                  </a:lnTo>
                  <a:lnTo>
                    <a:pt x="37" y="0"/>
                  </a:lnTo>
                  <a:lnTo>
                    <a:pt x="41" y="0"/>
                  </a:lnTo>
                  <a:lnTo>
                    <a:pt x="43" y="0"/>
                  </a:lnTo>
                  <a:lnTo>
                    <a:pt x="46" y="0"/>
                  </a:lnTo>
                  <a:lnTo>
                    <a:pt x="49" y="0"/>
                  </a:lnTo>
                  <a:lnTo>
                    <a:pt x="53" y="0"/>
                  </a:lnTo>
                  <a:lnTo>
                    <a:pt x="55" y="0"/>
                  </a:lnTo>
                  <a:lnTo>
                    <a:pt x="56" y="0"/>
                  </a:lnTo>
                  <a:lnTo>
                    <a:pt x="58" y="0"/>
                  </a:lnTo>
                  <a:lnTo>
                    <a:pt x="62" y="0"/>
                  </a:lnTo>
                  <a:lnTo>
                    <a:pt x="65" y="0"/>
                  </a:lnTo>
                  <a:lnTo>
                    <a:pt x="68" y="0"/>
                  </a:lnTo>
                  <a:lnTo>
                    <a:pt x="74" y="2"/>
                  </a:lnTo>
                  <a:lnTo>
                    <a:pt x="79" y="2"/>
                  </a:lnTo>
                  <a:lnTo>
                    <a:pt x="80" y="2"/>
                  </a:lnTo>
                  <a:lnTo>
                    <a:pt x="84" y="2"/>
                  </a:lnTo>
                  <a:lnTo>
                    <a:pt x="86" y="2"/>
                  </a:lnTo>
                  <a:lnTo>
                    <a:pt x="89" y="2"/>
                  </a:lnTo>
                  <a:lnTo>
                    <a:pt x="89" y="2"/>
                  </a:lnTo>
                  <a:lnTo>
                    <a:pt x="91" y="2"/>
                  </a:lnTo>
                  <a:lnTo>
                    <a:pt x="98" y="2"/>
                  </a:lnTo>
                  <a:lnTo>
                    <a:pt x="103" y="2"/>
                  </a:lnTo>
                  <a:lnTo>
                    <a:pt x="105" y="2"/>
                  </a:lnTo>
                  <a:lnTo>
                    <a:pt x="106" y="2"/>
                  </a:lnTo>
                  <a:lnTo>
                    <a:pt x="108" y="2"/>
                  </a:lnTo>
                  <a:lnTo>
                    <a:pt x="111" y="2"/>
                  </a:lnTo>
                  <a:lnTo>
                    <a:pt x="113" y="2"/>
                  </a:lnTo>
                  <a:lnTo>
                    <a:pt x="115" y="2"/>
                  </a:lnTo>
                  <a:lnTo>
                    <a:pt x="117" y="2"/>
                  </a:lnTo>
                  <a:lnTo>
                    <a:pt x="118" y="2"/>
                  </a:lnTo>
                  <a:lnTo>
                    <a:pt x="120" y="2"/>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5" name="Freeform 199"/>
            <p:cNvSpPr>
              <a:spLocks/>
            </p:cNvSpPr>
            <p:nvPr/>
          </p:nvSpPr>
          <p:spPr bwMode="auto">
            <a:xfrm>
              <a:off x="5050721" y="3741531"/>
              <a:ext cx="652463" cy="573088"/>
            </a:xfrm>
            <a:custGeom>
              <a:avLst/>
              <a:gdLst/>
              <a:ahLst/>
              <a:cxnLst>
                <a:cxn ang="0">
                  <a:pos x="244" y="43"/>
                </a:cxn>
                <a:cxn ang="0">
                  <a:pos x="267" y="43"/>
                </a:cxn>
                <a:cxn ang="0">
                  <a:pos x="268" y="65"/>
                </a:cxn>
                <a:cxn ang="0">
                  <a:pos x="282" y="76"/>
                </a:cxn>
                <a:cxn ang="0">
                  <a:pos x="291" y="98"/>
                </a:cxn>
                <a:cxn ang="0">
                  <a:pos x="296" y="122"/>
                </a:cxn>
                <a:cxn ang="0">
                  <a:pos x="311" y="134"/>
                </a:cxn>
                <a:cxn ang="0">
                  <a:pos x="323" y="157"/>
                </a:cxn>
                <a:cxn ang="0">
                  <a:pos x="344" y="179"/>
                </a:cxn>
                <a:cxn ang="0">
                  <a:pos x="385" y="191"/>
                </a:cxn>
                <a:cxn ang="0">
                  <a:pos x="411" y="224"/>
                </a:cxn>
                <a:cxn ang="0">
                  <a:pos x="411" y="270"/>
                </a:cxn>
                <a:cxn ang="0">
                  <a:pos x="411" y="308"/>
                </a:cxn>
                <a:cxn ang="0">
                  <a:pos x="401" y="317"/>
                </a:cxn>
                <a:cxn ang="0">
                  <a:pos x="392" y="327"/>
                </a:cxn>
                <a:cxn ang="0">
                  <a:pos x="385" y="342"/>
                </a:cxn>
                <a:cxn ang="0">
                  <a:pos x="371" y="341"/>
                </a:cxn>
                <a:cxn ang="0">
                  <a:pos x="356" y="341"/>
                </a:cxn>
                <a:cxn ang="0">
                  <a:pos x="349" y="349"/>
                </a:cxn>
                <a:cxn ang="0">
                  <a:pos x="335" y="353"/>
                </a:cxn>
                <a:cxn ang="0">
                  <a:pos x="323" y="360"/>
                </a:cxn>
                <a:cxn ang="0">
                  <a:pos x="316" y="351"/>
                </a:cxn>
                <a:cxn ang="0">
                  <a:pos x="311" y="342"/>
                </a:cxn>
                <a:cxn ang="0">
                  <a:pos x="301" y="337"/>
                </a:cxn>
                <a:cxn ang="0">
                  <a:pos x="294" y="327"/>
                </a:cxn>
                <a:cxn ang="0">
                  <a:pos x="291" y="318"/>
                </a:cxn>
                <a:cxn ang="0">
                  <a:pos x="284" y="306"/>
                </a:cxn>
                <a:cxn ang="0">
                  <a:pos x="282" y="296"/>
                </a:cxn>
                <a:cxn ang="0">
                  <a:pos x="241" y="289"/>
                </a:cxn>
                <a:cxn ang="0">
                  <a:pos x="198" y="289"/>
                </a:cxn>
                <a:cxn ang="0">
                  <a:pos x="163" y="289"/>
                </a:cxn>
                <a:cxn ang="0">
                  <a:pos x="129" y="287"/>
                </a:cxn>
                <a:cxn ang="0">
                  <a:pos x="98" y="287"/>
                </a:cxn>
                <a:cxn ang="0">
                  <a:pos x="38" y="284"/>
                </a:cxn>
                <a:cxn ang="0">
                  <a:pos x="9" y="262"/>
                </a:cxn>
                <a:cxn ang="0">
                  <a:pos x="9" y="212"/>
                </a:cxn>
                <a:cxn ang="0">
                  <a:pos x="10" y="169"/>
                </a:cxn>
                <a:cxn ang="0">
                  <a:pos x="12" y="126"/>
                </a:cxn>
                <a:cxn ang="0">
                  <a:pos x="14" y="74"/>
                </a:cxn>
                <a:cxn ang="0">
                  <a:pos x="2" y="55"/>
                </a:cxn>
                <a:cxn ang="0">
                  <a:pos x="3" y="21"/>
                </a:cxn>
                <a:cxn ang="0">
                  <a:pos x="9" y="4"/>
                </a:cxn>
                <a:cxn ang="0">
                  <a:pos x="24" y="0"/>
                </a:cxn>
                <a:cxn ang="0">
                  <a:pos x="29" y="12"/>
                </a:cxn>
                <a:cxn ang="0">
                  <a:pos x="41" y="26"/>
                </a:cxn>
                <a:cxn ang="0">
                  <a:pos x="55" y="40"/>
                </a:cxn>
                <a:cxn ang="0">
                  <a:pos x="55" y="47"/>
                </a:cxn>
                <a:cxn ang="0">
                  <a:pos x="39" y="50"/>
                </a:cxn>
                <a:cxn ang="0">
                  <a:pos x="45" y="64"/>
                </a:cxn>
                <a:cxn ang="0">
                  <a:pos x="62" y="55"/>
                </a:cxn>
                <a:cxn ang="0">
                  <a:pos x="72" y="36"/>
                </a:cxn>
                <a:cxn ang="0">
                  <a:pos x="84" y="33"/>
                </a:cxn>
                <a:cxn ang="0">
                  <a:pos x="91" y="41"/>
                </a:cxn>
                <a:cxn ang="0">
                  <a:pos x="84" y="52"/>
                </a:cxn>
                <a:cxn ang="0">
                  <a:pos x="72" y="57"/>
                </a:cxn>
                <a:cxn ang="0">
                  <a:pos x="115" y="59"/>
                </a:cxn>
                <a:cxn ang="0">
                  <a:pos x="148" y="60"/>
                </a:cxn>
                <a:cxn ang="0">
                  <a:pos x="179" y="62"/>
                </a:cxn>
                <a:cxn ang="0">
                  <a:pos x="193" y="55"/>
                </a:cxn>
                <a:cxn ang="0">
                  <a:pos x="199" y="43"/>
                </a:cxn>
                <a:cxn ang="0">
                  <a:pos x="211" y="38"/>
                </a:cxn>
                <a:cxn ang="0">
                  <a:pos x="225" y="38"/>
                </a:cxn>
              </a:cxnLst>
              <a:rect l="0" t="0" r="r" b="b"/>
              <a:pathLst>
                <a:path w="411" h="361">
                  <a:moveTo>
                    <a:pt x="236" y="38"/>
                  </a:moveTo>
                  <a:lnTo>
                    <a:pt x="236" y="38"/>
                  </a:lnTo>
                  <a:lnTo>
                    <a:pt x="237" y="38"/>
                  </a:lnTo>
                  <a:lnTo>
                    <a:pt x="237" y="40"/>
                  </a:lnTo>
                  <a:lnTo>
                    <a:pt x="239" y="40"/>
                  </a:lnTo>
                  <a:lnTo>
                    <a:pt x="241" y="40"/>
                  </a:lnTo>
                  <a:lnTo>
                    <a:pt x="241" y="40"/>
                  </a:lnTo>
                  <a:lnTo>
                    <a:pt x="242" y="40"/>
                  </a:lnTo>
                  <a:lnTo>
                    <a:pt x="242" y="41"/>
                  </a:lnTo>
                  <a:lnTo>
                    <a:pt x="244" y="41"/>
                  </a:lnTo>
                  <a:lnTo>
                    <a:pt x="244" y="43"/>
                  </a:lnTo>
                  <a:lnTo>
                    <a:pt x="246" y="43"/>
                  </a:lnTo>
                  <a:lnTo>
                    <a:pt x="248" y="43"/>
                  </a:lnTo>
                  <a:lnTo>
                    <a:pt x="248" y="45"/>
                  </a:lnTo>
                  <a:lnTo>
                    <a:pt x="258" y="45"/>
                  </a:lnTo>
                  <a:lnTo>
                    <a:pt x="260" y="45"/>
                  </a:lnTo>
                  <a:lnTo>
                    <a:pt x="261" y="45"/>
                  </a:lnTo>
                  <a:lnTo>
                    <a:pt x="263" y="45"/>
                  </a:lnTo>
                  <a:lnTo>
                    <a:pt x="265" y="45"/>
                  </a:lnTo>
                  <a:lnTo>
                    <a:pt x="265" y="45"/>
                  </a:lnTo>
                  <a:lnTo>
                    <a:pt x="267" y="45"/>
                  </a:lnTo>
                  <a:lnTo>
                    <a:pt x="267" y="43"/>
                  </a:lnTo>
                  <a:lnTo>
                    <a:pt x="268" y="43"/>
                  </a:lnTo>
                  <a:lnTo>
                    <a:pt x="268" y="50"/>
                  </a:lnTo>
                  <a:lnTo>
                    <a:pt x="268" y="52"/>
                  </a:lnTo>
                  <a:lnTo>
                    <a:pt x="268" y="53"/>
                  </a:lnTo>
                  <a:lnTo>
                    <a:pt x="268" y="55"/>
                  </a:lnTo>
                  <a:lnTo>
                    <a:pt x="268" y="55"/>
                  </a:lnTo>
                  <a:lnTo>
                    <a:pt x="268" y="57"/>
                  </a:lnTo>
                  <a:lnTo>
                    <a:pt x="268" y="59"/>
                  </a:lnTo>
                  <a:lnTo>
                    <a:pt x="268" y="62"/>
                  </a:lnTo>
                  <a:lnTo>
                    <a:pt x="268" y="64"/>
                  </a:lnTo>
                  <a:lnTo>
                    <a:pt x="268" y="65"/>
                  </a:lnTo>
                  <a:lnTo>
                    <a:pt x="268" y="67"/>
                  </a:lnTo>
                  <a:lnTo>
                    <a:pt x="268" y="72"/>
                  </a:lnTo>
                  <a:lnTo>
                    <a:pt x="268" y="74"/>
                  </a:lnTo>
                  <a:lnTo>
                    <a:pt x="268" y="76"/>
                  </a:lnTo>
                  <a:lnTo>
                    <a:pt x="273" y="76"/>
                  </a:lnTo>
                  <a:lnTo>
                    <a:pt x="275" y="76"/>
                  </a:lnTo>
                  <a:lnTo>
                    <a:pt x="277" y="76"/>
                  </a:lnTo>
                  <a:lnTo>
                    <a:pt x="279" y="76"/>
                  </a:lnTo>
                  <a:lnTo>
                    <a:pt x="280" y="76"/>
                  </a:lnTo>
                  <a:lnTo>
                    <a:pt x="280" y="76"/>
                  </a:lnTo>
                  <a:lnTo>
                    <a:pt x="282" y="76"/>
                  </a:lnTo>
                  <a:lnTo>
                    <a:pt x="284" y="76"/>
                  </a:lnTo>
                  <a:lnTo>
                    <a:pt x="285" y="76"/>
                  </a:lnTo>
                  <a:lnTo>
                    <a:pt x="289" y="76"/>
                  </a:lnTo>
                  <a:lnTo>
                    <a:pt x="291" y="76"/>
                  </a:lnTo>
                  <a:lnTo>
                    <a:pt x="291" y="83"/>
                  </a:lnTo>
                  <a:lnTo>
                    <a:pt x="291" y="84"/>
                  </a:lnTo>
                  <a:lnTo>
                    <a:pt x="291" y="86"/>
                  </a:lnTo>
                  <a:lnTo>
                    <a:pt x="291" y="90"/>
                  </a:lnTo>
                  <a:lnTo>
                    <a:pt x="291" y="91"/>
                  </a:lnTo>
                  <a:lnTo>
                    <a:pt x="291" y="95"/>
                  </a:lnTo>
                  <a:lnTo>
                    <a:pt x="291" y="98"/>
                  </a:lnTo>
                  <a:lnTo>
                    <a:pt x="294" y="100"/>
                  </a:lnTo>
                  <a:lnTo>
                    <a:pt x="294" y="102"/>
                  </a:lnTo>
                  <a:lnTo>
                    <a:pt x="296" y="102"/>
                  </a:lnTo>
                  <a:lnTo>
                    <a:pt x="296" y="103"/>
                  </a:lnTo>
                  <a:lnTo>
                    <a:pt x="296" y="105"/>
                  </a:lnTo>
                  <a:lnTo>
                    <a:pt x="296" y="110"/>
                  </a:lnTo>
                  <a:lnTo>
                    <a:pt x="296" y="112"/>
                  </a:lnTo>
                  <a:lnTo>
                    <a:pt x="296" y="117"/>
                  </a:lnTo>
                  <a:lnTo>
                    <a:pt x="296" y="119"/>
                  </a:lnTo>
                  <a:lnTo>
                    <a:pt x="296" y="120"/>
                  </a:lnTo>
                  <a:lnTo>
                    <a:pt x="296" y="122"/>
                  </a:lnTo>
                  <a:lnTo>
                    <a:pt x="298" y="122"/>
                  </a:lnTo>
                  <a:lnTo>
                    <a:pt x="301" y="122"/>
                  </a:lnTo>
                  <a:lnTo>
                    <a:pt x="301" y="131"/>
                  </a:lnTo>
                  <a:lnTo>
                    <a:pt x="301" y="133"/>
                  </a:lnTo>
                  <a:lnTo>
                    <a:pt x="301" y="134"/>
                  </a:lnTo>
                  <a:lnTo>
                    <a:pt x="301" y="133"/>
                  </a:lnTo>
                  <a:lnTo>
                    <a:pt x="303" y="134"/>
                  </a:lnTo>
                  <a:lnTo>
                    <a:pt x="304" y="134"/>
                  </a:lnTo>
                  <a:lnTo>
                    <a:pt x="306" y="134"/>
                  </a:lnTo>
                  <a:lnTo>
                    <a:pt x="308" y="134"/>
                  </a:lnTo>
                  <a:lnTo>
                    <a:pt x="311" y="134"/>
                  </a:lnTo>
                  <a:lnTo>
                    <a:pt x="311" y="139"/>
                  </a:lnTo>
                  <a:lnTo>
                    <a:pt x="311" y="146"/>
                  </a:lnTo>
                  <a:lnTo>
                    <a:pt x="311" y="150"/>
                  </a:lnTo>
                  <a:lnTo>
                    <a:pt x="311" y="151"/>
                  </a:lnTo>
                  <a:lnTo>
                    <a:pt x="311" y="153"/>
                  </a:lnTo>
                  <a:lnTo>
                    <a:pt x="311" y="155"/>
                  </a:lnTo>
                  <a:lnTo>
                    <a:pt x="311" y="157"/>
                  </a:lnTo>
                  <a:lnTo>
                    <a:pt x="313" y="157"/>
                  </a:lnTo>
                  <a:lnTo>
                    <a:pt x="315" y="157"/>
                  </a:lnTo>
                  <a:lnTo>
                    <a:pt x="320" y="157"/>
                  </a:lnTo>
                  <a:lnTo>
                    <a:pt x="323" y="157"/>
                  </a:lnTo>
                  <a:lnTo>
                    <a:pt x="323" y="167"/>
                  </a:lnTo>
                  <a:lnTo>
                    <a:pt x="325" y="167"/>
                  </a:lnTo>
                  <a:lnTo>
                    <a:pt x="330" y="167"/>
                  </a:lnTo>
                  <a:lnTo>
                    <a:pt x="334" y="167"/>
                  </a:lnTo>
                  <a:lnTo>
                    <a:pt x="334" y="172"/>
                  </a:lnTo>
                  <a:lnTo>
                    <a:pt x="334" y="176"/>
                  </a:lnTo>
                  <a:lnTo>
                    <a:pt x="334" y="176"/>
                  </a:lnTo>
                  <a:lnTo>
                    <a:pt x="334" y="179"/>
                  </a:lnTo>
                  <a:lnTo>
                    <a:pt x="339" y="179"/>
                  </a:lnTo>
                  <a:lnTo>
                    <a:pt x="341" y="179"/>
                  </a:lnTo>
                  <a:lnTo>
                    <a:pt x="344" y="179"/>
                  </a:lnTo>
                  <a:lnTo>
                    <a:pt x="344" y="182"/>
                  </a:lnTo>
                  <a:lnTo>
                    <a:pt x="344" y="184"/>
                  </a:lnTo>
                  <a:lnTo>
                    <a:pt x="344" y="189"/>
                  </a:lnTo>
                  <a:lnTo>
                    <a:pt x="344" y="191"/>
                  </a:lnTo>
                  <a:lnTo>
                    <a:pt x="354" y="191"/>
                  </a:lnTo>
                  <a:lnTo>
                    <a:pt x="356" y="191"/>
                  </a:lnTo>
                  <a:lnTo>
                    <a:pt x="358" y="191"/>
                  </a:lnTo>
                  <a:lnTo>
                    <a:pt x="359" y="191"/>
                  </a:lnTo>
                  <a:lnTo>
                    <a:pt x="378" y="191"/>
                  </a:lnTo>
                  <a:lnTo>
                    <a:pt x="380" y="191"/>
                  </a:lnTo>
                  <a:lnTo>
                    <a:pt x="385" y="191"/>
                  </a:lnTo>
                  <a:lnTo>
                    <a:pt x="401" y="191"/>
                  </a:lnTo>
                  <a:lnTo>
                    <a:pt x="404" y="191"/>
                  </a:lnTo>
                  <a:lnTo>
                    <a:pt x="411" y="191"/>
                  </a:lnTo>
                  <a:lnTo>
                    <a:pt x="411" y="200"/>
                  </a:lnTo>
                  <a:lnTo>
                    <a:pt x="411" y="207"/>
                  </a:lnTo>
                  <a:lnTo>
                    <a:pt x="411" y="207"/>
                  </a:lnTo>
                  <a:lnTo>
                    <a:pt x="411" y="208"/>
                  </a:lnTo>
                  <a:lnTo>
                    <a:pt x="411" y="212"/>
                  </a:lnTo>
                  <a:lnTo>
                    <a:pt x="411" y="217"/>
                  </a:lnTo>
                  <a:lnTo>
                    <a:pt x="411" y="222"/>
                  </a:lnTo>
                  <a:lnTo>
                    <a:pt x="411" y="224"/>
                  </a:lnTo>
                  <a:lnTo>
                    <a:pt x="411" y="225"/>
                  </a:lnTo>
                  <a:lnTo>
                    <a:pt x="411" y="236"/>
                  </a:lnTo>
                  <a:lnTo>
                    <a:pt x="411" y="239"/>
                  </a:lnTo>
                  <a:lnTo>
                    <a:pt x="411" y="244"/>
                  </a:lnTo>
                  <a:lnTo>
                    <a:pt x="411" y="248"/>
                  </a:lnTo>
                  <a:lnTo>
                    <a:pt x="411" y="256"/>
                  </a:lnTo>
                  <a:lnTo>
                    <a:pt x="411" y="258"/>
                  </a:lnTo>
                  <a:lnTo>
                    <a:pt x="411" y="260"/>
                  </a:lnTo>
                  <a:lnTo>
                    <a:pt x="411" y="265"/>
                  </a:lnTo>
                  <a:lnTo>
                    <a:pt x="411" y="267"/>
                  </a:lnTo>
                  <a:lnTo>
                    <a:pt x="411" y="270"/>
                  </a:lnTo>
                  <a:lnTo>
                    <a:pt x="411" y="274"/>
                  </a:lnTo>
                  <a:lnTo>
                    <a:pt x="411" y="275"/>
                  </a:lnTo>
                  <a:lnTo>
                    <a:pt x="411" y="280"/>
                  </a:lnTo>
                  <a:lnTo>
                    <a:pt x="411" y="282"/>
                  </a:lnTo>
                  <a:lnTo>
                    <a:pt x="411" y="284"/>
                  </a:lnTo>
                  <a:lnTo>
                    <a:pt x="411" y="287"/>
                  </a:lnTo>
                  <a:lnTo>
                    <a:pt x="411" y="291"/>
                  </a:lnTo>
                  <a:lnTo>
                    <a:pt x="411" y="293"/>
                  </a:lnTo>
                  <a:lnTo>
                    <a:pt x="411" y="298"/>
                  </a:lnTo>
                  <a:lnTo>
                    <a:pt x="411" y="303"/>
                  </a:lnTo>
                  <a:lnTo>
                    <a:pt x="411" y="308"/>
                  </a:lnTo>
                  <a:lnTo>
                    <a:pt x="411" y="310"/>
                  </a:lnTo>
                  <a:lnTo>
                    <a:pt x="411" y="311"/>
                  </a:lnTo>
                  <a:lnTo>
                    <a:pt x="411" y="311"/>
                  </a:lnTo>
                  <a:lnTo>
                    <a:pt x="411" y="313"/>
                  </a:lnTo>
                  <a:lnTo>
                    <a:pt x="411" y="315"/>
                  </a:lnTo>
                  <a:lnTo>
                    <a:pt x="409" y="315"/>
                  </a:lnTo>
                  <a:lnTo>
                    <a:pt x="408" y="315"/>
                  </a:lnTo>
                  <a:lnTo>
                    <a:pt x="406" y="315"/>
                  </a:lnTo>
                  <a:lnTo>
                    <a:pt x="404" y="315"/>
                  </a:lnTo>
                  <a:lnTo>
                    <a:pt x="402" y="315"/>
                  </a:lnTo>
                  <a:lnTo>
                    <a:pt x="401" y="317"/>
                  </a:lnTo>
                  <a:lnTo>
                    <a:pt x="401" y="318"/>
                  </a:lnTo>
                  <a:lnTo>
                    <a:pt x="401" y="320"/>
                  </a:lnTo>
                  <a:lnTo>
                    <a:pt x="401" y="322"/>
                  </a:lnTo>
                  <a:lnTo>
                    <a:pt x="399" y="322"/>
                  </a:lnTo>
                  <a:lnTo>
                    <a:pt x="399" y="323"/>
                  </a:lnTo>
                  <a:lnTo>
                    <a:pt x="397" y="323"/>
                  </a:lnTo>
                  <a:lnTo>
                    <a:pt x="396" y="325"/>
                  </a:lnTo>
                  <a:lnTo>
                    <a:pt x="396" y="327"/>
                  </a:lnTo>
                  <a:lnTo>
                    <a:pt x="394" y="327"/>
                  </a:lnTo>
                  <a:lnTo>
                    <a:pt x="392" y="327"/>
                  </a:lnTo>
                  <a:lnTo>
                    <a:pt x="392" y="327"/>
                  </a:lnTo>
                  <a:lnTo>
                    <a:pt x="390" y="329"/>
                  </a:lnTo>
                  <a:lnTo>
                    <a:pt x="390" y="330"/>
                  </a:lnTo>
                  <a:lnTo>
                    <a:pt x="387" y="332"/>
                  </a:lnTo>
                  <a:lnTo>
                    <a:pt x="385" y="334"/>
                  </a:lnTo>
                  <a:lnTo>
                    <a:pt x="385" y="336"/>
                  </a:lnTo>
                  <a:lnTo>
                    <a:pt x="385" y="337"/>
                  </a:lnTo>
                  <a:lnTo>
                    <a:pt x="385" y="337"/>
                  </a:lnTo>
                  <a:lnTo>
                    <a:pt x="385" y="339"/>
                  </a:lnTo>
                  <a:lnTo>
                    <a:pt x="385" y="341"/>
                  </a:lnTo>
                  <a:lnTo>
                    <a:pt x="385" y="342"/>
                  </a:lnTo>
                  <a:lnTo>
                    <a:pt x="385" y="342"/>
                  </a:lnTo>
                  <a:lnTo>
                    <a:pt x="384" y="342"/>
                  </a:lnTo>
                  <a:lnTo>
                    <a:pt x="384" y="342"/>
                  </a:lnTo>
                  <a:lnTo>
                    <a:pt x="382" y="342"/>
                  </a:lnTo>
                  <a:lnTo>
                    <a:pt x="380" y="342"/>
                  </a:lnTo>
                  <a:lnTo>
                    <a:pt x="378" y="342"/>
                  </a:lnTo>
                  <a:lnTo>
                    <a:pt x="377" y="342"/>
                  </a:lnTo>
                  <a:lnTo>
                    <a:pt x="377" y="341"/>
                  </a:lnTo>
                  <a:lnTo>
                    <a:pt x="375" y="341"/>
                  </a:lnTo>
                  <a:lnTo>
                    <a:pt x="373" y="341"/>
                  </a:lnTo>
                  <a:lnTo>
                    <a:pt x="371" y="341"/>
                  </a:lnTo>
                  <a:lnTo>
                    <a:pt x="371" y="341"/>
                  </a:lnTo>
                  <a:lnTo>
                    <a:pt x="371" y="339"/>
                  </a:lnTo>
                  <a:lnTo>
                    <a:pt x="370" y="339"/>
                  </a:lnTo>
                  <a:lnTo>
                    <a:pt x="368" y="339"/>
                  </a:lnTo>
                  <a:lnTo>
                    <a:pt x="366" y="339"/>
                  </a:lnTo>
                  <a:lnTo>
                    <a:pt x="365" y="339"/>
                  </a:lnTo>
                  <a:lnTo>
                    <a:pt x="363" y="339"/>
                  </a:lnTo>
                  <a:lnTo>
                    <a:pt x="361" y="339"/>
                  </a:lnTo>
                  <a:lnTo>
                    <a:pt x="359" y="339"/>
                  </a:lnTo>
                  <a:lnTo>
                    <a:pt x="358" y="339"/>
                  </a:lnTo>
                  <a:lnTo>
                    <a:pt x="358" y="341"/>
                  </a:lnTo>
                  <a:lnTo>
                    <a:pt x="356" y="341"/>
                  </a:lnTo>
                  <a:lnTo>
                    <a:pt x="356" y="341"/>
                  </a:lnTo>
                  <a:lnTo>
                    <a:pt x="354" y="341"/>
                  </a:lnTo>
                  <a:lnTo>
                    <a:pt x="354" y="342"/>
                  </a:lnTo>
                  <a:lnTo>
                    <a:pt x="353" y="342"/>
                  </a:lnTo>
                  <a:lnTo>
                    <a:pt x="353" y="342"/>
                  </a:lnTo>
                  <a:lnTo>
                    <a:pt x="353" y="344"/>
                  </a:lnTo>
                  <a:lnTo>
                    <a:pt x="351" y="344"/>
                  </a:lnTo>
                  <a:lnTo>
                    <a:pt x="351" y="346"/>
                  </a:lnTo>
                  <a:lnTo>
                    <a:pt x="351" y="348"/>
                  </a:lnTo>
                  <a:lnTo>
                    <a:pt x="349" y="348"/>
                  </a:lnTo>
                  <a:lnTo>
                    <a:pt x="349" y="349"/>
                  </a:lnTo>
                  <a:lnTo>
                    <a:pt x="349" y="351"/>
                  </a:lnTo>
                  <a:lnTo>
                    <a:pt x="347" y="351"/>
                  </a:lnTo>
                  <a:lnTo>
                    <a:pt x="347" y="353"/>
                  </a:lnTo>
                  <a:lnTo>
                    <a:pt x="346" y="353"/>
                  </a:lnTo>
                  <a:lnTo>
                    <a:pt x="344" y="353"/>
                  </a:lnTo>
                  <a:lnTo>
                    <a:pt x="344" y="351"/>
                  </a:lnTo>
                  <a:lnTo>
                    <a:pt x="342" y="351"/>
                  </a:lnTo>
                  <a:lnTo>
                    <a:pt x="341" y="351"/>
                  </a:lnTo>
                  <a:lnTo>
                    <a:pt x="341" y="353"/>
                  </a:lnTo>
                  <a:lnTo>
                    <a:pt x="337" y="353"/>
                  </a:lnTo>
                  <a:lnTo>
                    <a:pt x="335" y="353"/>
                  </a:lnTo>
                  <a:lnTo>
                    <a:pt x="335" y="354"/>
                  </a:lnTo>
                  <a:lnTo>
                    <a:pt x="334" y="354"/>
                  </a:lnTo>
                  <a:lnTo>
                    <a:pt x="334" y="356"/>
                  </a:lnTo>
                  <a:lnTo>
                    <a:pt x="334" y="356"/>
                  </a:lnTo>
                  <a:lnTo>
                    <a:pt x="332" y="356"/>
                  </a:lnTo>
                  <a:lnTo>
                    <a:pt x="332" y="358"/>
                  </a:lnTo>
                  <a:lnTo>
                    <a:pt x="330" y="360"/>
                  </a:lnTo>
                  <a:lnTo>
                    <a:pt x="325" y="361"/>
                  </a:lnTo>
                  <a:lnTo>
                    <a:pt x="325" y="360"/>
                  </a:lnTo>
                  <a:lnTo>
                    <a:pt x="325" y="360"/>
                  </a:lnTo>
                  <a:lnTo>
                    <a:pt x="323" y="360"/>
                  </a:lnTo>
                  <a:lnTo>
                    <a:pt x="322" y="360"/>
                  </a:lnTo>
                  <a:lnTo>
                    <a:pt x="322" y="358"/>
                  </a:lnTo>
                  <a:lnTo>
                    <a:pt x="320" y="358"/>
                  </a:lnTo>
                  <a:lnTo>
                    <a:pt x="318" y="358"/>
                  </a:lnTo>
                  <a:lnTo>
                    <a:pt x="316" y="356"/>
                  </a:lnTo>
                  <a:lnTo>
                    <a:pt x="315" y="356"/>
                  </a:lnTo>
                  <a:lnTo>
                    <a:pt x="316" y="356"/>
                  </a:lnTo>
                  <a:lnTo>
                    <a:pt x="315" y="354"/>
                  </a:lnTo>
                  <a:lnTo>
                    <a:pt x="315" y="353"/>
                  </a:lnTo>
                  <a:lnTo>
                    <a:pt x="316" y="353"/>
                  </a:lnTo>
                  <a:lnTo>
                    <a:pt x="316" y="351"/>
                  </a:lnTo>
                  <a:lnTo>
                    <a:pt x="315" y="351"/>
                  </a:lnTo>
                  <a:lnTo>
                    <a:pt x="313" y="349"/>
                  </a:lnTo>
                  <a:lnTo>
                    <a:pt x="315" y="349"/>
                  </a:lnTo>
                  <a:lnTo>
                    <a:pt x="315" y="348"/>
                  </a:lnTo>
                  <a:lnTo>
                    <a:pt x="313" y="348"/>
                  </a:lnTo>
                  <a:lnTo>
                    <a:pt x="313" y="349"/>
                  </a:lnTo>
                  <a:lnTo>
                    <a:pt x="313" y="348"/>
                  </a:lnTo>
                  <a:lnTo>
                    <a:pt x="313" y="346"/>
                  </a:lnTo>
                  <a:lnTo>
                    <a:pt x="311" y="346"/>
                  </a:lnTo>
                  <a:lnTo>
                    <a:pt x="311" y="344"/>
                  </a:lnTo>
                  <a:lnTo>
                    <a:pt x="311" y="342"/>
                  </a:lnTo>
                  <a:lnTo>
                    <a:pt x="311" y="342"/>
                  </a:lnTo>
                  <a:lnTo>
                    <a:pt x="310" y="342"/>
                  </a:lnTo>
                  <a:lnTo>
                    <a:pt x="308" y="342"/>
                  </a:lnTo>
                  <a:lnTo>
                    <a:pt x="308" y="342"/>
                  </a:lnTo>
                  <a:lnTo>
                    <a:pt x="306" y="342"/>
                  </a:lnTo>
                  <a:lnTo>
                    <a:pt x="306" y="341"/>
                  </a:lnTo>
                  <a:lnTo>
                    <a:pt x="304" y="341"/>
                  </a:lnTo>
                  <a:lnTo>
                    <a:pt x="303" y="341"/>
                  </a:lnTo>
                  <a:lnTo>
                    <a:pt x="303" y="339"/>
                  </a:lnTo>
                  <a:lnTo>
                    <a:pt x="303" y="337"/>
                  </a:lnTo>
                  <a:lnTo>
                    <a:pt x="301" y="337"/>
                  </a:lnTo>
                  <a:lnTo>
                    <a:pt x="301" y="336"/>
                  </a:lnTo>
                  <a:lnTo>
                    <a:pt x="301" y="334"/>
                  </a:lnTo>
                  <a:lnTo>
                    <a:pt x="299" y="334"/>
                  </a:lnTo>
                  <a:lnTo>
                    <a:pt x="298" y="334"/>
                  </a:lnTo>
                  <a:lnTo>
                    <a:pt x="296" y="334"/>
                  </a:lnTo>
                  <a:lnTo>
                    <a:pt x="296" y="332"/>
                  </a:lnTo>
                  <a:lnTo>
                    <a:pt x="296" y="330"/>
                  </a:lnTo>
                  <a:lnTo>
                    <a:pt x="296" y="330"/>
                  </a:lnTo>
                  <a:lnTo>
                    <a:pt x="294" y="330"/>
                  </a:lnTo>
                  <a:lnTo>
                    <a:pt x="294" y="329"/>
                  </a:lnTo>
                  <a:lnTo>
                    <a:pt x="294" y="327"/>
                  </a:lnTo>
                  <a:lnTo>
                    <a:pt x="296" y="327"/>
                  </a:lnTo>
                  <a:lnTo>
                    <a:pt x="296" y="327"/>
                  </a:lnTo>
                  <a:lnTo>
                    <a:pt x="294" y="327"/>
                  </a:lnTo>
                  <a:lnTo>
                    <a:pt x="294" y="325"/>
                  </a:lnTo>
                  <a:lnTo>
                    <a:pt x="294" y="323"/>
                  </a:lnTo>
                  <a:lnTo>
                    <a:pt x="296" y="323"/>
                  </a:lnTo>
                  <a:lnTo>
                    <a:pt x="296" y="322"/>
                  </a:lnTo>
                  <a:lnTo>
                    <a:pt x="294" y="322"/>
                  </a:lnTo>
                  <a:lnTo>
                    <a:pt x="294" y="320"/>
                  </a:lnTo>
                  <a:lnTo>
                    <a:pt x="292" y="320"/>
                  </a:lnTo>
                  <a:lnTo>
                    <a:pt x="291" y="318"/>
                  </a:lnTo>
                  <a:lnTo>
                    <a:pt x="289" y="318"/>
                  </a:lnTo>
                  <a:lnTo>
                    <a:pt x="289" y="317"/>
                  </a:lnTo>
                  <a:lnTo>
                    <a:pt x="287" y="315"/>
                  </a:lnTo>
                  <a:lnTo>
                    <a:pt x="287" y="313"/>
                  </a:lnTo>
                  <a:lnTo>
                    <a:pt x="285" y="313"/>
                  </a:lnTo>
                  <a:lnTo>
                    <a:pt x="285" y="311"/>
                  </a:lnTo>
                  <a:lnTo>
                    <a:pt x="285" y="311"/>
                  </a:lnTo>
                  <a:lnTo>
                    <a:pt x="285" y="310"/>
                  </a:lnTo>
                  <a:lnTo>
                    <a:pt x="285" y="308"/>
                  </a:lnTo>
                  <a:lnTo>
                    <a:pt x="285" y="306"/>
                  </a:lnTo>
                  <a:lnTo>
                    <a:pt x="284" y="306"/>
                  </a:lnTo>
                  <a:lnTo>
                    <a:pt x="282" y="306"/>
                  </a:lnTo>
                  <a:lnTo>
                    <a:pt x="282" y="305"/>
                  </a:lnTo>
                  <a:lnTo>
                    <a:pt x="282" y="303"/>
                  </a:lnTo>
                  <a:lnTo>
                    <a:pt x="284" y="303"/>
                  </a:lnTo>
                  <a:lnTo>
                    <a:pt x="284" y="301"/>
                  </a:lnTo>
                  <a:lnTo>
                    <a:pt x="284" y="299"/>
                  </a:lnTo>
                  <a:lnTo>
                    <a:pt x="282" y="299"/>
                  </a:lnTo>
                  <a:lnTo>
                    <a:pt x="282" y="298"/>
                  </a:lnTo>
                  <a:lnTo>
                    <a:pt x="282" y="296"/>
                  </a:lnTo>
                  <a:lnTo>
                    <a:pt x="280" y="296"/>
                  </a:lnTo>
                  <a:lnTo>
                    <a:pt x="282" y="296"/>
                  </a:lnTo>
                  <a:lnTo>
                    <a:pt x="282" y="294"/>
                  </a:lnTo>
                  <a:lnTo>
                    <a:pt x="282" y="293"/>
                  </a:lnTo>
                  <a:lnTo>
                    <a:pt x="280" y="293"/>
                  </a:lnTo>
                  <a:lnTo>
                    <a:pt x="280" y="291"/>
                  </a:lnTo>
                  <a:lnTo>
                    <a:pt x="280" y="291"/>
                  </a:lnTo>
                  <a:lnTo>
                    <a:pt x="277" y="291"/>
                  </a:lnTo>
                  <a:lnTo>
                    <a:pt x="275" y="291"/>
                  </a:lnTo>
                  <a:lnTo>
                    <a:pt x="261" y="291"/>
                  </a:lnTo>
                  <a:lnTo>
                    <a:pt x="258" y="291"/>
                  </a:lnTo>
                  <a:lnTo>
                    <a:pt x="251" y="291"/>
                  </a:lnTo>
                  <a:lnTo>
                    <a:pt x="241" y="289"/>
                  </a:lnTo>
                  <a:lnTo>
                    <a:pt x="237" y="289"/>
                  </a:lnTo>
                  <a:lnTo>
                    <a:pt x="236" y="289"/>
                  </a:lnTo>
                  <a:lnTo>
                    <a:pt x="236" y="289"/>
                  </a:lnTo>
                  <a:lnTo>
                    <a:pt x="232" y="289"/>
                  </a:lnTo>
                  <a:lnTo>
                    <a:pt x="230" y="289"/>
                  </a:lnTo>
                  <a:lnTo>
                    <a:pt x="227" y="289"/>
                  </a:lnTo>
                  <a:lnTo>
                    <a:pt x="224" y="289"/>
                  </a:lnTo>
                  <a:lnTo>
                    <a:pt x="205" y="289"/>
                  </a:lnTo>
                  <a:lnTo>
                    <a:pt x="203" y="289"/>
                  </a:lnTo>
                  <a:lnTo>
                    <a:pt x="199" y="289"/>
                  </a:lnTo>
                  <a:lnTo>
                    <a:pt x="198" y="289"/>
                  </a:lnTo>
                  <a:lnTo>
                    <a:pt x="193" y="289"/>
                  </a:lnTo>
                  <a:lnTo>
                    <a:pt x="191" y="289"/>
                  </a:lnTo>
                  <a:lnTo>
                    <a:pt x="191" y="289"/>
                  </a:lnTo>
                  <a:lnTo>
                    <a:pt x="189" y="289"/>
                  </a:lnTo>
                  <a:lnTo>
                    <a:pt x="184" y="289"/>
                  </a:lnTo>
                  <a:lnTo>
                    <a:pt x="182" y="289"/>
                  </a:lnTo>
                  <a:lnTo>
                    <a:pt x="179" y="289"/>
                  </a:lnTo>
                  <a:lnTo>
                    <a:pt x="172" y="289"/>
                  </a:lnTo>
                  <a:lnTo>
                    <a:pt x="167" y="289"/>
                  </a:lnTo>
                  <a:lnTo>
                    <a:pt x="165" y="289"/>
                  </a:lnTo>
                  <a:lnTo>
                    <a:pt x="163" y="289"/>
                  </a:lnTo>
                  <a:lnTo>
                    <a:pt x="160" y="289"/>
                  </a:lnTo>
                  <a:lnTo>
                    <a:pt x="156" y="289"/>
                  </a:lnTo>
                  <a:lnTo>
                    <a:pt x="155" y="289"/>
                  </a:lnTo>
                  <a:lnTo>
                    <a:pt x="151" y="289"/>
                  </a:lnTo>
                  <a:lnTo>
                    <a:pt x="144" y="289"/>
                  </a:lnTo>
                  <a:lnTo>
                    <a:pt x="144" y="289"/>
                  </a:lnTo>
                  <a:lnTo>
                    <a:pt x="143" y="289"/>
                  </a:lnTo>
                  <a:lnTo>
                    <a:pt x="139" y="289"/>
                  </a:lnTo>
                  <a:lnTo>
                    <a:pt x="136" y="287"/>
                  </a:lnTo>
                  <a:lnTo>
                    <a:pt x="131" y="287"/>
                  </a:lnTo>
                  <a:lnTo>
                    <a:pt x="129" y="287"/>
                  </a:lnTo>
                  <a:lnTo>
                    <a:pt x="127" y="287"/>
                  </a:lnTo>
                  <a:lnTo>
                    <a:pt x="122" y="287"/>
                  </a:lnTo>
                  <a:lnTo>
                    <a:pt x="120" y="287"/>
                  </a:lnTo>
                  <a:lnTo>
                    <a:pt x="119" y="287"/>
                  </a:lnTo>
                  <a:lnTo>
                    <a:pt x="115" y="287"/>
                  </a:lnTo>
                  <a:lnTo>
                    <a:pt x="113" y="287"/>
                  </a:lnTo>
                  <a:lnTo>
                    <a:pt x="110" y="287"/>
                  </a:lnTo>
                  <a:lnTo>
                    <a:pt x="105" y="287"/>
                  </a:lnTo>
                  <a:lnTo>
                    <a:pt x="100" y="287"/>
                  </a:lnTo>
                  <a:lnTo>
                    <a:pt x="100" y="287"/>
                  </a:lnTo>
                  <a:lnTo>
                    <a:pt x="98" y="287"/>
                  </a:lnTo>
                  <a:lnTo>
                    <a:pt x="82" y="286"/>
                  </a:lnTo>
                  <a:lnTo>
                    <a:pt x="74" y="286"/>
                  </a:lnTo>
                  <a:lnTo>
                    <a:pt x="72" y="286"/>
                  </a:lnTo>
                  <a:lnTo>
                    <a:pt x="69" y="286"/>
                  </a:lnTo>
                  <a:lnTo>
                    <a:pt x="67" y="286"/>
                  </a:lnTo>
                  <a:lnTo>
                    <a:pt x="64" y="286"/>
                  </a:lnTo>
                  <a:lnTo>
                    <a:pt x="62" y="286"/>
                  </a:lnTo>
                  <a:lnTo>
                    <a:pt x="52" y="284"/>
                  </a:lnTo>
                  <a:lnTo>
                    <a:pt x="48" y="284"/>
                  </a:lnTo>
                  <a:lnTo>
                    <a:pt x="39" y="284"/>
                  </a:lnTo>
                  <a:lnTo>
                    <a:pt x="38" y="284"/>
                  </a:lnTo>
                  <a:lnTo>
                    <a:pt x="34" y="284"/>
                  </a:lnTo>
                  <a:lnTo>
                    <a:pt x="31" y="284"/>
                  </a:lnTo>
                  <a:lnTo>
                    <a:pt x="24" y="284"/>
                  </a:lnTo>
                  <a:lnTo>
                    <a:pt x="10" y="282"/>
                  </a:lnTo>
                  <a:lnTo>
                    <a:pt x="9" y="282"/>
                  </a:lnTo>
                  <a:lnTo>
                    <a:pt x="7" y="282"/>
                  </a:lnTo>
                  <a:lnTo>
                    <a:pt x="7" y="277"/>
                  </a:lnTo>
                  <a:lnTo>
                    <a:pt x="7" y="275"/>
                  </a:lnTo>
                  <a:lnTo>
                    <a:pt x="9" y="267"/>
                  </a:lnTo>
                  <a:lnTo>
                    <a:pt x="9" y="263"/>
                  </a:lnTo>
                  <a:lnTo>
                    <a:pt x="9" y="262"/>
                  </a:lnTo>
                  <a:lnTo>
                    <a:pt x="9" y="260"/>
                  </a:lnTo>
                  <a:lnTo>
                    <a:pt x="9" y="256"/>
                  </a:lnTo>
                  <a:lnTo>
                    <a:pt x="9" y="251"/>
                  </a:lnTo>
                  <a:lnTo>
                    <a:pt x="9" y="246"/>
                  </a:lnTo>
                  <a:lnTo>
                    <a:pt x="9" y="236"/>
                  </a:lnTo>
                  <a:lnTo>
                    <a:pt x="9" y="231"/>
                  </a:lnTo>
                  <a:lnTo>
                    <a:pt x="9" y="224"/>
                  </a:lnTo>
                  <a:lnTo>
                    <a:pt x="9" y="222"/>
                  </a:lnTo>
                  <a:lnTo>
                    <a:pt x="9" y="220"/>
                  </a:lnTo>
                  <a:lnTo>
                    <a:pt x="9" y="217"/>
                  </a:lnTo>
                  <a:lnTo>
                    <a:pt x="9" y="212"/>
                  </a:lnTo>
                  <a:lnTo>
                    <a:pt x="9" y="210"/>
                  </a:lnTo>
                  <a:lnTo>
                    <a:pt x="9" y="208"/>
                  </a:lnTo>
                  <a:lnTo>
                    <a:pt x="9" y="207"/>
                  </a:lnTo>
                  <a:lnTo>
                    <a:pt x="9" y="196"/>
                  </a:lnTo>
                  <a:lnTo>
                    <a:pt x="9" y="194"/>
                  </a:lnTo>
                  <a:lnTo>
                    <a:pt x="9" y="193"/>
                  </a:lnTo>
                  <a:lnTo>
                    <a:pt x="9" y="191"/>
                  </a:lnTo>
                  <a:lnTo>
                    <a:pt x="9" y="186"/>
                  </a:lnTo>
                  <a:lnTo>
                    <a:pt x="10" y="176"/>
                  </a:lnTo>
                  <a:lnTo>
                    <a:pt x="10" y="176"/>
                  </a:lnTo>
                  <a:lnTo>
                    <a:pt x="10" y="169"/>
                  </a:lnTo>
                  <a:lnTo>
                    <a:pt x="10" y="167"/>
                  </a:lnTo>
                  <a:lnTo>
                    <a:pt x="10" y="162"/>
                  </a:lnTo>
                  <a:lnTo>
                    <a:pt x="10" y="158"/>
                  </a:lnTo>
                  <a:lnTo>
                    <a:pt x="10" y="151"/>
                  </a:lnTo>
                  <a:lnTo>
                    <a:pt x="10" y="148"/>
                  </a:lnTo>
                  <a:lnTo>
                    <a:pt x="10" y="146"/>
                  </a:lnTo>
                  <a:lnTo>
                    <a:pt x="12" y="139"/>
                  </a:lnTo>
                  <a:lnTo>
                    <a:pt x="12" y="136"/>
                  </a:lnTo>
                  <a:lnTo>
                    <a:pt x="12" y="133"/>
                  </a:lnTo>
                  <a:lnTo>
                    <a:pt x="12" y="127"/>
                  </a:lnTo>
                  <a:lnTo>
                    <a:pt x="12" y="126"/>
                  </a:lnTo>
                  <a:lnTo>
                    <a:pt x="12" y="120"/>
                  </a:lnTo>
                  <a:lnTo>
                    <a:pt x="12" y="119"/>
                  </a:lnTo>
                  <a:lnTo>
                    <a:pt x="12" y="117"/>
                  </a:lnTo>
                  <a:lnTo>
                    <a:pt x="12" y="112"/>
                  </a:lnTo>
                  <a:lnTo>
                    <a:pt x="14" y="103"/>
                  </a:lnTo>
                  <a:lnTo>
                    <a:pt x="14" y="102"/>
                  </a:lnTo>
                  <a:lnTo>
                    <a:pt x="14" y="102"/>
                  </a:lnTo>
                  <a:lnTo>
                    <a:pt x="14" y="100"/>
                  </a:lnTo>
                  <a:lnTo>
                    <a:pt x="14" y="86"/>
                  </a:lnTo>
                  <a:lnTo>
                    <a:pt x="14" y="79"/>
                  </a:lnTo>
                  <a:lnTo>
                    <a:pt x="14" y="74"/>
                  </a:lnTo>
                  <a:lnTo>
                    <a:pt x="14" y="69"/>
                  </a:lnTo>
                  <a:lnTo>
                    <a:pt x="15" y="65"/>
                  </a:lnTo>
                  <a:lnTo>
                    <a:pt x="12" y="65"/>
                  </a:lnTo>
                  <a:lnTo>
                    <a:pt x="10" y="65"/>
                  </a:lnTo>
                  <a:lnTo>
                    <a:pt x="5" y="65"/>
                  </a:lnTo>
                  <a:lnTo>
                    <a:pt x="2" y="65"/>
                  </a:lnTo>
                  <a:lnTo>
                    <a:pt x="0" y="65"/>
                  </a:lnTo>
                  <a:lnTo>
                    <a:pt x="2" y="60"/>
                  </a:lnTo>
                  <a:lnTo>
                    <a:pt x="2" y="59"/>
                  </a:lnTo>
                  <a:lnTo>
                    <a:pt x="2" y="57"/>
                  </a:lnTo>
                  <a:lnTo>
                    <a:pt x="2" y="55"/>
                  </a:lnTo>
                  <a:lnTo>
                    <a:pt x="2" y="41"/>
                  </a:lnTo>
                  <a:lnTo>
                    <a:pt x="2" y="40"/>
                  </a:lnTo>
                  <a:lnTo>
                    <a:pt x="2" y="38"/>
                  </a:lnTo>
                  <a:lnTo>
                    <a:pt x="2" y="34"/>
                  </a:lnTo>
                  <a:lnTo>
                    <a:pt x="2" y="31"/>
                  </a:lnTo>
                  <a:lnTo>
                    <a:pt x="3" y="29"/>
                  </a:lnTo>
                  <a:lnTo>
                    <a:pt x="3" y="28"/>
                  </a:lnTo>
                  <a:lnTo>
                    <a:pt x="3" y="26"/>
                  </a:lnTo>
                  <a:lnTo>
                    <a:pt x="3" y="26"/>
                  </a:lnTo>
                  <a:lnTo>
                    <a:pt x="3" y="24"/>
                  </a:lnTo>
                  <a:lnTo>
                    <a:pt x="3" y="21"/>
                  </a:lnTo>
                  <a:lnTo>
                    <a:pt x="3" y="19"/>
                  </a:lnTo>
                  <a:lnTo>
                    <a:pt x="3" y="17"/>
                  </a:lnTo>
                  <a:lnTo>
                    <a:pt x="3" y="16"/>
                  </a:lnTo>
                  <a:lnTo>
                    <a:pt x="3" y="14"/>
                  </a:lnTo>
                  <a:lnTo>
                    <a:pt x="3" y="10"/>
                  </a:lnTo>
                  <a:lnTo>
                    <a:pt x="3" y="9"/>
                  </a:lnTo>
                  <a:lnTo>
                    <a:pt x="5" y="9"/>
                  </a:lnTo>
                  <a:lnTo>
                    <a:pt x="5" y="7"/>
                  </a:lnTo>
                  <a:lnTo>
                    <a:pt x="7" y="5"/>
                  </a:lnTo>
                  <a:lnTo>
                    <a:pt x="9" y="4"/>
                  </a:lnTo>
                  <a:lnTo>
                    <a:pt x="9" y="4"/>
                  </a:lnTo>
                  <a:lnTo>
                    <a:pt x="10" y="4"/>
                  </a:lnTo>
                  <a:lnTo>
                    <a:pt x="10" y="2"/>
                  </a:lnTo>
                  <a:lnTo>
                    <a:pt x="12" y="2"/>
                  </a:lnTo>
                  <a:lnTo>
                    <a:pt x="14" y="2"/>
                  </a:lnTo>
                  <a:lnTo>
                    <a:pt x="15" y="0"/>
                  </a:lnTo>
                  <a:lnTo>
                    <a:pt x="17" y="2"/>
                  </a:lnTo>
                  <a:lnTo>
                    <a:pt x="19" y="2"/>
                  </a:lnTo>
                  <a:lnTo>
                    <a:pt x="19" y="0"/>
                  </a:lnTo>
                  <a:lnTo>
                    <a:pt x="21" y="0"/>
                  </a:lnTo>
                  <a:lnTo>
                    <a:pt x="22" y="0"/>
                  </a:lnTo>
                  <a:lnTo>
                    <a:pt x="24" y="0"/>
                  </a:lnTo>
                  <a:lnTo>
                    <a:pt x="24" y="2"/>
                  </a:lnTo>
                  <a:lnTo>
                    <a:pt x="24" y="2"/>
                  </a:lnTo>
                  <a:lnTo>
                    <a:pt x="26" y="4"/>
                  </a:lnTo>
                  <a:lnTo>
                    <a:pt x="26" y="5"/>
                  </a:lnTo>
                  <a:lnTo>
                    <a:pt x="27" y="5"/>
                  </a:lnTo>
                  <a:lnTo>
                    <a:pt x="27" y="7"/>
                  </a:lnTo>
                  <a:lnTo>
                    <a:pt x="27" y="9"/>
                  </a:lnTo>
                  <a:lnTo>
                    <a:pt x="29" y="9"/>
                  </a:lnTo>
                  <a:lnTo>
                    <a:pt x="29" y="10"/>
                  </a:lnTo>
                  <a:lnTo>
                    <a:pt x="29" y="10"/>
                  </a:lnTo>
                  <a:lnTo>
                    <a:pt x="29" y="12"/>
                  </a:lnTo>
                  <a:lnTo>
                    <a:pt x="31" y="12"/>
                  </a:lnTo>
                  <a:lnTo>
                    <a:pt x="31" y="14"/>
                  </a:lnTo>
                  <a:lnTo>
                    <a:pt x="33" y="16"/>
                  </a:lnTo>
                  <a:lnTo>
                    <a:pt x="34" y="16"/>
                  </a:lnTo>
                  <a:lnTo>
                    <a:pt x="34" y="17"/>
                  </a:lnTo>
                  <a:lnTo>
                    <a:pt x="36" y="17"/>
                  </a:lnTo>
                  <a:lnTo>
                    <a:pt x="39" y="19"/>
                  </a:lnTo>
                  <a:lnTo>
                    <a:pt x="39" y="21"/>
                  </a:lnTo>
                  <a:lnTo>
                    <a:pt x="39" y="22"/>
                  </a:lnTo>
                  <a:lnTo>
                    <a:pt x="41" y="24"/>
                  </a:lnTo>
                  <a:lnTo>
                    <a:pt x="41" y="26"/>
                  </a:lnTo>
                  <a:lnTo>
                    <a:pt x="43" y="26"/>
                  </a:lnTo>
                  <a:lnTo>
                    <a:pt x="45" y="29"/>
                  </a:lnTo>
                  <a:lnTo>
                    <a:pt x="45" y="31"/>
                  </a:lnTo>
                  <a:lnTo>
                    <a:pt x="46" y="33"/>
                  </a:lnTo>
                  <a:lnTo>
                    <a:pt x="46" y="36"/>
                  </a:lnTo>
                  <a:lnTo>
                    <a:pt x="48" y="38"/>
                  </a:lnTo>
                  <a:lnTo>
                    <a:pt x="50" y="40"/>
                  </a:lnTo>
                  <a:lnTo>
                    <a:pt x="52" y="40"/>
                  </a:lnTo>
                  <a:lnTo>
                    <a:pt x="53" y="40"/>
                  </a:lnTo>
                  <a:lnTo>
                    <a:pt x="55" y="40"/>
                  </a:lnTo>
                  <a:lnTo>
                    <a:pt x="55" y="40"/>
                  </a:lnTo>
                  <a:lnTo>
                    <a:pt x="57" y="40"/>
                  </a:lnTo>
                  <a:lnTo>
                    <a:pt x="58" y="40"/>
                  </a:lnTo>
                  <a:lnTo>
                    <a:pt x="60" y="40"/>
                  </a:lnTo>
                  <a:lnTo>
                    <a:pt x="60" y="40"/>
                  </a:lnTo>
                  <a:lnTo>
                    <a:pt x="60" y="41"/>
                  </a:lnTo>
                  <a:lnTo>
                    <a:pt x="60" y="43"/>
                  </a:lnTo>
                  <a:lnTo>
                    <a:pt x="60" y="45"/>
                  </a:lnTo>
                  <a:lnTo>
                    <a:pt x="60" y="47"/>
                  </a:lnTo>
                  <a:lnTo>
                    <a:pt x="58" y="47"/>
                  </a:lnTo>
                  <a:lnTo>
                    <a:pt x="57" y="47"/>
                  </a:lnTo>
                  <a:lnTo>
                    <a:pt x="55" y="47"/>
                  </a:lnTo>
                  <a:lnTo>
                    <a:pt x="55" y="47"/>
                  </a:lnTo>
                  <a:lnTo>
                    <a:pt x="53" y="47"/>
                  </a:lnTo>
                  <a:lnTo>
                    <a:pt x="52" y="47"/>
                  </a:lnTo>
                  <a:lnTo>
                    <a:pt x="50" y="47"/>
                  </a:lnTo>
                  <a:lnTo>
                    <a:pt x="48" y="47"/>
                  </a:lnTo>
                  <a:lnTo>
                    <a:pt x="46" y="47"/>
                  </a:lnTo>
                  <a:lnTo>
                    <a:pt x="45" y="47"/>
                  </a:lnTo>
                  <a:lnTo>
                    <a:pt x="43" y="47"/>
                  </a:lnTo>
                  <a:lnTo>
                    <a:pt x="41" y="48"/>
                  </a:lnTo>
                  <a:lnTo>
                    <a:pt x="39" y="48"/>
                  </a:lnTo>
                  <a:lnTo>
                    <a:pt x="39" y="50"/>
                  </a:lnTo>
                  <a:lnTo>
                    <a:pt x="39" y="50"/>
                  </a:lnTo>
                  <a:lnTo>
                    <a:pt x="39" y="52"/>
                  </a:lnTo>
                  <a:lnTo>
                    <a:pt x="38" y="55"/>
                  </a:lnTo>
                  <a:lnTo>
                    <a:pt x="38" y="55"/>
                  </a:lnTo>
                  <a:lnTo>
                    <a:pt x="38" y="57"/>
                  </a:lnTo>
                  <a:lnTo>
                    <a:pt x="39" y="59"/>
                  </a:lnTo>
                  <a:lnTo>
                    <a:pt x="39" y="60"/>
                  </a:lnTo>
                  <a:lnTo>
                    <a:pt x="39" y="62"/>
                  </a:lnTo>
                  <a:lnTo>
                    <a:pt x="41" y="62"/>
                  </a:lnTo>
                  <a:lnTo>
                    <a:pt x="43" y="64"/>
                  </a:lnTo>
                  <a:lnTo>
                    <a:pt x="45" y="64"/>
                  </a:lnTo>
                  <a:lnTo>
                    <a:pt x="46" y="65"/>
                  </a:lnTo>
                  <a:lnTo>
                    <a:pt x="52" y="65"/>
                  </a:lnTo>
                  <a:lnTo>
                    <a:pt x="53" y="65"/>
                  </a:lnTo>
                  <a:lnTo>
                    <a:pt x="55" y="65"/>
                  </a:lnTo>
                  <a:lnTo>
                    <a:pt x="57" y="64"/>
                  </a:lnTo>
                  <a:lnTo>
                    <a:pt x="58" y="62"/>
                  </a:lnTo>
                  <a:lnTo>
                    <a:pt x="60" y="60"/>
                  </a:lnTo>
                  <a:lnTo>
                    <a:pt x="60" y="59"/>
                  </a:lnTo>
                  <a:lnTo>
                    <a:pt x="60" y="57"/>
                  </a:lnTo>
                  <a:lnTo>
                    <a:pt x="62" y="55"/>
                  </a:lnTo>
                  <a:lnTo>
                    <a:pt x="62" y="55"/>
                  </a:lnTo>
                  <a:lnTo>
                    <a:pt x="64" y="52"/>
                  </a:lnTo>
                  <a:lnTo>
                    <a:pt x="65" y="50"/>
                  </a:lnTo>
                  <a:lnTo>
                    <a:pt x="67" y="48"/>
                  </a:lnTo>
                  <a:lnTo>
                    <a:pt x="67" y="47"/>
                  </a:lnTo>
                  <a:lnTo>
                    <a:pt x="69" y="45"/>
                  </a:lnTo>
                  <a:lnTo>
                    <a:pt x="69" y="43"/>
                  </a:lnTo>
                  <a:lnTo>
                    <a:pt x="69" y="40"/>
                  </a:lnTo>
                  <a:lnTo>
                    <a:pt x="69" y="40"/>
                  </a:lnTo>
                  <a:lnTo>
                    <a:pt x="70" y="38"/>
                  </a:lnTo>
                  <a:lnTo>
                    <a:pt x="70" y="36"/>
                  </a:lnTo>
                  <a:lnTo>
                    <a:pt x="72" y="36"/>
                  </a:lnTo>
                  <a:lnTo>
                    <a:pt x="72" y="34"/>
                  </a:lnTo>
                  <a:lnTo>
                    <a:pt x="72" y="33"/>
                  </a:lnTo>
                  <a:lnTo>
                    <a:pt x="74" y="33"/>
                  </a:lnTo>
                  <a:lnTo>
                    <a:pt x="74" y="31"/>
                  </a:lnTo>
                  <a:lnTo>
                    <a:pt x="76" y="31"/>
                  </a:lnTo>
                  <a:lnTo>
                    <a:pt x="76" y="29"/>
                  </a:lnTo>
                  <a:lnTo>
                    <a:pt x="77" y="29"/>
                  </a:lnTo>
                  <a:lnTo>
                    <a:pt x="79" y="31"/>
                  </a:lnTo>
                  <a:lnTo>
                    <a:pt x="81" y="33"/>
                  </a:lnTo>
                  <a:lnTo>
                    <a:pt x="82" y="33"/>
                  </a:lnTo>
                  <a:lnTo>
                    <a:pt x="84" y="33"/>
                  </a:lnTo>
                  <a:lnTo>
                    <a:pt x="84" y="33"/>
                  </a:lnTo>
                  <a:lnTo>
                    <a:pt x="84" y="34"/>
                  </a:lnTo>
                  <a:lnTo>
                    <a:pt x="88" y="34"/>
                  </a:lnTo>
                  <a:lnTo>
                    <a:pt x="88" y="36"/>
                  </a:lnTo>
                  <a:lnTo>
                    <a:pt x="89" y="36"/>
                  </a:lnTo>
                  <a:lnTo>
                    <a:pt x="89" y="38"/>
                  </a:lnTo>
                  <a:lnTo>
                    <a:pt x="91" y="40"/>
                  </a:lnTo>
                  <a:lnTo>
                    <a:pt x="91" y="40"/>
                  </a:lnTo>
                  <a:lnTo>
                    <a:pt x="93" y="40"/>
                  </a:lnTo>
                  <a:lnTo>
                    <a:pt x="91" y="40"/>
                  </a:lnTo>
                  <a:lnTo>
                    <a:pt x="91" y="41"/>
                  </a:lnTo>
                  <a:lnTo>
                    <a:pt x="91" y="43"/>
                  </a:lnTo>
                  <a:lnTo>
                    <a:pt x="91" y="45"/>
                  </a:lnTo>
                  <a:lnTo>
                    <a:pt x="89" y="45"/>
                  </a:lnTo>
                  <a:lnTo>
                    <a:pt x="89" y="47"/>
                  </a:lnTo>
                  <a:lnTo>
                    <a:pt x="88" y="47"/>
                  </a:lnTo>
                  <a:lnTo>
                    <a:pt x="88" y="48"/>
                  </a:lnTo>
                  <a:lnTo>
                    <a:pt x="86" y="48"/>
                  </a:lnTo>
                  <a:lnTo>
                    <a:pt x="86" y="50"/>
                  </a:lnTo>
                  <a:lnTo>
                    <a:pt x="84" y="50"/>
                  </a:lnTo>
                  <a:lnTo>
                    <a:pt x="84" y="50"/>
                  </a:lnTo>
                  <a:lnTo>
                    <a:pt x="84" y="52"/>
                  </a:lnTo>
                  <a:lnTo>
                    <a:pt x="82" y="52"/>
                  </a:lnTo>
                  <a:lnTo>
                    <a:pt x="81" y="52"/>
                  </a:lnTo>
                  <a:lnTo>
                    <a:pt x="79" y="52"/>
                  </a:lnTo>
                  <a:lnTo>
                    <a:pt x="77" y="52"/>
                  </a:lnTo>
                  <a:lnTo>
                    <a:pt x="76" y="52"/>
                  </a:lnTo>
                  <a:lnTo>
                    <a:pt x="76" y="53"/>
                  </a:lnTo>
                  <a:lnTo>
                    <a:pt x="74" y="53"/>
                  </a:lnTo>
                  <a:lnTo>
                    <a:pt x="74" y="55"/>
                  </a:lnTo>
                  <a:lnTo>
                    <a:pt x="74" y="55"/>
                  </a:lnTo>
                  <a:lnTo>
                    <a:pt x="72" y="55"/>
                  </a:lnTo>
                  <a:lnTo>
                    <a:pt x="72" y="57"/>
                  </a:lnTo>
                  <a:lnTo>
                    <a:pt x="77" y="57"/>
                  </a:lnTo>
                  <a:lnTo>
                    <a:pt x="79" y="57"/>
                  </a:lnTo>
                  <a:lnTo>
                    <a:pt x="84" y="57"/>
                  </a:lnTo>
                  <a:lnTo>
                    <a:pt x="86" y="57"/>
                  </a:lnTo>
                  <a:lnTo>
                    <a:pt x="88" y="57"/>
                  </a:lnTo>
                  <a:lnTo>
                    <a:pt x="95" y="57"/>
                  </a:lnTo>
                  <a:lnTo>
                    <a:pt x="100" y="57"/>
                  </a:lnTo>
                  <a:lnTo>
                    <a:pt x="101" y="57"/>
                  </a:lnTo>
                  <a:lnTo>
                    <a:pt x="110" y="59"/>
                  </a:lnTo>
                  <a:lnTo>
                    <a:pt x="112" y="59"/>
                  </a:lnTo>
                  <a:lnTo>
                    <a:pt x="115" y="59"/>
                  </a:lnTo>
                  <a:lnTo>
                    <a:pt x="120" y="59"/>
                  </a:lnTo>
                  <a:lnTo>
                    <a:pt x="124" y="59"/>
                  </a:lnTo>
                  <a:lnTo>
                    <a:pt x="127" y="59"/>
                  </a:lnTo>
                  <a:lnTo>
                    <a:pt x="129" y="59"/>
                  </a:lnTo>
                  <a:lnTo>
                    <a:pt x="131" y="59"/>
                  </a:lnTo>
                  <a:lnTo>
                    <a:pt x="134" y="59"/>
                  </a:lnTo>
                  <a:lnTo>
                    <a:pt x="139" y="60"/>
                  </a:lnTo>
                  <a:lnTo>
                    <a:pt x="141" y="60"/>
                  </a:lnTo>
                  <a:lnTo>
                    <a:pt x="144" y="60"/>
                  </a:lnTo>
                  <a:lnTo>
                    <a:pt x="146" y="60"/>
                  </a:lnTo>
                  <a:lnTo>
                    <a:pt x="148" y="60"/>
                  </a:lnTo>
                  <a:lnTo>
                    <a:pt x="150" y="60"/>
                  </a:lnTo>
                  <a:lnTo>
                    <a:pt x="151" y="60"/>
                  </a:lnTo>
                  <a:lnTo>
                    <a:pt x="153" y="60"/>
                  </a:lnTo>
                  <a:lnTo>
                    <a:pt x="158" y="60"/>
                  </a:lnTo>
                  <a:lnTo>
                    <a:pt x="160" y="60"/>
                  </a:lnTo>
                  <a:lnTo>
                    <a:pt x="162" y="60"/>
                  </a:lnTo>
                  <a:lnTo>
                    <a:pt x="165" y="60"/>
                  </a:lnTo>
                  <a:lnTo>
                    <a:pt x="168" y="62"/>
                  </a:lnTo>
                  <a:lnTo>
                    <a:pt x="174" y="62"/>
                  </a:lnTo>
                  <a:lnTo>
                    <a:pt x="175" y="62"/>
                  </a:lnTo>
                  <a:lnTo>
                    <a:pt x="179" y="62"/>
                  </a:lnTo>
                  <a:lnTo>
                    <a:pt x="182" y="62"/>
                  </a:lnTo>
                  <a:lnTo>
                    <a:pt x="184" y="62"/>
                  </a:lnTo>
                  <a:lnTo>
                    <a:pt x="186" y="62"/>
                  </a:lnTo>
                  <a:lnTo>
                    <a:pt x="187" y="62"/>
                  </a:lnTo>
                  <a:lnTo>
                    <a:pt x="191" y="62"/>
                  </a:lnTo>
                  <a:lnTo>
                    <a:pt x="191" y="62"/>
                  </a:lnTo>
                  <a:lnTo>
                    <a:pt x="193" y="62"/>
                  </a:lnTo>
                  <a:lnTo>
                    <a:pt x="193" y="60"/>
                  </a:lnTo>
                  <a:lnTo>
                    <a:pt x="193" y="59"/>
                  </a:lnTo>
                  <a:lnTo>
                    <a:pt x="193" y="57"/>
                  </a:lnTo>
                  <a:lnTo>
                    <a:pt x="193" y="55"/>
                  </a:lnTo>
                  <a:lnTo>
                    <a:pt x="193" y="55"/>
                  </a:lnTo>
                  <a:lnTo>
                    <a:pt x="194" y="55"/>
                  </a:lnTo>
                  <a:lnTo>
                    <a:pt x="194" y="53"/>
                  </a:lnTo>
                  <a:lnTo>
                    <a:pt x="196" y="52"/>
                  </a:lnTo>
                  <a:lnTo>
                    <a:pt x="196" y="50"/>
                  </a:lnTo>
                  <a:lnTo>
                    <a:pt x="196" y="48"/>
                  </a:lnTo>
                  <a:lnTo>
                    <a:pt x="196" y="47"/>
                  </a:lnTo>
                  <a:lnTo>
                    <a:pt x="196" y="45"/>
                  </a:lnTo>
                  <a:lnTo>
                    <a:pt x="198" y="45"/>
                  </a:lnTo>
                  <a:lnTo>
                    <a:pt x="198" y="43"/>
                  </a:lnTo>
                  <a:lnTo>
                    <a:pt x="199" y="43"/>
                  </a:lnTo>
                  <a:lnTo>
                    <a:pt x="201" y="41"/>
                  </a:lnTo>
                  <a:lnTo>
                    <a:pt x="203" y="41"/>
                  </a:lnTo>
                  <a:lnTo>
                    <a:pt x="203" y="40"/>
                  </a:lnTo>
                  <a:lnTo>
                    <a:pt x="205" y="40"/>
                  </a:lnTo>
                  <a:lnTo>
                    <a:pt x="205" y="40"/>
                  </a:lnTo>
                  <a:lnTo>
                    <a:pt x="205" y="40"/>
                  </a:lnTo>
                  <a:lnTo>
                    <a:pt x="206" y="40"/>
                  </a:lnTo>
                  <a:lnTo>
                    <a:pt x="206" y="38"/>
                  </a:lnTo>
                  <a:lnTo>
                    <a:pt x="208" y="38"/>
                  </a:lnTo>
                  <a:lnTo>
                    <a:pt x="210" y="38"/>
                  </a:lnTo>
                  <a:lnTo>
                    <a:pt x="211" y="38"/>
                  </a:lnTo>
                  <a:lnTo>
                    <a:pt x="213" y="38"/>
                  </a:lnTo>
                  <a:lnTo>
                    <a:pt x="215" y="38"/>
                  </a:lnTo>
                  <a:lnTo>
                    <a:pt x="217" y="38"/>
                  </a:lnTo>
                  <a:lnTo>
                    <a:pt x="217" y="40"/>
                  </a:lnTo>
                  <a:lnTo>
                    <a:pt x="218" y="40"/>
                  </a:lnTo>
                  <a:lnTo>
                    <a:pt x="220" y="40"/>
                  </a:lnTo>
                  <a:lnTo>
                    <a:pt x="220" y="40"/>
                  </a:lnTo>
                  <a:lnTo>
                    <a:pt x="222" y="40"/>
                  </a:lnTo>
                  <a:lnTo>
                    <a:pt x="224" y="40"/>
                  </a:lnTo>
                  <a:lnTo>
                    <a:pt x="224" y="38"/>
                  </a:lnTo>
                  <a:lnTo>
                    <a:pt x="225" y="38"/>
                  </a:lnTo>
                  <a:lnTo>
                    <a:pt x="225" y="36"/>
                  </a:lnTo>
                  <a:lnTo>
                    <a:pt x="227" y="36"/>
                  </a:lnTo>
                  <a:lnTo>
                    <a:pt x="229" y="36"/>
                  </a:lnTo>
                  <a:lnTo>
                    <a:pt x="230" y="36"/>
                  </a:lnTo>
                  <a:lnTo>
                    <a:pt x="232" y="38"/>
                  </a:lnTo>
                  <a:lnTo>
                    <a:pt x="234" y="38"/>
                  </a:lnTo>
                  <a:lnTo>
                    <a:pt x="236" y="38"/>
                  </a:lnTo>
                </a:path>
              </a:pathLst>
            </a:custGeom>
            <a:solidFill>
              <a:srgbClr val="FF7C80"/>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6" name="Freeform 202"/>
            <p:cNvSpPr>
              <a:spLocks/>
            </p:cNvSpPr>
            <p:nvPr/>
          </p:nvSpPr>
          <p:spPr bwMode="auto">
            <a:xfrm>
              <a:off x="4102984" y="3801856"/>
              <a:ext cx="549275" cy="481013"/>
            </a:xfrm>
            <a:custGeom>
              <a:avLst/>
              <a:gdLst/>
              <a:ahLst/>
              <a:cxnLst>
                <a:cxn ang="0">
                  <a:pos x="29" y="2"/>
                </a:cxn>
                <a:cxn ang="0">
                  <a:pos x="41" y="3"/>
                </a:cxn>
                <a:cxn ang="0">
                  <a:pos x="62" y="3"/>
                </a:cxn>
                <a:cxn ang="0">
                  <a:pos x="84" y="5"/>
                </a:cxn>
                <a:cxn ang="0">
                  <a:pos x="105" y="5"/>
                </a:cxn>
                <a:cxn ang="0">
                  <a:pos x="133" y="7"/>
                </a:cxn>
                <a:cxn ang="0">
                  <a:pos x="162" y="9"/>
                </a:cxn>
                <a:cxn ang="0">
                  <a:pos x="177" y="10"/>
                </a:cxn>
                <a:cxn ang="0">
                  <a:pos x="191" y="10"/>
                </a:cxn>
                <a:cxn ang="0">
                  <a:pos x="201" y="10"/>
                </a:cxn>
                <a:cxn ang="0">
                  <a:pos x="224" y="12"/>
                </a:cxn>
                <a:cxn ang="0">
                  <a:pos x="246" y="12"/>
                </a:cxn>
                <a:cxn ang="0">
                  <a:pos x="260" y="14"/>
                </a:cxn>
                <a:cxn ang="0">
                  <a:pos x="277" y="14"/>
                </a:cxn>
                <a:cxn ang="0">
                  <a:pos x="305" y="15"/>
                </a:cxn>
                <a:cxn ang="0">
                  <a:pos x="305" y="2"/>
                </a:cxn>
                <a:cxn ang="0">
                  <a:pos x="320" y="10"/>
                </a:cxn>
                <a:cxn ang="0">
                  <a:pos x="332" y="10"/>
                </a:cxn>
                <a:cxn ang="0">
                  <a:pos x="335" y="17"/>
                </a:cxn>
                <a:cxn ang="0">
                  <a:pos x="346" y="43"/>
                </a:cxn>
                <a:cxn ang="0">
                  <a:pos x="344" y="57"/>
                </a:cxn>
                <a:cxn ang="0">
                  <a:pos x="344" y="67"/>
                </a:cxn>
                <a:cxn ang="0">
                  <a:pos x="342" y="96"/>
                </a:cxn>
                <a:cxn ang="0">
                  <a:pos x="342" y="108"/>
                </a:cxn>
                <a:cxn ang="0">
                  <a:pos x="341" y="122"/>
                </a:cxn>
                <a:cxn ang="0">
                  <a:pos x="339" y="153"/>
                </a:cxn>
                <a:cxn ang="0">
                  <a:pos x="339" y="174"/>
                </a:cxn>
                <a:cxn ang="0">
                  <a:pos x="337" y="203"/>
                </a:cxn>
                <a:cxn ang="0">
                  <a:pos x="335" y="229"/>
                </a:cxn>
                <a:cxn ang="0">
                  <a:pos x="313" y="236"/>
                </a:cxn>
                <a:cxn ang="0">
                  <a:pos x="301" y="241"/>
                </a:cxn>
                <a:cxn ang="0">
                  <a:pos x="301" y="263"/>
                </a:cxn>
                <a:cxn ang="0">
                  <a:pos x="299" y="303"/>
                </a:cxn>
                <a:cxn ang="0">
                  <a:pos x="272" y="301"/>
                </a:cxn>
                <a:cxn ang="0">
                  <a:pos x="258" y="299"/>
                </a:cxn>
                <a:cxn ang="0">
                  <a:pos x="241" y="299"/>
                </a:cxn>
                <a:cxn ang="0">
                  <a:pos x="225" y="299"/>
                </a:cxn>
                <a:cxn ang="0">
                  <a:pos x="196" y="298"/>
                </a:cxn>
                <a:cxn ang="0">
                  <a:pos x="176" y="296"/>
                </a:cxn>
                <a:cxn ang="0">
                  <a:pos x="160" y="296"/>
                </a:cxn>
                <a:cxn ang="0">
                  <a:pos x="153" y="285"/>
                </a:cxn>
                <a:cxn ang="0">
                  <a:pos x="155" y="255"/>
                </a:cxn>
                <a:cxn ang="0">
                  <a:pos x="122" y="249"/>
                </a:cxn>
                <a:cxn ang="0">
                  <a:pos x="108" y="248"/>
                </a:cxn>
                <a:cxn ang="0">
                  <a:pos x="90" y="248"/>
                </a:cxn>
                <a:cxn ang="0">
                  <a:pos x="65" y="246"/>
                </a:cxn>
                <a:cxn ang="0">
                  <a:pos x="38" y="244"/>
                </a:cxn>
                <a:cxn ang="0">
                  <a:pos x="7" y="244"/>
                </a:cxn>
                <a:cxn ang="0">
                  <a:pos x="0" y="230"/>
                </a:cxn>
                <a:cxn ang="0">
                  <a:pos x="2" y="217"/>
                </a:cxn>
                <a:cxn ang="0">
                  <a:pos x="2" y="198"/>
                </a:cxn>
                <a:cxn ang="0">
                  <a:pos x="4" y="167"/>
                </a:cxn>
                <a:cxn ang="0">
                  <a:pos x="4" y="153"/>
                </a:cxn>
                <a:cxn ang="0">
                  <a:pos x="4" y="131"/>
                </a:cxn>
                <a:cxn ang="0">
                  <a:pos x="5" y="108"/>
                </a:cxn>
                <a:cxn ang="0">
                  <a:pos x="7" y="70"/>
                </a:cxn>
                <a:cxn ang="0">
                  <a:pos x="9" y="48"/>
                </a:cxn>
                <a:cxn ang="0">
                  <a:pos x="10" y="26"/>
                </a:cxn>
                <a:cxn ang="0">
                  <a:pos x="12" y="2"/>
                </a:cxn>
              </a:cxnLst>
              <a:rect l="0" t="0" r="r" b="b"/>
              <a:pathLst>
                <a:path w="346" h="303">
                  <a:moveTo>
                    <a:pt x="12" y="2"/>
                  </a:moveTo>
                  <a:lnTo>
                    <a:pt x="14" y="2"/>
                  </a:lnTo>
                  <a:lnTo>
                    <a:pt x="21" y="2"/>
                  </a:lnTo>
                  <a:lnTo>
                    <a:pt x="22" y="2"/>
                  </a:lnTo>
                  <a:lnTo>
                    <a:pt x="28" y="2"/>
                  </a:lnTo>
                  <a:lnTo>
                    <a:pt x="29" y="2"/>
                  </a:lnTo>
                  <a:lnTo>
                    <a:pt x="33" y="2"/>
                  </a:lnTo>
                  <a:lnTo>
                    <a:pt x="34" y="3"/>
                  </a:lnTo>
                  <a:lnTo>
                    <a:pt x="36" y="3"/>
                  </a:lnTo>
                  <a:lnTo>
                    <a:pt x="38" y="3"/>
                  </a:lnTo>
                  <a:lnTo>
                    <a:pt x="40" y="3"/>
                  </a:lnTo>
                  <a:lnTo>
                    <a:pt x="41" y="3"/>
                  </a:lnTo>
                  <a:lnTo>
                    <a:pt x="47" y="3"/>
                  </a:lnTo>
                  <a:lnTo>
                    <a:pt x="48" y="3"/>
                  </a:lnTo>
                  <a:lnTo>
                    <a:pt x="50" y="3"/>
                  </a:lnTo>
                  <a:lnTo>
                    <a:pt x="52" y="3"/>
                  </a:lnTo>
                  <a:lnTo>
                    <a:pt x="55" y="3"/>
                  </a:lnTo>
                  <a:lnTo>
                    <a:pt x="62" y="3"/>
                  </a:lnTo>
                  <a:lnTo>
                    <a:pt x="64" y="3"/>
                  </a:lnTo>
                  <a:lnTo>
                    <a:pt x="65" y="3"/>
                  </a:lnTo>
                  <a:lnTo>
                    <a:pt x="77" y="5"/>
                  </a:lnTo>
                  <a:lnTo>
                    <a:pt x="77" y="5"/>
                  </a:lnTo>
                  <a:lnTo>
                    <a:pt x="83" y="5"/>
                  </a:lnTo>
                  <a:lnTo>
                    <a:pt x="84" y="5"/>
                  </a:lnTo>
                  <a:lnTo>
                    <a:pt x="90" y="5"/>
                  </a:lnTo>
                  <a:lnTo>
                    <a:pt x="93" y="5"/>
                  </a:lnTo>
                  <a:lnTo>
                    <a:pt x="96" y="5"/>
                  </a:lnTo>
                  <a:lnTo>
                    <a:pt x="98" y="5"/>
                  </a:lnTo>
                  <a:lnTo>
                    <a:pt x="100" y="5"/>
                  </a:lnTo>
                  <a:lnTo>
                    <a:pt x="105" y="5"/>
                  </a:lnTo>
                  <a:lnTo>
                    <a:pt x="107" y="7"/>
                  </a:lnTo>
                  <a:lnTo>
                    <a:pt x="110" y="7"/>
                  </a:lnTo>
                  <a:lnTo>
                    <a:pt x="114" y="7"/>
                  </a:lnTo>
                  <a:lnTo>
                    <a:pt x="117" y="7"/>
                  </a:lnTo>
                  <a:lnTo>
                    <a:pt x="129" y="7"/>
                  </a:lnTo>
                  <a:lnTo>
                    <a:pt x="133" y="7"/>
                  </a:lnTo>
                  <a:lnTo>
                    <a:pt x="134" y="7"/>
                  </a:lnTo>
                  <a:lnTo>
                    <a:pt x="139" y="7"/>
                  </a:lnTo>
                  <a:lnTo>
                    <a:pt x="139" y="7"/>
                  </a:lnTo>
                  <a:lnTo>
                    <a:pt x="145" y="9"/>
                  </a:lnTo>
                  <a:lnTo>
                    <a:pt x="146" y="9"/>
                  </a:lnTo>
                  <a:lnTo>
                    <a:pt x="162" y="9"/>
                  </a:lnTo>
                  <a:lnTo>
                    <a:pt x="163" y="9"/>
                  </a:lnTo>
                  <a:lnTo>
                    <a:pt x="167" y="9"/>
                  </a:lnTo>
                  <a:lnTo>
                    <a:pt x="169" y="9"/>
                  </a:lnTo>
                  <a:lnTo>
                    <a:pt x="170" y="10"/>
                  </a:lnTo>
                  <a:lnTo>
                    <a:pt x="172" y="10"/>
                  </a:lnTo>
                  <a:lnTo>
                    <a:pt x="177" y="10"/>
                  </a:lnTo>
                  <a:lnTo>
                    <a:pt x="181" y="10"/>
                  </a:lnTo>
                  <a:lnTo>
                    <a:pt x="182" y="10"/>
                  </a:lnTo>
                  <a:lnTo>
                    <a:pt x="184" y="10"/>
                  </a:lnTo>
                  <a:lnTo>
                    <a:pt x="188" y="10"/>
                  </a:lnTo>
                  <a:lnTo>
                    <a:pt x="189" y="10"/>
                  </a:lnTo>
                  <a:lnTo>
                    <a:pt x="191" y="10"/>
                  </a:lnTo>
                  <a:lnTo>
                    <a:pt x="193" y="10"/>
                  </a:lnTo>
                  <a:lnTo>
                    <a:pt x="194" y="10"/>
                  </a:lnTo>
                  <a:lnTo>
                    <a:pt x="196" y="10"/>
                  </a:lnTo>
                  <a:lnTo>
                    <a:pt x="198" y="10"/>
                  </a:lnTo>
                  <a:lnTo>
                    <a:pt x="200" y="10"/>
                  </a:lnTo>
                  <a:lnTo>
                    <a:pt x="201" y="10"/>
                  </a:lnTo>
                  <a:lnTo>
                    <a:pt x="210" y="12"/>
                  </a:lnTo>
                  <a:lnTo>
                    <a:pt x="212" y="12"/>
                  </a:lnTo>
                  <a:lnTo>
                    <a:pt x="215" y="12"/>
                  </a:lnTo>
                  <a:lnTo>
                    <a:pt x="217" y="12"/>
                  </a:lnTo>
                  <a:lnTo>
                    <a:pt x="220" y="12"/>
                  </a:lnTo>
                  <a:lnTo>
                    <a:pt x="224" y="12"/>
                  </a:lnTo>
                  <a:lnTo>
                    <a:pt x="225" y="12"/>
                  </a:lnTo>
                  <a:lnTo>
                    <a:pt x="234" y="12"/>
                  </a:lnTo>
                  <a:lnTo>
                    <a:pt x="237" y="12"/>
                  </a:lnTo>
                  <a:lnTo>
                    <a:pt x="239" y="12"/>
                  </a:lnTo>
                  <a:lnTo>
                    <a:pt x="244" y="12"/>
                  </a:lnTo>
                  <a:lnTo>
                    <a:pt x="246" y="12"/>
                  </a:lnTo>
                  <a:lnTo>
                    <a:pt x="251" y="14"/>
                  </a:lnTo>
                  <a:lnTo>
                    <a:pt x="253" y="14"/>
                  </a:lnTo>
                  <a:lnTo>
                    <a:pt x="255" y="14"/>
                  </a:lnTo>
                  <a:lnTo>
                    <a:pt x="258" y="14"/>
                  </a:lnTo>
                  <a:lnTo>
                    <a:pt x="260" y="14"/>
                  </a:lnTo>
                  <a:lnTo>
                    <a:pt x="260" y="14"/>
                  </a:lnTo>
                  <a:lnTo>
                    <a:pt x="262" y="14"/>
                  </a:lnTo>
                  <a:lnTo>
                    <a:pt x="263" y="14"/>
                  </a:lnTo>
                  <a:lnTo>
                    <a:pt x="268" y="14"/>
                  </a:lnTo>
                  <a:lnTo>
                    <a:pt x="274" y="14"/>
                  </a:lnTo>
                  <a:lnTo>
                    <a:pt x="275" y="14"/>
                  </a:lnTo>
                  <a:lnTo>
                    <a:pt x="277" y="14"/>
                  </a:lnTo>
                  <a:lnTo>
                    <a:pt x="279" y="14"/>
                  </a:lnTo>
                  <a:lnTo>
                    <a:pt x="286" y="14"/>
                  </a:lnTo>
                  <a:lnTo>
                    <a:pt x="287" y="15"/>
                  </a:lnTo>
                  <a:lnTo>
                    <a:pt x="299" y="15"/>
                  </a:lnTo>
                  <a:lnTo>
                    <a:pt x="301" y="15"/>
                  </a:lnTo>
                  <a:lnTo>
                    <a:pt x="305" y="15"/>
                  </a:lnTo>
                  <a:lnTo>
                    <a:pt x="305" y="15"/>
                  </a:lnTo>
                  <a:lnTo>
                    <a:pt x="310" y="15"/>
                  </a:lnTo>
                  <a:lnTo>
                    <a:pt x="303" y="3"/>
                  </a:lnTo>
                  <a:lnTo>
                    <a:pt x="303" y="2"/>
                  </a:lnTo>
                  <a:lnTo>
                    <a:pt x="305" y="2"/>
                  </a:lnTo>
                  <a:lnTo>
                    <a:pt x="305" y="2"/>
                  </a:lnTo>
                  <a:lnTo>
                    <a:pt x="305" y="2"/>
                  </a:lnTo>
                  <a:lnTo>
                    <a:pt x="306" y="0"/>
                  </a:lnTo>
                  <a:lnTo>
                    <a:pt x="308" y="0"/>
                  </a:lnTo>
                  <a:lnTo>
                    <a:pt x="308" y="2"/>
                  </a:lnTo>
                  <a:lnTo>
                    <a:pt x="310" y="2"/>
                  </a:lnTo>
                  <a:lnTo>
                    <a:pt x="320" y="10"/>
                  </a:lnTo>
                  <a:lnTo>
                    <a:pt x="322" y="10"/>
                  </a:lnTo>
                  <a:lnTo>
                    <a:pt x="323" y="10"/>
                  </a:lnTo>
                  <a:lnTo>
                    <a:pt x="327" y="10"/>
                  </a:lnTo>
                  <a:lnTo>
                    <a:pt x="329" y="10"/>
                  </a:lnTo>
                  <a:lnTo>
                    <a:pt x="330" y="10"/>
                  </a:lnTo>
                  <a:lnTo>
                    <a:pt x="332" y="10"/>
                  </a:lnTo>
                  <a:lnTo>
                    <a:pt x="335" y="10"/>
                  </a:lnTo>
                  <a:lnTo>
                    <a:pt x="337" y="10"/>
                  </a:lnTo>
                  <a:lnTo>
                    <a:pt x="337" y="12"/>
                  </a:lnTo>
                  <a:lnTo>
                    <a:pt x="337" y="14"/>
                  </a:lnTo>
                  <a:lnTo>
                    <a:pt x="335" y="15"/>
                  </a:lnTo>
                  <a:lnTo>
                    <a:pt x="335" y="17"/>
                  </a:lnTo>
                  <a:lnTo>
                    <a:pt x="337" y="17"/>
                  </a:lnTo>
                  <a:lnTo>
                    <a:pt x="339" y="17"/>
                  </a:lnTo>
                  <a:lnTo>
                    <a:pt x="344" y="17"/>
                  </a:lnTo>
                  <a:lnTo>
                    <a:pt x="346" y="17"/>
                  </a:lnTo>
                  <a:lnTo>
                    <a:pt x="346" y="24"/>
                  </a:lnTo>
                  <a:lnTo>
                    <a:pt x="346" y="43"/>
                  </a:lnTo>
                  <a:lnTo>
                    <a:pt x="346" y="45"/>
                  </a:lnTo>
                  <a:lnTo>
                    <a:pt x="344" y="50"/>
                  </a:lnTo>
                  <a:lnTo>
                    <a:pt x="344" y="52"/>
                  </a:lnTo>
                  <a:lnTo>
                    <a:pt x="344" y="53"/>
                  </a:lnTo>
                  <a:lnTo>
                    <a:pt x="344" y="55"/>
                  </a:lnTo>
                  <a:lnTo>
                    <a:pt x="344" y="57"/>
                  </a:lnTo>
                  <a:lnTo>
                    <a:pt x="344" y="58"/>
                  </a:lnTo>
                  <a:lnTo>
                    <a:pt x="344" y="60"/>
                  </a:lnTo>
                  <a:lnTo>
                    <a:pt x="344" y="64"/>
                  </a:lnTo>
                  <a:lnTo>
                    <a:pt x="344" y="64"/>
                  </a:lnTo>
                  <a:lnTo>
                    <a:pt x="344" y="65"/>
                  </a:lnTo>
                  <a:lnTo>
                    <a:pt x="344" y="67"/>
                  </a:lnTo>
                  <a:lnTo>
                    <a:pt x="344" y="70"/>
                  </a:lnTo>
                  <a:lnTo>
                    <a:pt x="344" y="74"/>
                  </a:lnTo>
                  <a:lnTo>
                    <a:pt x="342" y="77"/>
                  </a:lnTo>
                  <a:lnTo>
                    <a:pt x="342" y="86"/>
                  </a:lnTo>
                  <a:lnTo>
                    <a:pt x="342" y="88"/>
                  </a:lnTo>
                  <a:lnTo>
                    <a:pt x="342" y="96"/>
                  </a:lnTo>
                  <a:lnTo>
                    <a:pt x="342" y="98"/>
                  </a:lnTo>
                  <a:lnTo>
                    <a:pt x="342" y="100"/>
                  </a:lnTo>
                  <a:lnTo>
                    <a:pt x="342" y="103"/>
                  </a:lnTo>
                  <a:lnTo>
                    <a:pt x="342" y="105"/>
                  </a:lnTo>
                  <a:lnTo>
                    <a:pt x="342" y="107"/>
                  </a:lnTo>
                  <a:lnTo>
                    <a:pt x="342" y="108"/>
                  </a:lnTo>
                  <a:lnTo>
                    <a:pt x="342" y="110"/>
                  </a:lnTo>
                  <a:lnTo>
                    <a:pt x="341" y="113"/>
                  </a:lnTo>
                  <a:lnTo>
                    <a:pt x="341" y="117"/>
                  </a:lnTo>
                  <a:lnTo>
                    <a:pt x="341" y="119"/>
                  </a:lnTo>
                  <a:lnTo>
                    <a:pt x="341" y="120"/>
                  </a:lnTo>
                  <a:lnTo>
                    <a:pt x="341" y="122"/>
                  </a:lnTo>
                  <a:lnTo>
                    <a:pt x="341" y="124"/>
                  </a:lnTo>
                  <a:lnTo>
                    <a:pt x="341" y="124"/>
                  </a:lnTo>
                  <a:lnTo>
                    <a:pt x="341" y="127"/>
                  </a:lnTo>
                  <a:lnTo>
                    <a:pt x="341" y="144"/>
                  </a:lnTo>
                  <a:lnTo>
                    <a:pt x="339" y="150"/>
                  </a:lnTo>
                  <a:lnTo>
                    <a:pt x="339" y="153"/>
                  </a:lnTo>
                  <a:lnTo>
                    <a:pt x="339" y="158"/>
                  </a:lnTo>
                  <a:lnTo>
                    <a:pt x="339" y="163"/>
                  </a:lnTo>
                  <a:lnTo>
                    <a:pt x="339" y="165"/>
                  </a:lnTo>
                  <a:lnTo>
                    <a:pt x="339" y="169"/>
                  </a:lnTo>
                  <a:lnTo>
                    <a:pt x="339" y="170"/>
                  </a:lnTo>
                  <a:lnTo>
                    <a:pt x="339" y="174"/>
                  </a:lnTo>
                  <a:lnTo>
                    <a:pt x="339" y="175"/>
                  </a:lnTo>
                  <a:lnTo>
                    <a:pt x="337" y="186"/>
                  </a:lnTo>
                  <a:lnTo>
                    <a:pt x="337" y="194"/>
                  </a:lnTo>
                  <a:lnTo>
                    <a:pt x="337" y="196"/>
                  </a:lnTo>
                  <a:lnTo>
                    <a:pt x="337" y="199"/>
                  </a:lnTo>
                  <a:lnTo>
                    <a:pt x="337" y="203"/>
                  </a:lnTo>
                  <a:lnTo>
                    <a:pt x="337" y="205"/>
                  </a:lnTo>
                  <a:lnTo>
                    <a:pt x="335" y="213"/>
                  </a:lnTo>
                  <a:lnTo>
                    <a:pt x="335" y="217"/>
                  </a:lnTo>
                  <a:lnTo>
                    <a:pt x="335" y="222"/>
                  </a:lnTo>
                  <a:lnTo>
                    <a:pt x="335" y="225"/>
                  </a:lnTo>
                  <a:lnTo>
                    <a:pt x="335" y="229"/>
                  </a:lnTo>
                  <a:lnTo>
                    <a:pt x="335" y="232"/>
                  </a:lnTo>
                  <a:lnTo>
                    <a:pt x="335" y="236"/>
                  </a:lnTo>
                  <a:lnTo>
                    <a:pt x="323" y="236"/>
                  </a:lnTo>
                  <a:lnTo>
                    <a:pt x="320" y="236"/>
                  </a:lnTo>
                  <a:lnTo>
                    <a:pt x="318" y="236"/>
                  </a:lnTo>
                  <a:lnTo>
                    <a:pt x="313" y="236"/>
                  </a:lnTo>
                  <a:lnTo>
                    <a:pt x="310" y="236"/>
                  </a:lnTo>
                  <a:lnTo>
                    <a:pt x="305" y="234"/>
                  </a:lnTo>
                  <a:lnTo>
                    <a:pt x="305" y="234"/>
                  </a:lnTo>
                  <a:lnTo>
                    <a:pt x="303" y="234"/>
                  </a:lnTo>
                  <a:lnTo>
                    <a:pt x="301" y="239"/>
                  </a:lnTo>
                  <a:lnTo>
                    <a:pt x="301" y="241"/>
                  </a:lnTo>
                  <a:lnTo>
                    <a:pt x="301" y="242"/>
                  </a:lnTo>
                  <a:lnTo>
                    <a:pt x="301" y="244"/>
                  </a:lnTo>
                  <a:lnTo>
                    <a:pt x="301" y="244"/>
                  </a:lnTo>
                  <a:lnTo>
                    <a:pt x="301" y="255"/>
                  </a:lnTo>
                  <a:lnTo>
                    <a:pt x="301" y="258"/>
                  </a:lnTo>
                  <a:lnTo>
                    <a:pt x="301" y="263"/>
                  </a:lnTo>
                  <a:lnTo>
                    <a:pt x="301" y="265"/>
                  </a:lnTo>
                  <a:lnTo>
                    <a:pt x="301" y="268"/>
                  </a:lnTo>
                  <a:lnTo>
                    <a:pt x="299" y="282"/>
                  </a:lnTo>
                  <a:lnTo>
                    <a:pt x="299" y="289"/>
                  </a:lnTo>
                  <a:lnTo>
                    <a:pt x="299" y="299"/>
                  </a:lnTo>
                  <a:lnTo>
                    <a:pt x="299" y="303"/>
                  </a:lnTo>
                  <a:lnTo>
                    <a:pt x="294" y="301"/>
                  </a:lnTo>
                  <a:lnTo>
                    <a:pt x="291" y="301"/>
                  </a:lnTo>
                  <a:lnTo>
                    <a:pt x="289" y="301"/>
                  </a:lnTo>
                  <a:lnTo>
                    <a:pt x="282" y="301"/>
                  </a:lnTo>
                  <a:lnTo>
                    <a:pt x="275" y="301"/>
                  </a:lnTo>
                  <a:lnTo>
                    <a:pt x="272" y="301"/>
                  </a:lnTo>
                  <a:lnTo>
                    <a:pt x="270" y="301"/>
                  </a:lnTo>
                  <a:lnTo>
                    <a:pt x="268" y="301"/>
                  </a:lnTo>
                  <a:lnTo>
                    <a:pt x="267" y="301"/>
                  </a:lnTo>
                  <a:lnTo>
                    <a:pt x="265" y="301"/>
                  </a:lnTo>
                  <a:lnTo>
                    <a:pt x="260" y="301"/>
                  </a:lnTo>
                  <a:lnTo>
                    <a:pt x="258" y="299"/>
                  </a:lnTo>
                  <a:lnTo>
                    <a:pt x="256" y="299"/>
                  </a:lnTo>
                  <a:lnTo>
                    <a:pt x="251" y="299"/>
                  </a:lnTo>
                  <a:lnTo>
                    <a:pt x="248" y="299"/>
                  </a:lnTo>
                  <a:lnTo>
                    <a:pt x="244" y="299"/>
                  </a:lnTo>
                  <a:lnTo>
                    <a:pt x="244" y="299"/>
                  </a:lnTo>
                  <a:lnTo>
                    <a:pt x="241" y="299"/>
                  </a:lnTo>
                  <a:lnTo>
                    <a:pt x="239" y="299"/>
                  </a:lnTo>
                  <a:lnTo>
                    <a:pt x="237" y="299"/>
                  </a:lnTo>
                  <a:lnTo>
                    <a:pt x="234" y="299"/>
                  </a:lnTo>
                  <a:lnTo>
                    <a:pt x="232" y="299"/>
                  </a:lnTo>
                  <a:lnTo>
                    <a:pt x="231" y="299"/>
                  </a:lnTo>
                  <a:lnTo>
                    <a:pt x="225" y="299"/>
                  </a:lnTo>
                  <a:lnTo>
                    <a:pt x="224" y="299"/>
                  </a:lnTo>
                  <a:lnTo>
                    <a:pt x="217" y="299"/>
                  </a:lnTo>
                  <a:lnTo>
                    <a:pt x="215" y="298"/>
                  </a:lnTo>
                  <a:lnTo>
                    <a:pt x="213" y="298"/>
                  </a:lnTo>
                  <a:lnTo>
                    <a:pt x="198" y="298"/>
                  </a:lnTo>
                  <a:lnTo>
                    <a:pt x="196" y="298"/>
                  </a:lnTo>
                  <a:lnTo>
                    <a:pt x="191" y="298"/>
                  </a:lnTo>
                  <a:lnTo>
                    <a:pt x="189" y="298"/>
                  </a:lnTo>
                  <a:lnTo>
                    <a:pt x="184" y="298"/>
                  </a:lnTo>
                  <a:lnTo>
                    <a:pt x="184" y="298"/>
                  </a:lnTo>
                  <a:lnTo>
                    <a:pt x="179" y="296"/>
                  </a:lnTo>
                  <a:lnTo>
                    <a:pt x="176" y="296"/>
                  </a:lnTo>
                  <a:lnTo>
                    <a:pt x="174" y="296"/>
                  </a:lnTo>
                  <a:lnTo>
                    <a:pt x="169" y="296"/>
                  </a:lnTo>
                  <a:lnTo>
                    <a:pt x="167" y="296"/>
                  </a:lnTo>
                  <a:lnTo>
                    <a:pt x="165" y="296"/>
                  </a:lnTo>
                  <a:lnTo>
                    <a:pt x="163" y="296"/>
                  </a:lnTo>
                  <a:lnTo>
                    <a:pt x="160" y="296"/>
                  </a:lnTo>
                  <a:lnTo>
                    <a:pt x="158" y="296"/>
                  </a:lnTo>
                  <a:lnTo>
                    <a:pt x="157" y="296"/>
                  </a:lnTo>
                  <a:lnTo>
                    <a:pt x="155" y="296"/>
                  </a:lnTo>
                  <a:lnTo>
                    <a:pt x="153" y="296"/>
                  </a:lnTo>
                  <a:lnTo>
                    <a:pt x="153" y="287"/>
                  </a:lnTo>
                  <a:lnTo>
                    <a:pt x="153" y="285"/>
                  </a:lnTo>
                  <a:lnTo>
                    <a:pt x="153" y="284"/>
                  </a:lnTo>
                  <a:lnTo>
                    <a:pt x="153" y="275"/>
                  </a:lnTo>
                  <a:lnTo>
                    <a:pt x="153" y="268"/>
                  </a:lnTo>
                  <a:lnTo>
                    <a:pt x="155" y="263"/>
                  </a:lnTo>
                  <a:lnTo>
                    <a:pt x="155" y="256"/>
                  </a:lnTo>
                  <a:lnTo>
                    <a:pt x="155" y="255"/>
                  </a:lnTo>
                  <a:lnTo>
                    <a:pt x="155" y="251"/>
                  </a:lnTo>
                  <a:lnTo>
                    <a:pt x="153" y="251"/>
                  </a:lnTo>
                  <a:lnTo>
                    <a:pt x="153" y="251"/>
                  </a:lnTo>
                  <a:lnTo>
                    <a:pt x="150" y="251"/>
                  </a:lnTo>
                  <a:lnTo>
                    <a:pt x="138" y="249"/>
                  </a:lnTo>
                  <a:lnTo>
                    <a:pt x="122" y="249"/>
                  </a:lnTo>
                  <a:lnTo>
                    <a:pt x="120" y="249"/>
                  </a:lnTo>
                  <a:lnTo>
                    <a:pt x="115" y="248"/>
                  </a:lnTo>
                  <a:lnTo>
                    <a:pt x="114" y="248"/>
                  </a:lnTo>
                  <a:lnTo>
                    <a:pt x="112" y="248"/>
                  </a:lnTo>
                  <a:lnTo>
                    <a:pt x="110" y="248"/>
                  </a:lnTo>
                  <a:lnTo>
                    <a:pt x="108" y="248"/>
                  </a:lnTo>
                  <a:lnTo>
                    <a:pt x="103" y="248"/>
                  </a:lnTo>
                  <a:lnTo>
                    <a:pt x="100" y="248"/>
                  </a:lnTo>
                  <a:lnTo>
                    <a:pt x="98" y="248"/>
                  </a:lnTo>
                  <a:lnTo>
                    <a:pt x="93" y="248"/>
                  </a:lnTo>
                  <a:lnTo>
                    <a:pt x="91" y="248"/>
                  </a:lnTo>
                  <a:lnTo>
                    <a:pt x="90" y="248"/>
                  </a:lnTo>
                  <a:lnTo>
                    <a:pt x="88" y="248"/>
                  </a:lnTo>
                  <a:lnTo>
                    <a:pt x="79" y="246"/>
                  </a:lnTo>
                  <a:lnTo>
                    <a:pt x="77" y="246"/>
                  </a:lnTo>
                  <a:lnTo>
                    <a:pt x="74" y="246"/>
                  </a:lnTo>
                  <a:lnTo>
                    <a:pt x="67" y="246"/>
                  </a:lnTo>
                  <a:lnTo>
                    <a:pt x="65" y="246"/>
                  </a:lnTo>
                  <a:lnTo>
                    <a:pt x="62" y="246"/>
                  </a:lnTo>
                  <a:lnTo>
                    <a:pt x="55" y="246"/>
                  </a:lnTo>
                  <a:lnTo>
                    <a:pt x="53" y="246"/>
                  </a:lnTo>
                  <a:lnTo>
                    <a:pt x="45" y="244"/>
                  </a:lnTo>
                  <a:lnTo>
                    <a:pt x="43" y="244"/>
                  </a:lnTo>
                  <a:lnTo>
                    <a:pt x="38" y="244"/>
                  </a:lnTo>
                  <a:lnTo>
                    <a:pt x="33" y="244"/>
                  </a:lnTo>
                  <a:lnTo>
                    <a:pt x="31" y="244"/>
                  </a:lnTo>
                  <a:lnTo>
                    <a:pt x="28" y="244"/>
                  </a:lnTo>
                  <a:lnTo>
                    <a:pt x="21" y="244"/>
                  </a:lnTo>
                  <a:lnTo>
                    <a:pt x="14" y="244"/>
                  </a:lnTo>
                  <a:lnTo>
                    <a:pt x="7" y="244"/>
                  </a:lnTo>
                  <a:lnTo>
                    <a:pt x="5" y="244"/>
                  </a:lnTo>
                  <a:lnTo>
                    <a:pt x="4" y="244"/>
                  </a:lnTo>
                  <a:lnTo>
                    <a:pt x="4" y="244"/>
                  </a:lnTo>
                  <a:lnTo>
                    <a:pt x="0" y="244"/>
                  </a:lnTo>
                  <a:lnTo>
                    <a:pt x="0" y="241"/>
                  </a:lnTo>
                  <a:lnTo>
                    <a:pt x="0" y="230"/>
                  </a:lnTo>
                  <a:lnTo>
                    <a:pt x="0" y="229"/>
                  </a:lnTo>
                  <a:lnTo>
                    <a:pt x="0" y="224"/>
                  </a:lnTo>
                  <a:lnTo>
                    <a:pt x="0" y="222"/>
                  </a:lnTo>
                  <a:lnTo>
                    <a:pt x="0" y="220"/>
                  </a:lnTo>
                  <a:lnTo>
                    <a:pt x="2" y="218"/>
                  </a:lnTo>
                  <a:lnTo>
                    <a:pt x="2" y="217"/>
                  </a:lnTo>
                  <a:lnTo>
                    <a:pt x="2" y="213"/>
                  </a:lnTo>
                  <a:lnTo>
                    <a:pt x="2" y="212"/>
                  </a:lnTo>
                  <a:lnTo>
                    <a:pt x="2" y="205"/>
                  </a:lnTo>
                  <a:lnTo>
                    <a:pt x="2" y="201"/>
                  </a:lnTo>
                  <a:lnTo>
                    <a:pt x="2" y="198"/>
                  </a:lnTo>
                  <a:lnTo>
                    <a:pt x="2" y="198"/>
                  </a:lnTo>
                  <a:lnTo>
                    <a:pt x="2" y="196"/>
                  </a:lnTo>
                  <a:lnTo>
                    <a:pt x="2" y="193"/>
                  </a:lnTo>
                  <a:lnTo>
                    <a:pt x="4" y="187"/>
                  </a:lnTo>
                  <a:lnTo>
                    <a:pt x="4" y="175"/>
                  </a:lnTo>
                  <a:lnTo>
                    <a:pt x="4" y="170"/>
                  </a:lnTo>
                  <a:lnTo>
                    <a:pt x="4" y="167"/>
                  </a:lnTo>
                  <a:lnTo>
                    <a:pt x="4" y="165"/>
                  </a:lnTo>
                  <a:lnTo>
                    <a:pt x="4" y="160"/>
                  </a:lnTo>
                  <a:lnTo>
                    <a:pt x="4" y="158"/>
                  </a:lnTo>
                  <a:lnTo>
                    <a:pt x="4" y="156"/>
                  </a:lnTo>
                  <a:lnTo>
                    <a:pt x="4" y="153"/>
                  </a:lnTo>
                  <a:lnTo>
                    <a:pt x="4" y="153"/>
                  </a:lnTo>
                  <a:lnTo>
                    <a:pt x="4" y="151"/>
                  </a:lnTo>
                  <a:lnTo>
                    <a:pt x="4" y="146"/>
                  </a:lnTo>
                  <a:lnTo>
                    <a:pt x="4" y="138"/>
                  </a:lnTo>
                  <a:lnTo>
                    <a:pt x="4" y="136"/>
                  </a:lnTo>
                  <a:lnTo>
                    <a:pt x="4" y="134"/>
                  </a:lnTo>
                  <a:lnTo>
                    <a:pt x="4" y="131"/>
                  </a:lnTo>
                  <a:lnTo>
                    <a:pt x="4" y="129"/>
                  </a:lnTo>
                  <a:lnTo>
                    <a:pt x="5" y="124"/>
                  </a:lnTo>
                  <a:lnTo>
                    <a:pt x="5" y="117"/>
                  </a:lnTo>
                  <a:lnTo>
                    <a:pt x="5" y="113"/>
                  </a:lnTo>
                  <a:lnTo>
                    <a:pt x="5" y="112"/>
                  </a:lnTo>
                  <a:lnTo>
                    <a:pt x="5" y="108"/>
                  </a:lnTo>
                  <a:lnTo>
                    <a:pt x="5" y="98"/>
                  </a:lnTo>
                  <a:lnTo>
                    <a:pt x="7" y="88"/>
                  </a:lnTo>
                  <a:lnTo>
                    <a:pt x="7" y="86"/>
                  </a:lnTo>
                  <a:lnTo>
                    <a:pt x="7" y="79"/>
                  </a:lnTo>
                  <a:lnTo>
                    <a:pt x="7" y="76"/>
                  </a:lnTo>
                  <a:lnTo>
                    <a:pt x="7" y="70"/>
                  </a:lnTo>
                  <a:lnTo>
                    <a:pt x="7" y="67"/>
                  </a:lnTo>
                  <a:lnTo>
                    <a:pt x="9" y="64"/>
                  </a:lnTo>
                  <a:lnTo>
                    <a:pt x="9" y="64"/>
                  </a:lnTo>
                  <a:lnTo>
                    <a:pt x="9" y="60"/>
                  </a:lnTo>
                  <a:lnTo>
                    <a:pt x="9" y="53"/>
                  </a:lnTo>
                  <a:lnTo>
                    <a:pt x="9" y="48"/>
                  </a:lnTo>
                  <a:lnTo>
                    <a:pt x="9" y="46"/>
                  </a:lnTo>
                  <a:lnTo>
                    <a:pt x="9" y="45"/>
                  </a:lnTo>
                  <a:lnTo>
                    <a:pt x="9" y="43"/>
                  </a:lnTo>
                  <a:lnTo>
                    <a:pt x="9" y="39"/>
                  </a:lnTo>
                  <a:lnTo>
                    <a:pt x="10" y="31"/>
                  </a:lnTo>
                  <a:lnTo>
                    <a:pt x="10" y="26"/>
                  </a:lnTo>
                  <a:lnTo>
                    <a:pt x="10" y="22"/>
                  </a:lnTo>
                  <a:lnTo>
                    <a:pt x="10" y="19"/>
                  </a:lnTo>
                  <a:lnTo>
                    <a:pt x="10" y="17"/>
                  </a:lnTo>
                  <a:lnTo>
                    <a:pt x="10" y="12"/>
                  </a:lnTo>
                  <a:lnTo>
                    <a:pt x="12" y="2"/>
                  </a:lnTo>
                  <a:lnTo>
                    <a:pt x="12" y="2"/>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7" name="Freeform 207"/>
            <p:cNvSpPr>
              <a:spLocks/>
            </p:cNvSpPr>
            <p:nvPr/>
          </p:nvSpPr>
          <p:spPr bwMode="auto">
            <a:xfrm>
              <a:off x="4576058" y="3981244"/>
              <a:ext cx="490538" cy="331788"/>
            </a:xfrm>
            <a:custGeom>
              <a:avLst/>
              <a:gdLst/>
              <a:ahLst/>
              <a:cxnLst>
                <a:cxn ang="0">
                  <a:pos x="309" y="25"/>
                </a:cxn>
                <a:cxn ang="0">
                  <a:pos x="308" y="45"/>
                </a:cxn>
                <a:cxn ang="0">
                  <a:pos x="308" y="66"/>
                </a:cxn>
                <a:cxn ang="0">
                  <a:pos x="308" y="85"/>
                </a:cxn>
                <a:cxn ang="0">
                  <a:pos x="308" y="111"/>
                </a:cxn>
                <a:cxn ang="0">
                  <a:pos x="306" y="131"/>
                </a:cxn>
                <a:cxn ang="0">
                  <a:pos x="290" y="131"/>
                </a:cxn>
                <a:cxn ang="0">
                  <a:pos x="273" y="131"/>
                </a:cxn>
                <a:cxn ang="0">
                  <a:pos x="249" y="131"/>
                </a:cxn>
                <a:cxn ang="0">
                  <a:pos x="239" y="133"/>
                </a:cxn>
                <a:cxn ang="0">
                  <a:pos x="237" y="159"/>
                </a:cxn>
                <a:cxn ang="0">
                  <a:pos x="235" y="193"/>
                </a:cxn>
                <a:cxn ang="0">
                  <a:pos x="235" y="209"/>
                </a:cxn>
                <a:cxn ang="0">
                  <a:pos x="204" y="207"/>
                </a:cxn>
                <a:cxn ang="0">
                  <a:pos x="187" y="207"/>
                </a:cxn>
                <a:cxn ang="0">
                  <a:pos x="177" y="207"/>
                </a:cxn>
                <a:cxn ang="0">
                  <a:pos x="148" y="205"/>
                </a:cxn>
                <a:cxn ang="0">
                  <a:pos x="134" y="205"/>
                </a:cxn>
                <a:cxn ang="0">
                  <a:pos x="123" y="205"/>
                </a:cxn>
                <a:cxn ang="0">
                  <a:pos x="111" y="205"/>
                </a:cxn>
                <a:cxn ang="0">
                  <a:pos x="99" y="205"/>
                </a:cxn>
                <a:cxn ang="0">
                  <a:pos x="86" y="203"/>
                </a:cxn>
                <a:cxn ang="0">
                  <a:pos x="68" y="203"/>
                </a:cxn>
                <a:cxn ang="0">
                  <a:pos x="44" y="202"/>
                </a:cxn>
                <a:cxn ang="0">
                  <a:pos x="32" y="202"/>
                </a:cxn>
                <a:cxn ang="0">
                  <a:pos x="10" y="200"/>
                </a:cxn>
                <a:cxn ang="0">
                  <a:pos x="0" y="197"/>
                </a:cxn>
                <a:cxn ang="0">
                  <a:pos x="1" y="176"/>
                </a:cxn>
                <a:cxn ang="0">
                  <a:pos x="3" y="145"/>
                </a:cxn>
                <a:cxn ang="0">
                  <a:pos x="3" y="128"/>
                </a:cxn>
                <a:cxn ang="0">
                  <a:pos x="12" y="123"/>
                </a:cxn>
                <a:cxn ang="0">
                  <a:pos x="37" y="123"/>
                </a:cxn>
                <a:cxn ang="0">
                  <a:pos x="37" y="104"/>
                </a:cxn>
                <a:cxn ang="0">
                  <a:pos x="39" y="83"/>
                </a:cxn>
                <a:cxn ang="0">
                  <a:pos x="41" y="57"/>
                </a:cxn>
                <a:cxn ang="0">
                  <a:pos x="41" y="40"/>
                </a:cxn>
                <a:cxn ang="0">
                  <a:pos x="43" y="11"/>
                </a:cxn>
                <a:cxn ang="0">
                  <a:pos x="43" y="0"/>
                </a:cxn>
                <a:cxn ang="0">
                  <a:pos x="56" y="0"/>
                </a:cxn>
                <a:cxn ang="0">
                  <a:pos x="77" y="2"/>
                </a:cxn>
                <a:cxn ang="0">
                  <a:pos x="87" y="2"/>
                </a:cxn>
                <a:cxn ang="0">
                  <a:pos x="117" y="4"/>
                </a:cxn>
                <a:cxn ang="0">
                  <a:pos x="129" y="4"/>
                </a:cxn>
                <a:cxn ang="0">
                  <a:pos x="146" y="6"/>
                </a:cxn>
                <a:cxn ang="0">
                  <a:pos x="160" y="6"/>
                </a:cxn>
                <a:cxn ang="0">
                  <a:pos x="187" y="7"/>
                </a:cxn>
                <a:cxn ang="0">
                  <a:pos x="203" y="7"/>
                </a:cxn>
                <a:cxn ang="0">
                  <a:pos x="218" y="7"/>
                </a:cxn>
                <a:cxn ang="0">
                  <a:pos x="240" y="9"/>
                </a:cxn>
                <a:cxn ang="0">
                  <a:pos x="265" y="9"/>
                </a:cxn>
                <a:cxn ang="0">
                  <a:pos x="309" y="11"/>
                </a:cxn>
              </a:cxnLst>
              <a:rect l="0" t="0" r="r" b="b"/>
              <a:pathLst>
                <a:path w="309" h="209">
                  <a:moveTo>
                    <a:pt x="309" y="11"/>
                  </a:moveTo>
                  <a:lnTo>
                    <a:pt x="309" y="16"/>
                  </a:lnTo>
                  <a:lnTo>
                    <a:pt x="309" y="18"/>
                  </a:lnTo>
                  <a:lnTo>
                    <a:pt x="309" y="25"/>
                  </a:lnTo>
                  <a:lnTo>
                    <a:pt x="309" y="25"/>
                  </a:lnTo>
                  <a:lnTo>
                    <a:pt x="308" y="35"/>
                  </a:lnTo>
                  <a:lnTo>
                    <a:pt x="308" y="40"/>
                  </a:lnTo>
                  <a:lnTo>
                    <a:pt x="308" y="42"/>
                  </a:lnTo>
                  <a:lnTo>
                    <a:pt x="308" y="43"/>
                  </a:lnTo>
                  <a:lnTo>
                    <a:pt x="308" y="45"/>
                  </a:lnTo>
                  <a:lnTo>
                    <a:pt x="308" y="56"/>
                  </a:lnTo>
                  <a:lnTo>
                    <a:pt x="308" y="57"/>
                  </a:lnTo>
                  <a:lnTo>
                    <a:pt x="308" y="59"/>
                  </a:lnTo>
                  <a:lnTo>
                    <a:pt x="308" y="61"/>
                  </a:lnTo>
                  <a:lnTo>
                    <a:pt x="308" y="66"/>
                  </a:lnTo>
                  <a:lnTo>
                    <a:pt x="308" y="69"/>
                  </a:lnTo>
                  <a:lnTo>
                    <a:pt x="308" y="71"/>
                  </a:lnTo>
                  <a:lnTo>
                    <a:pt x="308" y="73"/>
                  </a:lnTo>
                  <a:lnTo>
                    <a:pt x="308" y="80"/>
                  </a:lnTo>
                  <a:lnTo>
                    <a:pt x="308" y="85"/>
                  </a:lnTo>
                  <a:lnTo>
                    <a:pt x="308" y="95"/>
                  </a:lnTo>
                  <a:lnTo>
                    <a:pt x="308" y="100"/>
                  </a:lnTo>
                  <a:lnTo>
                    <a:pt x="308" y="105"/>
                  </a:lnTo>
                  <a:lnTo>
                    <a:pt x="308" y="109"/>
                  </a:lnTo>
                  <a:lnTo>
                    <a:pt x="308" y="111"/>
                  </a:lnTo>
                  <a:lnTo>
                    <a:pt x="308" y="112"/>
                  </a:lnTo>
                  <a:lnTo>
                    <a:pt x="308" y="116"/>
                  </a:lnTo>
                  <a:lnTo>
                    <a:pt x="306" y="124"/>
                  </a:lnTo>
                  <a:lnTo>
                    <a:pt x="306" y="126"/>
                  </a:lnTo>
                  <a:lnTo>
                    <a:pt x="306" y="131"/>
                  </a:lnTo>
                  <a:lnTo>
                    <a:pt x="301" y="131"/>
                  </a:lnTo>
                  <a:lnTo>
                    <a:pt x="297" y="131"/>
                  </a:lnTo>
                  <a:lnTo>
                    <a:pt x="294" y="131"/>
                  </a:lnTo>
                  <a:lnTo>
                    <a:pt x="292" y="131"/>
                  </a:lnTo>
                  <a:lnTo>
                    <a:pt x="290" y="131"/>
                  </a:lnTo>
                  <a:lnTo>
                    <a:pt x="289" y="131"/>
                  </a:lnTo>
                  <a:lnTo>
                    <a:pt x="287" y="131"/>
                  </a:lnTo>
                  <a:lnTo>
                    <a:pt x="280" y="131"/>
                  </a:lnTo>
                  <a:lnTo>
                    <a:pt x="275" y="131"/>
                  </a:lnTo>
                  <a:lnTo>
                    <a:pt x="273" y="131"/>
                  </a:lnTo>
                  <a:lnTo>
                    <a:pt x="271" y="131"/>
                  </a:lnTo>
                  <a:lnTo>
                    <a:pt x="265" y="131"/>
                  </a:lnTo>
                  <a:lnTo>
                    <a:pt x="261" y="131"/>
                  </a:lnTo>
                  <a:lnTo>
                    <a:pt x="252" y="131"/>
                  </a:lnTo>
                  <a:lnTo>
                    <a:pt x="249" y="131"/>
                  </a:lnTo>
                  <a:lnTo>
                    <a:pt x="247" y="131"/>
                  </a:lnTo>
                  <a:lnTo>
                    <a:pt x="242" y="131"/>
                  </a:lnTo>
                  <a:lnTo>
                    <a:pt x="240" y="131"/>
                  </a:lnTo>
                  <a:lnTo>
                    <a:pt x="239" y="131"/>
                  </a:lnTo>
                  <a:lnTo>
                    <a:pt x="239" y="133"/>
                  </a:lnTo>
                  <a:lnTo>
                    <a:pt x="237" y="142"/>
                  </a:lnTo>
                  <a:lnTo>
                    <a:pt x="237" y="147"/>
                  </a:lnTo>
                  <a:lnTo>
                    <a:pt x="237" y="154"/>
                  </a:lnTo>
                  <a:lnTo>
                    <a:pt x="237" y="157"/>
                  </a:lnTo>
                  <a:lnTo>
                    <a:pt x="237" y="159"/>
                  </a:lnTo>
                  <a:lnTo>
                    <a:pt x="237" y="164"/>
                  </a:lnTo>
                  <a:lnTo>
                    <a:pt x="237" y="171"/>
                  </a:lnTo>
                  <a:lnTo>
                    <a:pt x="235" y="176"/>
                  </a:lnTo>
                  <a:lnTo>
                    <a:pt x="235" y="186"/>
                  </a:lnTo>
                  <a:lnTo>
                    <a:pt x="235" y="193"/>
                  </a:lnTo>
                  <a:lnTo>
                    <a:pt x="235" y="198"/>
                  </a:lnTo>
                  <a:lnTo>
                    <a:pt x="235" y="200"/>
                  </a:lnTo>
                  <a:lnTo>
                    <a:pt x="235" y="203"/>
                  </a:lnTo>
                  <a:lnTo>
                    <a:pt x="235" y="207"/>
                  </a:lnTo>
                  <a:lnTo>
                    <a:pt x="235" y="209"/>
                  </a:lnTo>
                  <a:lnTo>
                    <a:pt x="227" y="209"/>
                  </a:lnTo>
                  <a:lnTo>
                    <a:pt x="223" y="209"/>
                  </a:lnTo>
                  <a:lnTo>
                    <a:pt x="216" y="209"/>
                  </a:lnTo>
                  <a:lnTo>
                    <a:pt x="209" y="207"/>
                  </a:lnTo>
                  <a:lnTo>
                    <a:pt x="204" y="207"/>
                  </a:lnTo>
                  <a:lnTo>
                    <a:pt x="203" y="207"/>
                  </a:lnTo>
                  <a:lnTo>
                    <a:pt x="201" y="207"/>
                  </a:lnTo>
                  <a:lnTo>
                    <a:pt x="197" y="207"/>
                  </a:lnTo>
                  <a:lnTo>
                    <a:pt x="196" y="207"/>
                  </a:lnTo>
                  <a:lnTo>
                    <a:pt x="187" y="207"/>
                  </a:lnTo>
                  <a:lnTo>
                    <a:pt x="187" y="207"/>
                  </a:lnTo>
                  <a:lnTo>
                    <a:pt x="184" y="207"/>
                  </a:lnTo>
                  <a:lnTo>
                    <a:pt x="182" y="207"/>
                  </a:lnTo>
                  <a:lnTo>
                    <a:pt x="179" y="207"/>
                  </a:lnTo>
                  <a:lnTo>
                    <a:pt x="177" y="207"/>
                  </a:lnTo>
                  <a:lnTo>
                    <a:pt x="172" y="207"/>
                  </a:lnTo>
                  <a:lnTo>
                    <a:pt x="168" y="207"/>
                  </a:lnTo>
                  <a:lnTo>
                    <a:pt x="158" y="205"/>
                  </a:lnTo>
                  <a:lnTo>
                    <a:pt x="154" y="205"/>
                  </a:lnTo>
                  <a:lnTo>
                    <a:pt x="148" y="205"/>
                  </a:lnTo>
                  <a:lnTo>
                    <a:pt x="144" y="205"/>
                  </a:lnTo>
                  <a:lnTo>
                    <a:pt x="142" y="205"/>
                  </a:lnTo>
                  <a:lnTo>
                    <a:pt x="142" y="205"/>
                  </a:lnTo>
                  <a:lnTo>
                    <a:pt x="137" y="205"/>
                  </a:lnTo>
                  <a:lnTo>
                    <a:pt x="134" y="205"/>
                  </a:lnTo>
                  <a:lnTo>
                    <a:pt x="129" y="205"/>
                  </a:lnTo>
                  <a:lnTo>
                    <a:pt x="127" y="205"/>
                  </a:lnTo>
                  <a:lnTo>
                    <a:pt x="127" y="205"/>
                  </a:lnTo>
                  <a:lnTo>
                    <a:pt x="125" y="205"/>
                  </a:lnTo>
                  <a:lnTo>
                    <a:pt x="123" y="205"/>
                  </a:lnTo>
                  <a:lnTo>
                    <a:pt x="122" y="205"/>
                  </a:lnTo>
                  <a:lnTo>
                    <a:pt x="118" y="205"/>
                  </a:lnTo>
                  <a:lnTo>
                    <a:pt x="117" y="205"/>
                  </a:lnTo>
                  <a:lnTo>
                    <a:pt x="115" y="205"/>
                  </a:lnTo>
                  <a:lnTo>
                    <a:pt x="111" y="205"/>
                  </a:lnTo>
                  <a:lnTo>
                    <a:pt x="108" y="205"/>
                  </a:lnTo>
                  <a:lnTo>
                    <a:pt x="106" y="205"/>
                  </a:lnTo>
                  <a:lnTo>
                    <a:pt x="103" y="205"/>
                  </a:lnTo>
                  <a:lnTo>
                    <a:pt x="101" y="205"/>
                  </a:lnTo>
                  <a:lnTo>
                    <a:pt x="99" y="205"/>
                  </a:lnTo>
                  <a:lnTo>
                    <a:pt x="99" y="203"/>
                  </a:lnTo>
                  <a:lnTo>
                    <a:pt x="98" y="203"/>
                  </a:lnTo>
                  <a:lnTo>
                    <a:pt x="96" y="203"/>
                  </a:lnTo>
                  <a:lnTo>
                    <a:pt x="94" y="203"/>
                  </a:lnTo>
                  <a:lnTo>
                    <a:pt x="86" y="203"/>
                  </a:lnTo>
                  <a:lnTo>
                    <a:pt x="84" y="203"/>
                  </a:lnTo>
                  <a:lnTo>
                    <a:pt x="75" y="203"/>
                  </a:lnTo>
                  <a:lnTo>
                    <a:pt x="72" y="203"/>
                  </a:lnTo>
                  <a:lnTo>
                    <a:pt x="70" y="203"/>
                  </a:lnTo>
                  <a:lnTo>
                    <a:pt x="68" y="203"/>
                  </a:lnTo>
                  <a:lnTo>
                    <a:pt x="65" y="203"/>
                  </a:lnTo>
                  <a:lnTo>
                    <a:pt x="62" y="202"/>
                  </a:lnTo>
                  <a:lnTo>
                    <a:pt x="55" y="202"/>
                  </a:lnTo>
                  <a:lnTo>
                    <a:pt x="51" y="202"/>
                  </a:lnTo>
                  <a:lnTo>
                    <a:pt x="44" y="202"/>
                  </a:lnTo>
                  <a:lnTo>
                    <a:pt x="43" y="202"/>
                  </a:lnTo>
                  <a:lnTo>
                    <a:pt x="41" y="202"/>
                  </a:lnTo>
                  <a:lnTo>
                    <a:pt x="39" y="202"/>
                  </a:lnTo>
                  <a:lnTo>
                    <a:pt x="37" y="202"/>
                  </a:lnTo>
                  <a:lnTo>
                    <a:pt x="32" y="202"/>
                  </a:lnTo>
                  <a:lnTo>
                    <a:pt x="29" y="202"/>
                  </a:lnTo>
                  <a:lnTo>
                    <a:pt x="27" y="202"/>
                  </a:lnTo>
                  <a:lnTo>
                    <a:pt x="24" y="202"/>
                  </a:lnTo>
                  <a:lnTo>
                    <a:pt x="13" y="200"/>
                  </a:lnTo>
                  <a:lnTo>
                    <a:pt x="10" y="200"/>
                  </a:lnTo>
                  <a:lnTo>
                    <a:pt x="7" y="200"/>
                  </a:lnTo>
                  <a:lnTo>
                    <a:pt x="7" y="200"/>
                  </a:lnTo>
                  <a:lnTo>
                    <a:pt x="3" y="200"/>
                  </a:lnTo>
                  <a:lnTo>
                    <a:pt x="0" y="200"/>
                  </a:lnTo>
                  <a:lnTo>
                    <a:pt x="0" y="197"/>
                  </a:lnTo>
                  <a:lnTo>
                    <a:pt x="0" y="193"/>
                  </a:lnTo>
                  <a:lnTo>
                    <a:pt x="0" y="190"/>
                  </a:lnTo>
                  <a:lnTo>
                    <a:pt x="1" y="190"/>
                  </a:lnTo>
                  <a:lnTo>
                    <a:pt x="1" y="186"/>
                  </a:lnTo>
                  <a:lnTo>
                    <a:pt x="1" y="176"/>
                  </a:lnTo>
                  <a:lnTo>
                    <a:pt x="1" y="169"/>
                  </a:lnTo>
                  <a:lnTo>
                    <a:pt x="3" y="155"/>
                  </a:lnTo>
                  <a:lnTo>
                    <a:pt x="3" y="152"/>
                  </a:lnTo>
                  <a:lnTo>
                    <a:pt x="3" y="150"/>
                  </a:lnTo>
                  <a:lnTo>
                    <a:pt x="3" y="145"/>
                  </a:lnTo>
                  <a:lnTo>
                    <a:pt x="3" y="142"/>
                  </a:lnTo>
                  <a:lnTo>
                    <a:pt x="3" y="131"/>
                  </a:lnTo>
                  <a:lnTo>
                    <a:pt x="3" y="131"/>
                  </a:lnTo>
                  <a:lnTo>
                    <a:pt x="3" y="129"/>
                  </a:lnTo>
                  <a:lnTo>
                    <a:pt x="3" y="128"/>
                  </a:lnTo>
                  <a:lnTo>
                    <a:pt x="3" y="126"/>
                  </a:lnTo>
                  <a:lnTo>
                    <a:pt x="5" y="121"/>
                  </a:lnTo>
                  <a:lnTo>
                    <a:pt x="7" y="121"/>
                  </a:lnTo>
                  <a:lnTo>
                    <a:pt x="7" y="121"/>
                  </a:lnTo>
                  <a:lnTo>
                    <a:pt x="12" y="123"/>
                  </a:lnTo>
                  <a:lnTo>
                    <a:pt x="15" y="123"/>
                  </a:lnTo>
                  <a:lnTo>
                    <a:pt x="20" y="123"/>
                  </a:lnTo>
                  <a:lnTo>
                    <a:pt x="22" y="123"/>
                  </a:lnTo>
                  <a:lnTo>
                    <a:pt x="25" y="123"/>
                  </a:lnTo>
                  <a:lnTo>
                    <a:pt x="37" y="123"/>
                  </a:lnTo>
                  <a:lnTo>
                    <a:pt x="37" y="119"/>
                  </a:lnTo>
                  <a:lnTo>
                    <a:pt x="37" y="116"/>
                  </a:lnTo>
                  <a:lnTo>
                    <a:pt x="37" y="112"/>
                  </a:lnTo>
                  <a:lnTo>
                    <a:pt x="37" y="109"/>
                  </a:lnTo>
                  <a:lnTo>
                    <a:pt x="37" y="104"/>
                  </a:lnTo>
                  <a:lnTo>
                    <a:pt x="37" y="100"/>
                  </a:lnTo>
                  <a:lnTo>
                    <a:pt x="39" y="92"/>
                  </a:lnTo>
                  <a:lnTo>
                    <a:pt x="39" y="90"/>
                  </a:lnTo>
                  <a:lnTo>
                    <a:pt x="39" y="86"/>
                  </a:lnTo>
                  <a:lnTo>
                    <a:pt x="39" y="83"/>
                  </a:lnTo>
                  <a:lnTo>
                    <a:pt x="39" y="81"/>
                  </a:lnTo>
                  <a:lnTo>
                    <a:pt x="39" y="73"/>
                  </a:lnTo>
                  <a:lnTo>
                    <a:pt x="41" y="62"/>
                  </a:lnTo>
                  <a:lnTo>
                    <a:pt x="41" y="61"/>
                  </a:lnTo>
                  <a:lnTo>
                    <a:pt x="41" y="57"/>
                  </a:lnTo>
                  <a:lnTo>
                    <a:pt x="41" y="56"/>
                  </a:lnTo>
                  <a:lnTo>
                    <a:pt x="41" y="52"/>
                  </a:lnTo>
                  <a:lnTo>
                    <a:pt x="41" y="50"/>
                  </a:lnTo>
                  <a:lnTo>
                    <a:pt x="41" y="45"/>
                  </a:lnTo>
                  <a:lnTo>
                    <a:pt x="41" y="40"/>
                  </a:lnTo>
                  <a:lnTo>
                    <a:pt x="41" y="37"/>
                  </a:lnTo>
                  <a:lnTo>
                    <a:pt x="43" y="31"/>
                  </a:lnTo>
                  <a:lnTo>
                    <a:pt x="43" y="14"/>
                  </a:lnTo>
                  <a:lnTo>
                    <a:pt x="43" y="11"/>
                  </a:lnTo>
                  <a:lnTo>
                    <a:pt x="43" y="11"/>
                  </a:lnTo>
                  <a:lnTo>
                    <a:pt x="43" y="9"/>
                  </a:lnTo>
                  <a:lnTo>
                    <a:pt x="43" y="7"/>
                  </a:lnTo>
                  <a:lnTo>
                    <a:pt x="43" y="6"/>
                  </a:lnTo>
                  <a:lnTo>
                    <a:pt x="43" y="4"/>
                  </a:lnTo>
                  <a:lnTo>
                    <a:pt x="43" y="0"/>
                  </a:lnTo>
                  <a:lnTo>
                    <a:pt x="44" y="0"/>
                  </a:lnTo>
                  <a:lnTo>
                    <a:pt x="46" y="0"/>
                  </a:lnTo>
                  <a:lnTo>
                    <a:pt x="48" y="0"/>
                  </a:lnTo>
                  <a:lnTo>
                    <a:pt x="51" y="0"/>
                  </a:lnTo>
                  <a:lnTo>
                    <a:pt x="56" y="0"/>
                  </a:lnTo>
                  <a:lnTo>
                    <a:pt x="58" y="0"/>
                  </a:lnTo>
                  <a:lnTo>
                    <a:pt x="67" y="2"/>
                  </a:lnTo>
                  <a:lnTo>
                    <a:pt x="74" y="2"/>
                  </a:lnTo>
                  <a:lnTo>
                    <a:pt x="75" y="2"/>
                  </a:lnTo>
                  <a:lnTo>
                    <a:pt x="77" y="2"/>
                  </a:lnTo>
                  <a:lnTo>
                    <a:pt x="80" y="2"/>
                  </a:lnTo>
                  <a:lnTo>
                    <a:pt x="82" y="2"/>
                  </a:lnTo>
                  <a:lnTo>
                    <a:pt x="82" y="2"/>
                  </a:lnTo>
                  <a:lnTo>
                    <a:pt x="84" y="2"/>
                  </a:lnTo>
                  <a:lnTo>
                    <a:pt x="87" y="2"/>
                  </a:lnTo>
                  <a:lnTo>
                    <a:pt x="94" y="2"/>
                  </a:lnTo>
                  <a:lnTo>
                    <a:pt x="98" y="2"/>
                  </a:lnTo>
                  <a:lnTo>
                    <a:pt x="98" y="2"/>
                  </a:lnTo>
                  <a:lnTo>
                    <a:pt x="110" y="4"/>
                  </a:lnTo>
                  <a:lnTo>
                    <a:pt x="117" y="4"/>
                  </a:lnTo>
                  <a:lnTo>
                    <a:pt x="122" y="4"/>
                  </a:lnTo>
                  <a:lnTo>
                    <a:pt x="125" y="4"/>
                  </a:lnTo>
                  <a:lnTo>
                    <a:pt x="127" y="4"/>
                  </a:lnTo>
                  <a:lnTo>
                    <a:pt x="127" y="4"/>
                  </a:lnTo>
                  <a:lnTo>
                    <a:pt x="129" y="4"/>
                  </a:lnTo>
                  <a:lnTo>
                    <a:pt x="129" y="6"/>
                  </a:lnTo>
                  <a:lnTo>
                    <a:pt x="132" y="6"/>
                  </a:lnTo>
                  <a:lnTo>
                    <a:pt x="137" y="6"/>
                  </a:lnTo>
                  <a:lnTo>
                    <a:pt x="139" y="6"/>
                  </a:lnTo>
                  <a:lnTo>
                    <a:pt x="146" y="6"/>
                  </a:lnTo>
                  <a:lnTo>
                    <a:pt x="149" y="6"/>
                  </a:lnTo>
                  <a:lnTo>
                    <a:pt x="151" y="6"/>
                  </a:lnTo>
                  <a:lnTo>
                    <a:pt x="153" y="6"/>
                  </a:lnTo>
                  <a:lnTo>
                    <a:pt x="158" y="6"/>
                  </a:lnTo>
                  <a:lnTo>
                    <a:pt x="160" y="6"/>
                  </a:lnTo>
                  <a:lnTo>
                    <a:pt x="163" y="6"/>
                  </a:lnTo>
                  <a:lnTo>
                    <a:pt x="166" y="6"/>
                  </a:lnTo>
                  <a:lnTo>
                    <a:pt x="177" y="7"/>
                  </a:lnTo>
                  <a:lnTo>
                    <a:pt x="180" y="7"/>
                  </a:lnTo>
                  <a:lnTo>
                    <a:pt x="187" y="7"/>
                  </a:lnTo>
                  <a:lnTo>
                    <a:pt x="189" y="7"/>
                  </a:lnTo>
                  <a:lnTo>
                    <a:pt x="191" y="7"/>
                  </a:lnTo>
                  <a:lnTo>
                    <a:pt x="197" y="7"/>
                  </a:lnTo>
                  <a:lnTo>
                    <a:pt x="201" y="7"/>
                  </a:lnTo>
                  <a:lnTo>
                    <a:pt x="203" y="7"/>
                  </a:lnTo>
                  <a:lnTo>
                    <a:pt x="209" y="7"/>
                  </a:lnTo>
                  <a:lnTo>
                    <a:pt x="211" y="7"/>
                  </a:lnTo>
                  <a:lnTo>
                    <a:pt x="215" y="7"/>
                  </a:lnTo>
                  <a:lnTo>
                    <a:pt x="216" y="7"/>
                  </a:lnTo>
                  <a:lnTo>
                    <a:pt x="218" y="7"/>
                  </a:lnTo>
                  <a:lnTo>
                    <a:pt x="227" y="9"/>
                  </a:lnTo>
                  <a:lnTo>
                    <a:pt x="228" y="9"/>
                  </a:lnTo>
                  <a:lnTo>
                    <a:pt x="234" y="9"/>
                  </a:lnTo>
                  <a:lnTo>
                    <a:pt x="237" y="9"/>
                  </a:lnTo>
                  <a:lnTo>
                    <a:pt x="240" y="9"/>
                  </a:lnTo>
                  <a:lnTo>
                    <a:pt x="244" y="9"/>
                  </a:lnTo>
                  <a:lnTo>
                    <a:pt x="246" y="9"/>
                  </a:lnTo>
                  <a:lnTo>
                    <a:pt x="247" y="9"/>
                  </a:lnTo>
                  <a:lnTo>
                    <a:pt x="254" y="9"/>
                  </a:lnTo>
                  <a:lnTo>
                    <a:pt x="265" y="9"/>
                  </a:lnTo>
                  <a:lnTo>
                    <a:pt x="273" y="9"/>
                  </a:lnTo>
                  <a:lnTo>
                    <a:pt x="277" y="9"/>
                  </a:lnTo>
                  <a:lnTo>
                    <a:pt x="292" y="11"/>
                  </a:lnTo>
                  <a:lnTo>
                    <a:pt x="301" y="11"/>
                  </a:lnTo>
                  <a:lnTo>
                    <a:pt x="309" y="11"/>
                  </a:lnTo>
                  <a:lnTo>
                    <a:pt x="309" y="11"/>
                  </a:lnTo>
                </a:path>
              </a:pathLst>
            </a:custGeom>
            <a:solidFill>
              <a:schemeClr val="accent1"/>
            </a:solidFill>
            <a:ln w="7938">
              <a:solidFill>
                <a:srgbClr val="231F2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panose="020B0604030504040204"/>
                <a:ea typeface="+mn-ea"/>
                <a:cs typeface="+mn-cs"/>
              </a:endParaRPr>
            </a:p>
          </p:txBody>
        </p:sp>
        <p:sp>
          <p:nvSpPr>
            <p:cNvPr id="128" name="Rectangle 5"/>
            <p:cNvSpPr>
              <a:spLocks noChangeArrowheads="1"/>
            </p:cNvSpPr>
            <p:nvPr/>
          </p:nvSpPr>
          <p:spPr bwMode="auto">
            <a:xfrm>
              <a:off x="2715509" y="1030081"/>
              <a:ext cx="3825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Atchis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29" name="Rectangle 6"/>
            <p:cNvSpPr>
              <a:spLocks noChangeArrowheads="1"/>
            </p:cNvSpPr>
            <p:nvPr/>
          </p:nvSpPr>
          <p:spPr bwMode="auto">
            <a:xfrm>
              <a:off x="3188584" y="1125331"/>
              <a:ext cx="3984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Nodaway</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30" name="Rectangle 7"/>
            <p:cNvSpPr>
              <a:spLocks noChangeArrowheads="1"/>
            </p:cNvSpPr>
            <p:nvPr/>
          </p:nvSpPr>
          <p:spPr bwMode="auto">
            <a:xfrm>
              <a:off x="2975859" y="1431719"/>
              <a:ext cx="1968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Holt</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31" name="Rectangle 8"/>
            <p:cNvSpPr>
              <a:spLocks noChangeArrowheads="1"/>
            </p:cNvSpPr>
            <p:nvPr/>
          </p:nvSpPr>
          <p:spPr bwMode="auto">
            <a:xfrm>
              <a:off x="3279649" y="1596819"/>
              <a:ext cx="3381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Andrew</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2" name="Rectangle 10"/>
            <p:cNvSpPr>
              <a:spLocks noChangeArrowheads="1"/>
            </p:cNvSpPr>
            <p:nvPr/>
          </p:nvSpPr>
          <p:spPr bwMode="auto">
            <a:xfrm>
              <a:off x="3698896" y="991981"/>
              <a:ext cx="240450"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Worth</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3" name="Rectangle 11"/>
            <p:cNvSpPr>
              <a:spLocks noChangeArrowheads="1"/>
            </p:cNvSpPr>
            <p:nvPr/>
          </p:nvSpPr>
          <p:spPr bwMode="auto">
            <a:xfrm>
              <a:off x="3685471" y="1319006"/>
              <a:ext cx="3032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Gent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4" name="Rectangle 12"/>
            <p:cNvSpPr>
              <a:spLocks noChangeArrowheads="1"/>
            </p:cNvSpPr>
            <p:nvPr/>
          </p:nvSpPr>
          <p:spPr bwMode="auto">
            <a:xfrm>
              <a:off x="3669596" y="1701594"/>
              <a:ext cx="3270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eKalb</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5" name="Rectangle 13"/>
            <p:cNvSpPr>
              <a:spLocks noChangeArrowheads="1"/>
            </p:cNvSpPr>
            <p:nvPr/>
          </p:nvSpPr>
          <p:spPr bwMode="auto">
            <a:xfrm>
              <a:off x="3256846" y="2012744"/>
              <a:ext cx="379413" cy="1031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smtClean="0">
                  <a:ln>
                    <a:noFill/>
                  </a:ln>
                  <a:solidFill>
                    <a:srgbClr val="000000"/>
                  </a:solidFill>
                  <a:effectLst/>
                  <a:uLnTx/>
                  <a:uFillTx/>
                  <a:latin typeface="Arial" pitchFamily="34" charset="0"/>
                  <a:ea typeface="+mn-ea"/>
                  <a:cs typeface="+mn-cs"/>
                </a:rPr>
                <a:t>Buchana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36" name="Rectangle 14"/>
            <p:cNvSpPr>
              <a:spLocks noChangeArrowheads="1"/>
            </p:cNvSpPr>
            <p:nvPr/>
          </p:nvSpPr>
          <p:spPr bwMode="auto">
            <a:xfrm>
              <a:off x="3377496" y="2323894"/>
              <a:ext cx="2619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Platte</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37" name="Rectangle 15"/>
            <p:cNvSpPr>
              <a:spLocks noChangeArrowheads="1"/>
            </p:cNvSpPr>
            <p:nvPr/>
          </p:nvSpPr>
          <p:spPr bwMode="auto">
            <a:xfrm>
              <a:off x="3677534" y="2065131"/>
              <a:ext cx="3143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lint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8" name="Rectangle 16"/>
            <p:cNvSpPr>
              <a:spLocks noChangeArrowheads="1"/>
            </p:cNvSpPr>
            <p:nvPr/>
          </p:nvSpPr>
          <p:spPr bwMode="auto">
            <a:xfrm>
              <a:off x="3709284" y="2425494"/>
              <a:ext cx="2127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la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39" name="Rectangle 17"/>
            <p:cNvSpPr>
              <a:spLocks noChangeArrowheads="1"/>
            </p:cNvSpPr>
            <p:nvPr/>
          </p:nvSpPr>
          <p:spPr bwMode="auto">
            <a:xfrm>
              <a:off x="3671184" y="2790619"/>
              <a:ext cx="3651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Jacks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40" name="Rectangle 18"/>
            <p:cNvSpPr>
              <a:spLocks noChangeArrowheads="1"/>
            </p:cNvSpPr>
            <p:nvPr/>
          </p:nvSpPr>
          <p:spPr bwMode="auto">
            <a:xfrm>
              <a:off x="3723571" y="3222419"/>
              <a:ext cx="2460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Cass</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41" name="Rectangle 19"/>
            <p:cNvSpPr>
              <a:spLocks noChangeArrowheads="1"/>
            </p:cNvSpPr>
            <p:nvPr/>
          </p:nvSpPr>
          <p:spPr bwMode="auto">
            <a:xfrm>
              <a:off x="3728334" y="3703431"/>
              <a:ext cx="2651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ate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2" name="Rectangle 20"/>
            <p:cNvSpPr>
              <a:spLocks noChangeArrowheads="1"/>
            </p:cNvSpPr>
            <p:nvPr/>
          </p:nvSpPr>
          <p:spPr bwMode="auto">
            <a:xfrm>
              <a:off x="4049009" y="1149144"/>
              <a:ext cx="3746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Harris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43" name="Rectangle 21"/>
            <p:cNvSpPr>
              <a:spLocks noChangeArrowheads="1"/>
            </p:cNvSpPr>
            <p:nvPr/>
          </p:nvSpPr>
          <p:spPr bwMode="auto">
            <a:xfrm>
              <a:off x="4056946" y="1625394"/>
              <a:ext cx="3524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avies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4" name="Rectangle 22"/>
            <p:cNvSpPr>
              <a:spLocks noChangeArrowheads="1"/>
            </p:cNvSpPr>
            <p:nvPr/>
          </p:nvSpPr>
          <p:spPr bwMode="auto">
            <a:xfrm>
              <a:off x="4042659" y="1996869"/>
              <a:ext cx="3683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aldwell</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5" name="Rectangle 23"/>
            <p:cNvSpPr>
              <a:spLocks noChangeArrowheads="1"/>
            </p:cNvSpPr>
            <p:nvPr/>
          </p:nvSpPr>
          <p:spPr bwMode="auto">
            <a:xfrm>
              <a:off x="4118859" y="2369931"/>
              <a:ext cx="1936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Ra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6" name="Rectangle 24"/>
            <p:cNvSpPr>
              <a:spLocks noChangeArrowheads="1"/>
            </p:cNvSpPr>
            <p:nvPr/>
          </p:nvSpPr>
          <p:spPr bwMode="auto">
            <a:xfrm>
              <a:off x="4201409" y="2717594"/>
              <a:ext cx="3937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afayett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7" name="Rectangle 25"/>
            <p:cNvSpPr>
              <a:spLocks noChangeArrowheads="1"/>
            </p:cNvSpPr>
            <p:nvPr/>
          </p:nvSpPr>
          <p:spPr bwMode="auto">
            <a:xfrm>
              <a:off x="4193471" y="3112881"/>
              <a:ext cx="3746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Johns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8" name="Rectangle 26"/>
            <p:cNvSpPr>
              <a:spLocks noChangeArrowheads="1"/>
            </p:cNvSpPr>
            <p:nvPr/>
          </p:nvSpPr>
          <p:spPr bwMode="auto">
            <a:xfrm>
              <a:off x="4261734" y="3552619"/>
              <a:ext cx="2730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Hen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49" name="Rectangle 27"/>
            <p:cNvSpPr>
              <a:spLocks noChangeArrowheads="1"/>
            </p:cNvSpPr>
            <p:nvPr/>
          </p:nvSpPr>
          <p:spPr bwMode="auto">
            <a:xfrm>
              <a:off x="4217284" y="3973306"/>
              <a:ext cx="3556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St. Clair</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50" name="Rectangle 28"/>
            <p:cNvSpPr>
              <a:spLocks noChangeArrowheads="1"/>
            </p:cNvSpPr>
            <p:nvPr/>
          </p:nvSpPr>
          <p:spPr bwMode="auto">
            <a:xfrm>
              <a:off x="4466521" y="1068181"/>
              <a:ext cx="3143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erc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1" name="Rectangle 29"/>
            <p:cNvSpPr>
              <a:spLocks noChangeArrowheads="1"/>
            </p:cNvSpPr>
            <p:nvPr/>
          </p:nvSpPr>
          <p:spPr bwMode="auto">
            <a:xfrm>
              <a:off x="4471284" y="1444419"/>
              <a:ext cx="3302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Grundy</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52" name="Rectangle 30"/>
            <p:cNvSpPr>
              <a:spLocks noChangeArrowheads="1"/>
            </p:cNvSpPr>
            <p:nvPr/>
          </p:nvSpPr>
          <p:spPr bwMode="auto">
            <a:xfrm>
              <a:off x="4410959" y="1850819"/>
              <a:ext cx="4333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ivingst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3" name="Rectangle 31"/>
            <p:cNvSpPr>
              <a:spLocks noChangeArrowheads="1"/>
            </p:cNvSpPr>
            <p:nvPr/>
          </p:nvSpPr>
          <p:spPr bwMode="auto">
            <a:xfrm>
              <a:off x="4526846" y="2293731"/>
              <a:ext cx="2968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Carroll</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54" name="Rectangle 32"/>
            <p:cNvSpPr>
              <a:spLocks noChangeArrowheads="1"/>
            </p:cNvSpPr>
            <p:nvPr/>
          </p:nvSpPr>
          <p:spPr bwMode="auto">
            <a:xfrm>
              <a:off x="4820534" y="2638219"/>
              <a:ext cx="2809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alin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5" name="Rectangle 33"/>
            <p:cNvSpPr>
              <a:spLocks noChangeArrowheads="1"/>
            </p:cNvSpPr>
            <p:nvPr/>
          </p:nvSpPr>
          <p:spPr bwMode="auto">
            <a:xfrm>
              <a:off x="4758621" y="3138281"/>
              <a:ext cx="2619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etti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6" name="Rectangle 34"/>
            <p:cNvSpPr>
              <a:spLocks noChangeArrowheads="1"/>
            </p:cNvSpPr>
            <p:nvPr/>
          </p:nvSpPr>
          <p:spPr bwMode="auto">
            <a:xfrm>
              <a:off x="4717346" y="3670094"/>
              <a:ext cx="3175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ent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7" name="Rectangle 35"/>
            <p:cNvSpPr>
              <a:spLocks noChangeArrowheads="1"/>
            </p:cNvSpPr>
            <p:nvPr/>
          </p:nvSpPr>
          <p:spPr bwMode="auto">
            <a:xfrm>
              <a:off x="4947534" y="999919"/>
              <a:ext cx="3444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utnam</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8" name="Rectangle 36"/>
            <p:cNvSpPr>
              <a:spLocks noChangeArrowheads="1"/>
            </p:cNvSpPr>
            <p:nvPr/>
          </p:nvSpPr>
          <p:spPr bwMode="auto">
            <a:xfrm>
              <a:off x="4879271" y="1330119"/>
              <a:ext cx="3444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ulliva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59" name="Rectangle 37"/>
            <p:cNvSpPr>
              <a:spLocks noChangeArrowheads="1"/>
            </p:cNvSpPr>
            <p:nvPr/>
          </p:nvSpPr>
          <p:spPr bwMode="auto">
            <a:xfrm>
              <a:off x="4941184" y="1742869"/>
              <a:ext cx="2079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in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0" name="Rectangle 38"/>
            <p:cNvSpPr>
              <a:spLocks noChangeArrowheads="1"/>
            </p:cNvSpPr>
            <p:nvPr/>
          </p:nvSpPr>
          <p:spPr bwMode="auto">
            <a:xfrm>
              <a:off x="4998334" y="2190544"/>
              <a:ext cx="3714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harit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1" name="Rectangle 39"/>
            <p:cNvSpPr>
              <a:spLocks noChangeArrowheads="1"/>
            </p:cNvSpPr>
            <p:nvPr/>
          </p:nvSpPr>
          <p:spPr bwMode="auto">
            <a:xfrm>
              <a:off x="5277734" y="2630281"/>
              <a:ext cx="3413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Howar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2" name="Rectangle 40"/>
            <p:cNvSpPr>
              <a:spLocks noChangeArrowheads="1"/>
            </p:cNvSpPr>
            <p:nvPr/>
          </p:nvSpPr>
          <p:spPr bwMode="auto">
            <a:xfrm>
              <a:off x="5430134" y="1015794"/>
              <a:ext cx="327025" cy="1031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0000"/>
                  </a:solidFill>
                  <a:effectLst/>
                  <a:uLnTx/>
                  <a:uFillTx/>
                  <a:latin typeface="Arial" pitchFamily="34" charset="0"/>
                  <a:ea typeface="+mn-ea"/>
                  <a:cs typeface="+mn-cs"/>
                </a:rPr>
                <a:t>Schuyl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3" name="Rectangle 41"/>
            <p:cNvSpPr>
              <a:spLocks noChangeArrowheads="1"/>
            </p:cNvSpPr>
            <p:nvPr/>
          </p:nvSpPr>
          <p:spPr bwMode="auto">
            <a:xfrm>
              <a:off x="5411084" y="1353931"/>
              <a:ext cx="2460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Adai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4" name="Rectangle 42"/>
            <p:cNvSpPr>
              <a:spLocks noChangeArrowheads="1"/>
            </p:cNvSpPr>
            <p:nvPr/>
          </p:nvSpPr>
          <p:spPr bwMode="auto">
            <a:xfrm>
              <a:off x="5406321" y="1793669"/>
              <a:ext cx="3032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ac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5" name="Rectangle 43"/>
            <p:cNvSpPr>
              <a:spLocks noChangeArrowheads="1"/>
            </p:cNvSpPr>
            <p:nvPr/>
          </p:nvSpPr>
          <p:spPr bwMode="auto">
            <a:xfrm>
              <a:off x="5444421" y="2266744"/>
              <a:ext cx="360363" cy="1031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0000"/>
                  </a:solidFill>
                  <a:effectLst/>
                  <a:uLnTx/>
                  <a:uFillTx/>
                  <a:latin typeface="Arial" pitchFamily="34" charset="0"/>
                  <a:ea typeface="+mn-ea"/>
                  <a:cs typeface="+mn-cs"/>
                </a:rPr>
                <a:t>Randolph</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6" name="Rectangle 44"/>
            <p:cNvSpPr>
              <a:spLocks noChangeArrowheads="1"/>
            </p:cNvSpPr>
            <p:nvPr/>
          </p:nvSpPr>
          <p:spPr bwMode="auto">
            <a:xfrm>
              <a:off x="5757159" y="1031669"/>
              <a:ext cx="3825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cotlan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7" name="Rectangle 45"/>
            <p:cNvSpPr>
              <a:spLocks noChangeArrowheads="1"/>
            </p:cNvSpPr>
            <p:nvPr/>
          </p:nvSpPr>
          <p:spPr bwMode="auto">
            <a:xfrm>
              <a:off x="5828596" y="1428544"/>
              <a:ext cx="2381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Knox</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8" name="Rectangle 46"/>
            <p:cNvSpPr>
              <a:spLocks noChangeArrowheads="1"/>
            </p:cNvSpPr>
            <p:nvPr/>
          </p:nvSpPr>
          <p:spPr bwMode="auto">
            <a:xfrm>
              <a:off x="5884159" y="1831769"/>
              <a:ext cx="3063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helb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69" name="Rectangle 47"/>
            <p:cNvSpPr>
              <a:spLocks noChangeArrowheads="1"/>
            </p:cNvSpPr>
            <p:nvPr/>
          </p:nvSpPr>
          <p:spPr bwMode="auto">
            <a:xfrm>
              <a:off x="6222296" y="1076119"/>
              <a:ext cx="2460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lark</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0" name="Rectangle 48"/>
            <p:cNvSpPr>
              <a:spLocks noChangeArrowheads="1"/>
            </p:cNvSpPr>
            <p:nvPr/>
          </p:nvSpPr>
          <p:spPr bwMode="auto">
            <a:xfrm>
              <a:off x="6208009" y="1455531"/>
              <a:ext cx="2651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ewi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1" name="Rectangle 49"/>
            <p:cNvSpPr>
              <a:spLocks noChangeArrowheads="1"/>
            </p:cNvSpPr>
            <p:nvPr/>
          </p:nvSpPr>
          <p:spPr bwMode="auto">
            <a:xfrm>
              <a:off x="6298496" y="1800019"/>
              <a:ext cx="3063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ari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2" name="Rectangle 50"/>
            <p:cNvSpPr>
              <a:spLocks noChangeArrowheads="1"/>
            </p:cNvSpPr>
            <p:nvPr/>
          </p:nvSpPr>
          <p:spPr bwMode="auto">
            <a:xfrm>
              <a:off x="6430259" y="2154031"/>
              <a:ext cx="2381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Rall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3" name="Rectangle 51"/>
            <p:cNvSpPr>
              <a:spLocks noChangeArrowheads="1"/>
            </p:cNvSpPr>
            <p:nvPr/>
          </p:nvSpPr>
          <p:spPr bwMode="auto">
            <a:xfrm>
              <a:off x="5922259" y="2190544"/>
              <a:ext cx="3333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onro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4" name="Rectangle 52"/>
            <p:cNvSpPr>
              <a:spLocks noChangeArrowheads="1"/>
            </p:cNvSpPr>
            <p:nvPr/>
          </p:nvSpPr>
          <p:spPr bwMode="auto">
            <a:xfrm>
              <a:off x="6800146" y="2376281"/>
              <a:ext cx="2095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ik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5" name="Rectangle 53"/>
            <p:cNvSpPr>
              <a:spLocks noChangeArrowheads="1"/>
            </p:cNvSpPr>
            <p:nvPr/>
          </p:nvSpPr>
          <p:spPr bwMode="auto">
            <a:xfrm>
              <a:off x="6898571" y="2703306"/>
              <a:ext cx="3190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incol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6" name="Rectangle 54"/>
            <p:cNvSpPr>
              <a:spLocks noChangeArrowheads="1"/>
            </p:cNvSpPr>
            <p:nvPr/>
          </p:nvSpPr>
          <p:spPr bwMode="auto">
            <a:xfrm>
              <a:off x="7093834" y="3043031"/>
              <a:ext cx="4778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 Charle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7" name="Rectangle 55"/>
            <p:cNvSpPr>
              <a:spLocks noChangeArrowheads="1"/>
            </p:cNvSpPr>
            <p:nvPr/>
          </p:nvSpPr>
          <p:spPr bwMode="auto">
            <a:xfrm>
              <a:off x="7338309" y="3274806"/>
              <a:ext cx="3857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 Loui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8" name="Rectangle 58"/>
            <p:cNvSpPr>
              <a:spLocks noChangeArrowheads="1"/>
            </p:cNvSpPr>
            <p:nvPr/>
          </p:nvSpPr>
          <p:spPr bwMode="auto">
            <a:xfrm>
              <a:off x="7277984" y="3689486"/>
              <a:ext cx="379413" cy="1077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Jeffers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79" name="Rectangle 59"/>
            <p:cNvSpPr>
              <a:spLocks noChangeArrowheads="1"/>
            </p:cNvSpPr>
            <p:nvPr/>
          </p:nvSpPr>
          <p:spPr bwMode="auto">
            <a:xfrm>
              <a:off x="6161971" y="2536619"/>
              <a:ext cx="3444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Audrai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0" name="Rectangle 60"/>
            <p:cNvSpPr>
              <a:spLocks noChangeArrowheads="1"/>
            </p:cNvSpPr>
            <p:nvPr/>
          </p:nvSpPr>
          <p:spPr bwMode="auto">
            <a:xfrm>
              <a:off x="5998459" y="3001756"/>
              <a:ext cx="3873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allawa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1" name="Rectangle 61"/>
            <p:cNvSpPr>
              <a:spLocks noChangeArrowheads="1"/>
            </p:cNvSpPr>
            <p:nvPr/>
          </p:nvSpPr>
          <p:spPr bwMode="auto">
            <a:xfrm>
              <a:off x="5631746" y="2809669"/>
              <a:ext cx="2889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oon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2" name="Rectangle 62"/>
            <p:cNvSpPr>
              <a:spLocks noChangeArrowheads="1"/>
            </p:cNvSpPr>
            <p:nvPr/>
          </p:nvSpPr>
          <p:spPr bwMode="auto">
            <a:xfrm>
              <a:off x="5172959" y="3012869"/>
              <a:ext cx="3254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oop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3" name="Rectangle 63"/>
            <p:cNvSpPr>
              <a:spLocks noChangeArrowheads="1"/>
            </p:cNvSpPr>
            <p:nvPr/>
          </p:nvSpPr>
          <p:spPr bwMode="auto">
            <a:xfrm rot="16200000">
              <a:off x="6319134" y="2839831"/>
              <a:ext cx="5222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ontgome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4" name="Rectangle 64"/>
            <p:cNvSpPr>
              <a:spLocks noChangeArrowheads="1"/>
            </p:cNvSpPr>
            <p:nvPr/>
          </p:nvSpPr>
          <p:spPr bwMode="auto">
            <a:xfrm rot="16200000">
              <a:off x="6328659" y="3430381"/>
              <a:ext cx="4889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Gasconad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5" name="Rectangle 65"/>
            <p:cNvSpPr>
              <a:spLocks noChangeArrowheads="1"/>
            </p:cNvSpPr>
            <p:nvPr/>
          </p:nvSpPr>
          <p:spPr bwMode="auto">
            <a:xfrm>
              <a:off x="6849359" y="3503406"/>
              <a:ext cx="3524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Frankli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6" name="Rectangle 67"/>
            <p:cNvSpPr>
              <a:spLocks noChangeArrowheads="1"/>
            </p:cNvSpPr>
            <p:nvPr/>
          </p:nvSpPr>
          <p:spPr bwMode="auto">
            <a:xfrm>
              <a:off x="6726547" y="3071606"/>
              <a:ext cx="294953"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Warre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7" name="Rectangle 68"/>
            <p:cNvSpPr>
              <a:spLocks noChangeArrowheads="1"/>
            </p:cNvSpPr>
            <p:nvPr/>
          </p:nvSpPr>
          <p:spPr bwMode="auto">
            <a:xfrm>
              <a:off x="6104821" y="3435144"/>
              <a:ext cx="3000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Osag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8" name="Rectangle 69"/>
            <p:cNvSpPr>
              <a:spLocks noChangeArrowheads="1"/>
            </p:cNvSpPr>
            <p:nvPr/>
          </p:nvSpPr>
          <p:spPr bwMode="auto">
            <a:xfrm>
              <a:off x="5736521" y="3416094"/>
              <a:ext cx="2190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ol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89" name="Rectangle 70"/>
            <p:cNvSpPr>
              <a:spLocks noChangeArrowheads="1"/>
            </p:cNvSpPr>
            <p:nvPr/>
          </p:nvSpPr>
          <p:spPr bwMode="auto">
            <a:xfrm>
              <a:off x="5296784" y="3249406"/>
              <a:ext cx="3952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oniteau</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0" name="Rectangle 71"/>
            <p:cNvSpPr>
              <a:spLocks noChangeArrowheads="1"/>
            </p:cNvSpPr>
            <p:nvPr/>
          </p:nvSpPr>
          <p:spPr bwMode="auto">
            <a:xfrm>
              <a:off x="5104696" y="3492294"/>
              <a:ext cx="3365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orga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1" name="Rectangle 72"/>
            <p:cNvSpPr>
              <a:spLocks noChangeArrowheads="1"/>
            </p:cNvSpPr>
            <p:nvPr/>
          </p:nvSpPr>
          <p:spPr bwMode="auto">
            <a:xfrm>
              <a:off x="5571421" y="3746294"/>
              <a:ext cx="2492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ill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2" name="Rectangle 73"/>
            <p:cNvSpPr>
              <a:spLocks noChangeArrowheads="1"/>
            </p:cNvSpPr>
            <p:nvPr/>
          </p:nvSpPr>
          <p:spPr bwMode="auto">
            <a:xfrm>
              <a:off x="6047671" y="3820906"/>
              <a:ext cx="3032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arie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3" name="Rectangle 74"/>
            <p:cNvSpPr>
              <a:spLocks noChangeArrowheads="1"/>
            </p:cNvSpPr>
            <p:nvPr/>
          </p:nvSpPr>
          <p:spPr bwMode="auto">
            <a:xfrm>
              <a:off x="7841546" y="3157331"/>
              <a:ext cx="5603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 Louis Cit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4" name="Rectangle 76"/>
            <p:cNvSpPr>
              <a:spLocks noChangeArrowheads="1"/>
            </p:cNvSpPr>
            <p:nvPr/>
          </p:nvSpPr>
          <p:spPr bwMode="auto">
            <a:xfrm>
              <a:off x="3684608" y="4205081"/>
              <a:ext cx="288541"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Vern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5" name="Rectangle 77"/>
            <p:cNvSpPr>
              <a:spLocks noChangeArrowheads="1"/>
            </p:cNvSpPr>
            <p:nvPr/>
          </p:nvSpPr>
          <p:spPr bwMode="auto">
            <a:xfrm>
              <a:off x="3704521" y="4624181"/>
              <a:ext cx="2968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Bart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96" name="Rectangle 78"/>
            <p:cNvSpPr>
              <a:spLocks noChangeArrowheads="1"/>
            </p:cNvSpPr>
            <p:nvPr/>
          </p:nvSpPr>
          <p:spPr bwMode="auto">
            <a:xfrm>
              <a:off x="3696584" y="4997244"/>
              <a:ext cx="3063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Jasp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7" name="Rectangle 79"/>
            <p:cNvSpPr>
              <a:spLocks noChangeArrowheads="1"/>
            </p:cNvSpPr>
            <p:nvPr/>
          </p:nvSpPr>
          <p:spPr bwMode="auto">
            <a:xfrm>
              <a:off x="3685471" y="5352844"/>
              <a:ext cx="3365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Newt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98" name="Rectangle 80"/>
            <p:cNvSpPr>
              <a:spLocks noChangeArrowheads="1"/>
            </p:cNvSpPr>
            <p:nvPr/>
          </p:nvSpPr>
          <p:spPr bwMode="auto">
            <a:xfrm>
              <a:off x="3620384" y="5689394"/>
              <a:ext cx="4365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cDonal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199" name="Rectangle 81"/>
            <p:cNvSpPr>
              <a:spLocks noChangeArrowheads="1"/>
            </p:cNvSpPr>
            <p:nvPr/>
          </p:nvSpPr>
          <p:spPr bwMode="auto">
            <a:xfrm>
              <a:off x="4185534" y="4340019"/>
              <a:ext cx="2778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eda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0" name="Rectangle 82"/>
            <p:cNvSpPr>
              <a:spLocks noChangeArrowheads="1"/>
            </p:cNvSpPr>
            <p:nvPr/>
          </p:nvSpPr>
          <p:spPr bwMode="auto">
            <a:xfrm>
              <a:off x="4201409" y="4711494"/>
              <a:ext cx="2492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ad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1" name="Rectangle 83"/>
            <p:cNvSpPr>
              <a:spLocks noChangeArrowheads="1"/>
            </p:cNvSpPr>
            <p:nvPr/>
          </p:nvSpPr>
          <p:spPr bwMode="auto">
            <a:xfrm>
              <a:off x="4141084" y="5106781"/>
              <a:ext cx="4175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Lawrenc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2" name="Rectangle 84"/>
            <p:cNvSpPr>
              <a:spLocks noChangeArrowheads="1"/>
            </p:cNvSpPr>
            <p:nvPr/>
          </p:nvSpPr>
          <p:spPr bwMode="auto">
            <a:xfrm>
              <a:off x="4217284" y="5602081"/>
              <a:ext cx="2492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ar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3" name="Rectangle 85"/>
            <p:cNvSpPr>
              <a:spLocks noChangeArrowheads="1"/>
            </p:cNvSpPr>
            <p:nvPr/>
          </p:nvSpPr>
          <p:spPr bwMode="auto">
            <a:xfrm>
              <a:off x="4679246" y="4078081"/>
              <a:ext cx="3333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Hicko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4" name="Rectangle 86"/>
            <p:cNvSpPr>
              <a:spLocks noChangeArrowheads="1"/>
            </p:cNvSpPr>
            <p:nvPr/>
          </p:nvSpPr>
          <p:spPr bwMode="auto">
            <a:xfrm>
              <a:off x="4657021" y="4492419"/>
              <a:ext cx="2095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olk</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5" name="Rectangle 87"/>
            <p:cNvSpPr>
              <a:spLocks noChangeArrowheads="1"/>
            </p:cNvSpPr>
            <p:nvPr/>
          </p:nvSpPr>
          <p:spPr bwMode="auto">
            <a:xfrm>
              <a:off x="4649084" y="4936919"/>
              <a:ext cx="3302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Green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6" name="Rectangle 88"/>
            <p:cNvSpPr>
              <a:spLocks noChangeArrowheads="1"/>
            </p:cNvSpPr>
            <p:nvPr/>
          </p:nvSpPr>
          <p:spPr bwMode="auto">
            <a:xfrm>
              <a:off x="4842759" y="5287756"/>
              <a:ext cx="3905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Christia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07" name="Rectangle 89"/>
            <p:cNvSpPr>
              <a:spLocks noChangeArrowheads="1"/>
            </p:cNvSpPr>
            <p:nvPr/>
          </p:nvSpPr>
          <p:spPr bwMode="auto">
            <a:xfrm>
              <a:off x="4588759" y="5554456"/>
              <a:ext cx="2682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on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8" name="Rectangle 90"/>
            <p:cNvSpPr>
              <a:spLocks noChangeArrowheads="1"/>
            </p:cNvSpPr>
            <p:nvPr/>
          </p:nvSpPr>
          <p:spPr bwMode="auto">
            <a:xfrm>
              <a:off x="5160259" y="3998706"/>
              <a:ext cx="3714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amde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09" name="Rectangle 91"/>
            <p:cNvSpPr>
              <a:spLocks noChangeArrowheads="1"/>
            </p:cNvSpPr>
            <p:nvPr/>
          </p:nvSpPr>
          <p:spPr bwMode="auto">
            <a:xfrm>
              <a:off x="4998334" y="4420981"/>
              <a:ext cx="2841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alla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0" name="Rectangle 92"/>
            <p:cNvSpPr>
              <a:spLocks noChangeArrowheads="1"/>
            </p:cNvSpPr>
            <p:nvPr/>
          </p:nvSpPr>
          <p:spPr bwMode="auto">
            <a:xfrm>
              <a:off x="5395209" y="4440031"/>
              <a:ext cx="3444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Laclede</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11" name="Rectangle 93"/>
            <p:cNvSpPr>
              <a:spLocks noChangeArrowheads="1"/>
            </p:cNvSpPr>
            <p:nvPr/>
          </p:nvSpPr>
          <p:spPr bwMode="auto">
            <a:xfrm>
              <a:off x="5084059" y="4957556"/>
              <a:ext cx="335028"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Webst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2" name="Rectangle 95"/>
            <p:cNvSpPr>
              <a:spLocks noChangeArrowheads="1"/>
            </p:cNvSpPr>
            <p:nvPr/>
          </p:nvSpPr>
          <p:spPr bwMode="auto">
            <a:xfrm>
              <a:off x="5536496" y="4916281"/>
              <a:ext cx="259686"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Wright</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3" name="Rectangle 97"/>
            <p:cNvSpPr>
              <a:spLocks noChangeArrowheads="1"/>
            </p:cNvSpPr>
            <p:nvPr/>
          </p:nvSpPr>
          <p:spPr bwMode="auto">
            <a:xfrm>
              <a:off x="5471409" y="5325856"/>
              <a:ext cx="3635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ougla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4" name="Rectangle 98"/>
            <p:cNvSpPr>
              <a:spLocks noChangeArrowheads="1"/>
            </p:cNvSpPr>
            <p:nvPr/>
          </p:nvSpPr>
          <p:spPr bwMode="auto">
            <a:xfrm>
              <a:off x="5555546" y="5663994"/>
              <a:ext cx="2762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Ozark</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15" name="Rectangle 100"/>
            <p:cNvSpPr>
              <a:spLocks noChangeArrowheads="1"/>
            </p:cNvSpPr>
            <p:nvPr/>
          </p:nvSpPr>
          <p:spPr bwMode="auto">
            <a:xfrm>
              <a:off x="4959082" y="5671931"/>
              <a:ext cx="248466"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Tane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6" name="Rectangle 101"/>
            <p:cNvSpPr>
              <a:spLocks noChangeArrowheads="1"/>
            </p:cNvSpPr>
            <p:nvPr/>
          </p:nvSpPr>
          <p:spPr bwMode="auto">
            <a:xfrm>
              <a:off x="5749221" y="4243181"/>
              <a:ext cx="3254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ulaski</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7" name="Rectangle 102"/>
            <p:cNvSpPr>
              <a:spLocks noChangeArrowheads="1"/>
            </p:cNvSpPr>
            <p:nvPr/>
          </p:nvSpPr>
          <p:spPr bwMode="auto">
            <a:xfrm>
              <a:off x="6192134" y="4166981"/>
              <a:ext cx="3111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help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8" name="Rectangle 103"/>
            <p:cNvSpPr>
              <a:spLocks noChangeArrowheads="1"/>
            </p:cNvSpPr>
            <p:nvPr/>
          </p:nvSpPr>
          <p:spPr bwMode="auto">
            <a:xfrm>
              <a:off x="6487409" y="4497181"/>
              <a:ext cx="2270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ent</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19" name="Rectangle 104"/>
            <p:cNvSpPr>
              <a:spLocks noChangeArrowheads="1"/>
            </p:cNvSpPr>
            <p:nvPr/>
          </p:nvSpPr>
          <p:spPr bwMode="auto">
            <a:xfrm>
              <a:off x="6039734" y="4855956"/>
              <a:ext cx="243656"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Texa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0" name="Rectangle 106"/>
            <p:cNvSpPr>
              <a:spLocks noChangeArrowheads="1"/>
            </p:cNvSpPr>
            <p:nvPr/>
          </p:nvSpPr>
          <p:spPr bwMode="auto">
            <a:xfrm>
              <a:off x="6514396" y="5041694"/>
              <a:ext cx="39052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Shann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21" name="Rectangle 107"/>
            <p:cNvSpPr>
              <a:spLocks noChangeArrowheads="1"/>
            </p:cNvSpPr>
            <p:nvPr/>
          </p:nvSpPr>
          <p:spPr bwMode="auto">
            <a:xfrm>
              <a:off x="6104821" y="5513181"/>
              <a:ext cx="3000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Howell</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2" name="Rectangle 108"/>
            <p:cNvSpPr>
              <a:spLocks noChangeArrowheads="1"/>
            </p:cNvSpPr>
            <p:nvPr/>
          </p:nvSpPr>
          <p:spPr bwMode="auto">
            <a:xfrm>
              <a:off x="6563609" y="5617956"/>
              <a:ext cx="3333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Oregon</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23" name="Rectangle 109"/>
            <p:cNvSpPr>
              <a:spLocks noChangeArrowheads="1"/>
            </p:cNvSpPr>
            <p:nvPr/>
          </p:nvSpPr>
          <p:spPr bwMode="auto">
            <a:xfrm>
              <a:off x="7112884" y="5641769"/>
              <a:ext cx="2809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Riple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4" name="Rectangle 110"/>
            <p:cNvSpPr>
              <a:spLocks noChangeArrowheads="1"/>
            </p:cNvSpPr>
            <p:nvPr/>
          </p:nvSpPr>
          <p:spPr bwMode="auto">
            <a:xfrm>
              <a:off x="7019221" y="5303631"/>
              <a:ext cx="2841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Carter</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25" name="Rectangle 111"/>
            <p:cNvSpPr>
              <a:spLocks noChangeArrowheads="1"/>
            </p:cNvSpPr>
            <p:nvPr/>
          </p:nvSpPr>
          <p:spPr bwMode="auto">
            <a:xfrm>
              <a:off x="6587421" y="4041569"/>
              <a:ext cx="3984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rawfor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6" name="Rectangle 113"/>
            <p:cNvSpPr>
              <a:spLocks noChangeArrowheads="1"/>
            </p:cNvSpPr>
            <p:nvPr/>
          </p:nvSpPr>
          <p:spPr bwMode="auto">
            <a:xfrm>
              <a:off x="6985884" y="4068556"/>
              <a:ext cx="415924" cy="923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0000"/>
                  </a:solidFill>
                  <a:effectLst/>
                  <a:uLnTx/>
                  <a:uFillTx/>
                  <a:latin typeface="Arial" pitchFamily="34" charset="0"/>
                  <a:ea typeface="+mn-ea"/>
                  <a:cs typeface="+mn-cs"/>
                </a:rPr>
                <a:t>Washingt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7" name="Rectangle 114"/>
            <p:cNvSpPr>
              <a:spLocks noChangeArrowheads="1"/>
            </p:cNvSpPr>
            <p:nvPr/>
          </p:nvSpPr>
          <p:spPr bwMode="auto">
            <a:xfrm>
              <a:off x="7087484" y="4400344"/>
              <a:ext cx="1905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Ir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28" name="Rectangle 115"/>
            <p:cNvSpPr>
              <a:spLocks noChangeArrowheads="1"/>
            </p:cNvSpPr>
            <p:nvPr/>
          </p:nvSpPr>
          <p:spPr bwMode="auto">
            <a:xfrm>
              <a:off x="6943021" y="4787694"/>
              <a:ext cx="4048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smtClean="0">
                  <a:ln>
                    <a:noFill/>
                  </a:ln>
                  <a:solidFill>
                    <a:srgbClr val="000000"/>
                  </a:solidFill>
                  <a:effectLst/>
                  <a:uLnTx/>
                  <a:uFillTx/>
                  <a:latin typeface="Arial" pitchFamily="34" charset="0"/>
                  <a:ea typeface="+mn-ea"/>
                  <a:cs typeface="+mn-cs"/>
                </a:rPr>
                <a:t>Reynolds</a:t>
              </a:r>
              <a:endParaRPr kumimoji="0" lang="en-US" sz="18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229" name="Rectangle 116"/>
            <p:cNvSpPr>
              <a:spLocks noChangeArrowheads="1"/>
            </p:cNvSpPr>
            <p:nvPr/>
          </p:nvSpPr>
          <p:spPr bwMode="auto">
            <a:xfrm>
              <a:off x="7765346" y="4033631"/>
              <a:ext cx="1968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0" name="Rectangle 117"/>
            <p:cNvSpPr>
              <a:spLocks noChangeArrowheads="1"/>
            </p:cNvSpPr>
            <p:nvPr/>
          </p:nvSpPr>
          <p:spPr bwMode="auto">
            <a:xfrm>
              <a:off x="7633584" y="4136819"/>
              <a:ext cx="4476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Geneviev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1" name="Rectangle 118"/>
            <p:cNvSpPr>
              <a:spLocks noChangeArrowheads="1"/>
            </p:cNvSpPr>
            <p:nvPr/>
          </p:nvSpPr>
          <p:spPr bwMode="auto">
            <a:xfrm>
              <a:off x="8111421" y="4287631"/>
              <a:ext cx="24923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Perry</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2" name="Rectangle 119"/>
            <p:cNvSpPr>
              <a:spLocks noChangeArrowheads="1"/>
            </p:cNvSpPr>
            <p:nvPr/>
          </p:nvSpPr>
          <p:spPr bwMode="auto">
            <a:xfrm>
              <a:off x="7431971" y="4230481"/>
              <a:ext cx="1508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3" name="Rectangle 120"/>
            <p:cNvSpPr>
              <a:spLocks noChangeArrowheads="1"/>
            </p:cNvSpPr>
            <p:nvPr/>
          </p:nvSpPr>
          <p:spPr bwMode="auto">
            <a:xfrm>
              <a:off x="7431971" y="4336844"/>
              <a:ext cx="3794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Francois</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4" name="Rectangle 121"/>
            <p:cNvSpPr>
              <a:spLocks noChangeArrowheads="1"/>
            </p:cNvSpPr>
            <p:nvPr/>
          </p:nvSpPr>
          <p:spPr bwMode="auto">
            <a:xfrm>
              <a:off x="7543096" y="4625769"/>
              <a:ext cx="3714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adiso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5" name="Rectangle 122"/>
            <p:cNvSpPr>
              <a:spLocks noChangeArrowheads="1"/>
            </p:cNvSpPr>
            <p:nvPr/>
          </p:nvSpPr>
          <p:spPr bwMode="auto">
            <a:xfrm>
              <a:off x="8217784" y="4727369"/>
              <a:ext cx="6604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Cape Girardeau</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6" name="Rectangle 123"/>
            <p:cNvSpPr>
              <a:spLocks noChangeArrowheads="1"/>
            </p:cNvSpPr>
            <p:nvPr/>
          </p:nvSpPr>
          <p:spPr bwMode="auto">
            <a:xfrm>
              <a:off x="7849484" y="4924219"/>
              <a:ext cx="37941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olling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7" name="Rectangle 124"/>
            <p:cNvSpPr>
              <a:spLocks noChangeArrowheads="1"/>
            </p:cNvSpPr>
            <p:nvPr/>
          </p:nvSpPr>
          <p:spPr bwMode="auto">
            <a:xfrm>
              <a:off x="7482771" y="5065506"/>
              <a:ext cx="278923" cy="10772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Wayne</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8" name="Rectangle 126"/>
            <p:cNvSpPr>
              <a:spLocks noChangeArrowheads="1"/>
            </p:cNvSpPr>
            <p:nvPr/>
          </p:nvSpPr>
          <p:spPr bwMode="auto">
            <a:xfrm>
              <a:off x="8398759" y="5125831"/>
              <a:ext cx="2428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cott</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39" name="Rectangle 127"/>
            <p:cNvSpPr>
              <a:spLocks noChangeArrowheads="1"/>
            </p:cNvSpPr>
            <p:nvPr/>
          </p:nvSpPr>
          <p:spPr bwMode="auto">
            <a:xfrm>
              <a:off x="7959021" y="5352844"/>
              <a:ext cx="395288"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Stoddar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0" name="Rectangle 128"/>
            <p:cNvSpPr>
              <a:spLocks noChangeArrowheads="1"/>
            </p:cNvSpPr>
            <p:nvPr/>
          </p:nvSpPr>
          <p:spPr bwMode="auto">
            <a:xfrm>
              <a:off x="8605134" y="5352844"/>
              <a:ext cx="474663"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ississippi</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1" name="Rectangle 129"/>
            <p:cNvSpPr>
              <a:spLocks noChangeArrowheads="1"/>
            </p:cNvSpPr>
            <p:nvPr/>
          </p:nvSpPr>
          <p:spPr bwMode="auto">
            <a:xfrm>
              <a:off x="7562146" y="5571919"/>
              <a:ext cx="2698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Butler</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2" name="Rectangle 130"/>
            <p:cNvSpPr>
              <a:spLocks noChangeArrowheads="1"/>
            </p:cNvSpPr>
            <p:nvPr/>
          </p:nvSpPr>
          <p:spPr bwMode="auto">
            <a:xfrm>
              <a:off x="8165396" y="5732256"/>
              <a:ext cx="21590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New</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3" name="Rectangle 131"/>
            <p:cNvSpPr>
              <a:spLocks noChangeArrowheads="1"/>
            </p:cNvSpPr>
            <p:nvPr/>
          </p:nvSpPr>
          <p:spPr bwMode="auto">
            <a:xfrm>
              <a:off x="8165396" y="5835444"/>
              <a:ext cx="307975"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Madrid</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4" name="Rectangle 132"/>
            <p:cNvSpPr>
              <a:spLocks noChangeArrowheads="1"/>
            </p:cNvSpPr>
            <p:nvPr/>
          </p:nvSpPr>
          <p:spPr bwMode="auto">
            <a:xfrm>
              <a:off x="8152696" y="6233906"/>
              <a:ext cx="346075" cy="1031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0000"/>
                  </a:solidFill>
                  <a:effectLst/>
                  <a:uLnTx/>
                  <a:uFillTx/>
                  <a:latin typeface="Arial" pitchFamily="34" charset="0"/>
                  <a:ea typeface="+mn-ea"/>
                  <a:cs typeface="+mn-cs"/>
                </a:rPr>
                <a:t>Pemiscot</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sp>
          <p:nvSpPr>
            <p:cNvPr id="245" name="Rectangle 133"/>
            <p:cNvSpPr>
              <a:spLocks noChangeArrowheads="1"/>
            </p:cNvSpPr>
            <p:nvPr/>
          </p:nvSpPr>
          <p:spPr bwMode="auto">
            <a:xfrm>
              <a:off x="7824084" y="6324394"/>
              <a:ext cx="336550" cy="1222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rgbClr val="000000"/>
                  </a:solidFill>
                  <a:effectLst/>
                  <a:uLnTx/>
                  <a:uFillTx/>
                  <a:latin typeface="Arial" pitchFamily="34" charset="0"/>
                  <a:ea typeface="+mn-ea"/>
                  <a:cs typeface="+mn-cs"/>
                </a:rPr>
                <a:t>Dunklin</a:t>
              </a:r>
              <a:endParaRPr kumimoji="0" lang="en-US" sz="1800" b="0" i="0" u="none" strike="noStrike" kern="1200" cap="none" spc="0" normalizeH="0" baseline="0" noProof="0" dirty="0" smtClean="0">
                <a:ln>
                  <a:noFill/>
                </a:ln>
                <a:solidFill>
                  <a:srgbClr val="000000"/>
                </a:solidFill>
                <a:effectLst/>
                <a:uLnTx/>
                <a:uFillTx/>
                <a:latin typeface="Arial" pitchFamily="34" charset="0"/>
                <a:ea typeface="+mn-ea"/>
                <a:cs typeface="+mn-cs"/>
              </a:endParaRPr>
            </a:p>
          </p:txBody>
        </p:sp>
      </p:grpSp>
      <p:sp>
        <p:nvSpPr>
          <p:cNvPr id="255" name="TextBox 254"/>
          <p:cNvSpPr txBox="1"/>
          <p:nvPr/>
        </p:nvSpPr>
        <p:spPr>
          <a:xfrm>
            <a:off x="1059420" y="1587312"/>
            <a:ext cx="229515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Northwest</a:t>
            </a:r>
            <a:r>
              <a:rPr kumimoji="0" lang="en-US" sz="1600" b="1" i="0" u="none" strike="noStrike" kern="1200" cap="none" spc="0" normalizeH="0" baseline="0" noProof="0" dirty="0">
                <a:ln>
                  <a:noFill/>
                </a:ln>
                <a:solidFill>
                  <a:srgbClr val="000000">
                    <a:lumMod val="65000"/>
                    <a:lumOff val="35000"/>
                  </a:srgbClr>
                </a:solidFill>
                <a:effectLst/>
                <a:uLnTx/>
                <a:uFillTx/>
                <a:latin typeface="Verdana" panose="020B0604030504040204"/>
                <a:ea typeface="+mn-ea"/>
                <a:cs typeface="+mn-cs"/>
              </a:rPr>
              <a:t> </a:t>
            </a:r>
            <a:r>
              <a:rPr kumimoji="0" lang="en-US" sz="16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Region</a:t>
            </a:r>
            <a:r>
              <a:rPr kumimoji="0" lang="en-US" sz="14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t/>
            </a:r>
            <a:br>
              <a:rPr kumimoji="0" lang="en-US" sz="1400" b="1" i="0" u="none" strike="noStrike" kern="1200" cap="none" spc="0" normalizeH="0" baseline="0" noProof="0" dirty="0" smtClean="0">
                <a:ln>
                  <a:noFill/>
                </a:ln>
                <a:solidFill>
                  <a:srgbClr val="000000">
                    <a:lumMod val="65000"/>
                    <a:lumOff val="35000"/>
                  </a:srgbClr>
                </a:solidFill>
                <a:effectLst/>
                <a:uLnTx/>
                <a:uFillTx/>
                <a:latin typeface="Verdana" panose="020B0604030504040204"/>
                <a:ea typeface="+mn-ea"/>
                <a:cs typeface="+mn-cs"/>
              </a:rPr>
            </a:br>
            <a:r>
              <a:rPr kumimoji="0" lang="en-US" sz="1400" b="1" i="0" u="none" strike="noStrike" kern="1200" cap="none" spc="0" normalizeH="0" baseline="0" noProof="0" dirty="0" smtClean="0">
                <a:ln>
                  <a:noFill/>
                </a:ln>
                <a:solidFill>
                  <a:srgbClr val="FF0000"/>
                </a:solidFill>
                <a:effectLst/>
                <a:uLnTx/>
                <a:uFillTx/>
                <a:latin typeface="Verdana" panose="020B0604030504040204"/>
                <a:ea typeface="+mn-ea"/>
                <a:cs typeface="+mn-cs"/>
                <a:sym typeface="Wingdings" panose="05000000000000000000" pitchFamily="2" charset="2"/>
              </a:rPr>
              <a:t>1.13 -&gt; 1.06</a:t>
            </a:r>
            <a:endParaRPr kumimoji="0" lang="en-US" sz="1400" b="1" i="0" u="none" strike="noStrike" kern="1200" cap="none" spc="0" normalizeH="0" baseline="0" noProof="0" dirty="0">
              <a:ln>
                <a:noFill/>
              </a:ln>
              <a:solidFill>
                <a:srgbClr val="00B050"/>
              </a:solidFill>
              <a:effectLst/>
              <a:uLnTx/>
              <a:uFillTx/>
              <a:latin typeface="Verdana" panose="020B0604030504040204"/>
              <a:ea typeface="+mn-ea"/>
              <a:cs typeface="+mn-cs"/>
            </a:endParaRPr>
          </a:p>
        </p:txBody>
      </p:sp>
      <p:cxnSp>
        <p:nvCxnSpPr>
          <p:cNvPr id="257" name="Straight Arrow Connector 256"/>
          <p:cNvCxnSpPr>
            <a:endCxn id="256" idx="1"/>
          </p:cNvCxnSpPr>
          <p:nvPr/>
        </p:nvCxnSpPr>
        <p:spPr>
          <a:xfrm flipV="1">
            <a:off x="6526769" y="2310587"/>
            <a:ext cx="1299043" cy="126038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9" name="TextBox 258"/>
          <p:cNvSpPr txBox="1"/>
          <p:nvPr/>
        </p:nvSpPr>
        <p:spPr>
          <a:xfrm>
            <a:off x="9628" y="6512287"/>
            <a:ext cx="276389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smtClean="0">
                <a:ln>
                  <a:noFill/>
                </a:ln>
                <a:solidFill>
                  <a:srgbClr val="000000"/>
                </a:solidFill>
                <a:effectLst/>
                <a:uLnTx/>
                <a:uFillTx/>
                <a:latin typeface="Verdana" panose="020B0604030504040204"/>
                <a:ea typeface="+mn-ea"/>
                <a:cs typeface="+mn-cs"/>
              </a:rPr>
              <a:t>* Data date range: 01/26/21 – 02/1/21</a:t>
            </a:r>
            <a:endParaRPr kumimoji="0" lang="en-US" sz="1000" b="0" i="1"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260" name="TextBox 259"/>
          <p:cNvSpPr txBox="1"/>
          <p:nvPr/>
        </p:nvSpPr>
        <p:spPr>
          <a:xfrm>
            <a:off x="339874" y="4476787"/>
            <a:ext cx="3507957" cy="1107996"/>
          </a:xfrm>
          <a:prstGeom prst="rect">
            <a:avLst/>
          </a:prstGeom>
          <a:noFill/>
          <a:ln>
            <a:solidFill>
              <a:schemeClr val="tx1">
                <a:lumMod val="75000"/>
                <a:lumOff val="25000"/>
              </a:schemeClr>
            </a:solidFill>
          </a:ln>
        </p:spPr>
        <p:txBody>
          <a:bodyPr wrap="square" tIns="91440" bIns="9144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smtClean="0">
                <a:ln>
                  <a:noFill/>
                </a:ln>
                <a:solidFill>
                  <a:srgbClr val="000000"/>
                </a:solidFill>
                <a:effectLst/>
                <a:uLnTx/>
                <a:uFillTx/>
                <a:latin typeface="Verdana" panose="020B0604030504040204"/>
                <a:ea typeface="+mn-ea"/>
                <a:cs typeface="+mn-cs"/>
              </a:rPr>
              <a:t>Understanding R</a:t>
            </a:r>
            <a:r>
              <a:rPr kumimoji="0" lang="en-US" sz="2000" b="1" i="0" u="none" strike="noStrike" kern="1200" cap="none" spc="0" normalizeH="0" baseline="-25000" noProof="0" dirty="0" smtClean="0">
                <a:ln>
                  <a:noFill/>
                </a:ln>
                <a:solidFill>
                  <a:srgbClr val="000000"/>
                </a:solidFill>
                <a:effectLst/>
                <a:uLnTx/>
                <a:uFillTx/>
                <a:latin typeface="Verdana" panose="020B0604030504040204"/>
                <a:ea typeface="+mn-ea"/>
                <a:cs typeface="+mn-cs"/>
              </a:rPr>
              <a:t>e</a:t>
            </a:r>
            <a:endParaRPr kumimoji="0" lang="en-US" sz="2000" b="1" i="0" u="none" strike="noStrike" kern="1200" cap="none" spc="0" normalizeH="0" baseline="0" noProof="0" dirty="0" smtClean="0">
              <a:ln>
                <a:noFill/>
              </a:ln>
              <a:solidFill>
                <a:srgbClr val="000000"/>
              </a:solidFill>
              <a:effectLst/>
              <a:uLnTx/>
              <a:uFillTx/>
              <a:latin typeface="Verdana" panose="020B060403050404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000000"/>
                </a:solidFill>
                <a:effectLst/>
                <a:uLnTx/>
                <a:uFillTx/>
                <a:latin typeface="Verdana" panose="020B0604030504040204"/>
                <a:ea typeface="+mn-ea"/>
                <a:cs typeface="+mn-cs"/>
              </a:rPr>
              <a:t>R</a:t>
            </a:r>
            <a:r>
              <a:rPr kumimoji="0" lang="en-US" sz="2000" b="0" i="0" u="none" strike="noStrike" kern="1200" cap="none" spc="0" normalizeH="0" baseline="-25000" noProof="0" dirty="0" smtClean="0">
                <a:ln>
                  <a:noFill/>
                </a:ln>
                <a:solidFill>
                  <a:srgbClr val="000000"/>
                </a:solidFill>
                <a:effectLst/>
                <a:uLnTx/>
                <a:uFillTx/>
                <a:latin typeface="Verdana" panose="020B0604030504040204"/>
                <a:ea typeface="+mn-ea"/>
                <a:cs typeface="+mn-cs"/>
              </a:rPr>
              <a:t>e</a:t>
            </a:r>
            <a:r>
              <a:rPr kumimoji="0" lang="en-US" sz="2000" b="0" i="0" u="none" strike="noStrike" kern="1200" cap="none" spc="0" normalizeH="0" baseline="0" noProof="0" dirty="0" smtClean="0">
                <a:ln>
                  <a:noFill/>
                </a:ln>
                <a:solidFill>
                  <a:srgbClr val="000000"/>
                </a:solidFill>
                <a:effectLst/>
                <a:uLnTx/>
                <a:uFillTx/>
                <a:latin typeface="Verdana" panose="020B0604030504040204"/>
                <a:ea typeface="+mn-ea"/>
                <a:cs typeface="+mn-cs"/>
              </a:rPr>
              <a:t> &gt; 1 = COVID cases are growing</a:t>
            </a:r>
          </a:p>
        </p:txBody>
      </p:sp>
      <p:sp>
        <p:nvSpPr>
          <p:cNvPr id="247" name="TextBox 246"/>
          <p:cNvSpPr txBox="1"/>
          <p:nvPr/>
        </p:nvSpPr>
        <p:spPr>
          <a:xfrm>
            <a:off x="9123930" y="1103011"/>
            <a:ext cx="2555432" cy="830997"/>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Verdana" panose="020B0604030504040204"/>
                <a:ea typeface="+mn-ea"/>
                <a:cs typeface="+mn-cs"/>
              </a:rPr>
              <a:t>Estimated Statewide </a:t>
            </a:r>
            <a:r>
              <a:rPr kumimoji="0" lang="en-US" sz="1600" b="1" i="0" u="none" strike="noStrike" kern="1200" cap="none" spc="0" normalizeH="0" baseline="0" noProof="0" dirty="0">
                <a:ln>
                  <a:noFill/>
                </a:ln>
                <a:solidFill>
                  <a:srgbClr val="000000"/>
                </a:solidFill>
                <a:effectLst/>
                <a:uLnTx/>
                <a:uFillTx/>
                <a:latin typeface="Verdana" panose="020B0604030504040204"/>
                <a:ea typeface="+mn-ea"/>
                <a:cs typeface="+mn-cs"/>
              </a:rPr>
              <a:t>W</a:t>
            </a:r>
            <a:r>
              <a:rPr kumimoji="0" lang="en-US" sz="1600" b="1" i="0" u="none" strike="noStrike" kern="1200" cap="none" spc="0" normalizeH="0" baseline="0" noProof="0" dirty="0" smtClean="0">
                <a:ln>
                  <a:noFill/>
                </a:ln>
                <a:solidFill>
                  <a:srgbClr val="000000"/>
                </a:solidFill>
                <a:effectLst/>
                <a:uLnTx/>
                <a:uFillTx/>
                <a:latin typeface="Verdana" panose="020B0604030504040204"/>
                <a:ea typeface="+mn-ea"/>
                <a:cs typeface="+mn-cs"/>
              </a:rPr>
              <a:t>eighted R</a:t>
            </a:r>
            <a:r>
              <a:rPr kumimoji="0" lang="en-US" sz="1600" b="1" i="0" u="none" strike="noStrike" kern="1200" cap="none" spc="0" normalizeH="0" baseline="-25000" noProof="0" dirty="0" smtClean="0">
                <a:ln>
                  <a:noFill/>
                </a:ln>
                <a:solidFill>
                  <a:srgbClr val="000000"/>
                </a:solidFill>
                <a:effectLst/>
                <a:uLnTx/>
                <a:uFillTx/>
                <a:latin typeface="Verdana" panose="020B0604030504040204"/>
                <a:ea typeface="+mn-ea"/>
                <a:cs typeface="+mn-cs"/>
              </a:rPr>
              <a:t>e</a:t>
            </a:r>
            <a:r>
              <a:rPr kumimoji="0" lang="en-US" sz="1600" b="1" i="0" u="none" strike="noStrike" kern="1200" cap="none" spc="0" normalizeH="0" baseline="0" noProof="0" dirty="0" smtClean="0">
                <a:ln>
                  <a:noFill/>
                </a:ln>
                <a:solidFill>
                  <a:srgbClr val="000000"/>
                </a:solidFill>
                <a:effectLst/>
                <a:uLnTx/>
                <a:uFillTx/>
                <a:latin typeface="Verdana" panose="020B060403050404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FF0000"/>
                </a:solidFill>
                <a:effectLst/>
                <a:uLnTx/>
                <a:uFillTx/>
                <a:latin typeface="Verdana" panose="020B0604030504040204"/>
                <a:ea typeface="+mn-ea"/>
                <a:cs typeface="+mn-cs"/>
              </a:rPr>
              <a:t>1.06 </a:t>
            </a:r>
            <a:r>
              <a:rPr kumimoji="0" lang="en-US" sz="1600" b="1" i="0" u="none" strike="noStrike" kern="1200" cap="none" spc="0" normalizeH="0" baseline="0" noProof="0" dirty="0" smtClean="0">
                <a:ln>
                  <a:noFill/>
                </a:ln>
                <a:solidFill>
                  <a:srgbClr val="FFC000"/>
                </a:solidFill>
                <a:effectLst/>
                <a:uLnTx/>
                <a:uFillTx/>
                <a:latin typeface="Verdana" panose="020B0604030504040204"/>
                <a:ea typeface="+mn-ea"/>
                <a:cs typeface="+mn-cs"/>
              </a:rPr>
              <a:t>-&gt;</a:t>
            </a:r>
            <a:r>
              <a:rPr kumimoji="0" lang="en-US" sz="1600" b="1" i="0" u="none" strike="noStrike" kern="1200" cap="none" spc="0" normalizeH="0" baseline="0" noProof="0" dirty="0" smtClean="0">
                <a:ln>
                  <a:noFill/>
                </a:ln>
                <a:solidFill>
                  <a:srgbClr val="FF0000"/>
                </a:solidFill>
                <a:effectLst/>
                <a:uLnTx/>
                <a:uFillTx/>
                <a:latin typeface="Verdana" panose="020B0604030504040204"/>
                <a:ea typeface="+mn-ea"/>
                <a:cs typeface="+mn-cs"/>
              </a:rPr>
              <a:t> </a:t>
            </a:r>
            <a:r>
              <a:rPr kumimoji="0" lang="en-US" sz="1600" b="1" i="0" u="none" strike="noStrike" kern="1200" cap="none" spc="0" normalizeH="0" baseline="0" noProof="0" dirty="0" smtClean="0">
                <a:ln>
                  <a:noFill/>
                </a:ln>
                <a:solidFill>
                  <a:srgbClr val="FFC000"/>
                </a:solidFill>
                <a:effectLst/>
                <a:uLnTx/>
                <a:uFillTx/>
                <a:latin typeface="Verdana" panose="020B0604030504040204"/>
                <a:ea typeface="+mn-ea"/>
                <a:cs typeface="+mn-cs"/>
              </a:rPr>
              <a:t>0.96</a:t>
            </a:r>
            <a:endParaRPr kumimoji="0" lang="en-US" sz="1600" b="1" i="0" u="none" strike="noStrike" kern="1200" cap="none" spc="0" normalizeH="0" baseline="0" noProof="0" dirty="0">
              <a:ln>
                <a:noFill/>
              </a:ln>
              <a:solidFill>
                <a:srgbClr val="FFC000"/>
              </a:solidFill>
              <a:effectLst/>
              <a:uLnTx/>
              <a:uFillTx/>
              <a:latin typeface="Verdana" panose="020B0604030504040204"/>
              <a:ea typeface="+mn-ea"/>
              <a:cs typeface="+mn-cs"/>
            </a:endParaRPr>
          </a:p>
        </p:txBody>
      </p:sp>
    </p:spTree>
    <p:extLst>
      <p:ext uri="{BB962C8B-B14F-4D97-AF65-F5344CB8AC3E}">
        <p14:creationId xmlns:p14="http://schemas.microsoft.com/office/powerpoint/2010/main" val="31674847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38" imgW="378" imgH="379" progId="TCLayout.ActiveDocument.1">
                  <p:embed/>
                </p:oleObj>
              </mc:Choice>
              <mc:Fallback>
                <p:oleObj name="think-cell Slide" r:id="rId38" imgW="378" imgH="379" progId="TCLayout.ActiveDocument.1">
                  <p:embed/>
                  <p:pic>
                    <p:nvPicPr>
                      <p:cNvPr id="6" name="Object 5"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 name="Title 1"/>
          <p:cNvSpPr>
            <a:spLocks noGrp="1"/>
          </p:cNvSpPr>
          <p:nvPr>
            <p:ph type="title"/>
          </p:nvPr>
        </p:nvSpPr>
        <p:spPr/>
        <p:txBody>
          <a:bodyPr vert="horz">
            <a:normAutofit/>
          </a:bodyPr>
          <a:lstStyle/>
          <a:p>
            <a:r>
              <a:rPr lang="en-US" dirty="0" smtClean="0"/>
              <a:t>Missouri is currently #44 in new cases per capita</a:t>
            </a:r>
            <a:endParaRPr lang="en-US" dirty="0"/>
          </a:p>
        </p:txBody>
      </p:sp>
      <p:sp>
        <p:nvSpPr>
          <p:cNvPr id="3" name="Content Placeholder 2"/>
          <p:cNvSpPr>
            <a:spLocks noGrp="1"/>
          </p:cNvSpPr>
          <p:nvPr>
            <p:ph sz="half" idx="1"/>
          </p:nvPr>
        </p:nvSpPr>
        <p:spPr>
          <a:xfrm>
            <a:off x="9420264" y="2790408"/>
            <a:ext cx="2385975" cy="3254375"/>
          </a:xfrm>
        </p:spPr>
        <p:txBody>
          <a:bodyPr>
            <a:normAutofit/>
          </a:bodyPr>
          <a:lstStyle/>
          <a:p>
            <a:r>
              <a:rPr lang="en-US" sz="2000" dirty="0" smtClean="0"/>
              <a:t>Missouri’s case rate is lower than most of its neighbors</a:t>
            </a:r>
            <a:endParaRPr lang="en-US" sz="2000" dirty="0"/>
          </a:p>
        </p:txBody>
      </p:sp>
      <p:graphicFrame>
        <p:nvGraphicFramePr>
          <p:cNvPr id="61" name="Chart 60"/>
          <p:cNvGraphicFramePr/>
          <p:nvPr>
            <p:custDataLst>
              <p:tags r:id="rId4"/>
            </p:custDataLst>
            <p:extLst/>
          </p:nvPr>
        </p:nvGraphicFramePr>
        <p:xfrm>
          <a:off x="1376363" y="2000250"/>
          <a:ext cx="2428875" cy="4541838"/>
        </p:xfrm>
        <a:graphic>
          <a:graphicData uri="http://schemas.openxmlformats.org/drawingml/2006/chart">
            <c:chart xmlns:c="http://schemas.openxmlformats.org/drawingml/2006/chart" xmlns:r="http://schemas.openxmlformats.org/officeDocument/2006/relationships" r:id="rId40"/>
          </a:graphicData>
        </a:graphic>
      </p:graphicFrame>
      <p:sp>
        <p:nvSpPr>
          <p:cNvPr id="23" name="Text Placeholder 2">
            <a:extLst>
              <a:ext uri="{FF2B5EF4-FFF2-40B4-BE49-F238E27FC236}">
                <a16:creationId xmlns:a16="http://schemas.microsoft.com/office/drawing/2014/main" id="{21513906-1BA5-0944-91F0-63933281A4E2}"/>
              </a:ext>
            </a:extLst>
          </p:cNvPr>
          <p:cNvSpPr>
            <a:spLocks noGrp="1"/>
          </p:cNvSpPr>
          <p:nvPr>
            <p:custDataLst>
              <p:tags r:id="rId5"/>
            </p:custDataLst>
          </p:nvPr>
        </p:nvSpPr>
        <p:spPr bwMode="auto">
          <a:xfrm>
            <a:off x="311150" y="5270500"/>
            <a:ext cx="12938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Arkansas</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21" name="Text Placeholder 2">
            <a:extLst>
              <a:ext uri="{FF2B5EF4-FFF2-40B4-BE49-F238E27FC236}">
                <a16:creationId xmlns:a16="http://schemas.microsoft.com/office/drawing/2014/main" id="{21513906-1BA5-0944-91F0-63933281A4E2}"/>
              </a:ext>
            </a:extLst>
          </p:cNvPr>
          <p:cNvSpPr>
            <a:spLocks noGrp="1"/>
          </p:cNvSpPr>
          <p:nvPr>
            <p:custDataLst>
              <p:tags r:id="rId6"/>
            </p:custDataLst>
          </p:nvPr>
        </p:nvSpPr>
        <p:spPr bwMode="auto">
          <a:xfrm>
            <a:off x="909638" y="4394200"/>
            <a:ext cx="6953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New York</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17" name="Text Placeholder 2">
            <a:extLst>
              <a:ext uri="{FF2B5EF4-FFF2-40B4-BE49-F238E27FC236}">
                <a16:creationId xmlns:a16="http://schemas.microsoft.com/office/drawing/2014/main" id="{21513906-1BA5-0944-91F0-63933281A4E2}"/>
              </a:ext>
            </a:extLst>
          </p:cNvPr>
          <p:cNvSpPr>
            <a:spLocks noGrp="1"/>
          </p:cNvSpPr>
          <p:nvPr>
            <p:custDataLst>
              <p:tags r:id="rId7"/>
            </p:custDataLst>
          </p:nvPr>
        </p:nvSpPr>
        <p:spPr bwMode="auto">
          <a:xfrm>
            <a:off x="285750" y="2643188"/>
            <a:ext cx="13192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South Carolin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18" name="Text Placeholder 2">
            <a:extLst>
              <a:ext uri="{FF2B5EF4-FFF2-40B4-BE49-F238E27FC236}">
                <a16:creationId xmlns:a16="http://schemas.microsoft.com/office/drawing/2014/main" id="{21513906-1BA5-0944-91F0-63933281A4E2}"/>
              </a:ext>
            </a:extLst>
          </p:cNvPr>
          <p:cNvSpPr>
            <a:spLocks noGrp="1"/>
          </p:cNvSpPr>
          <p:nvPr>
            <p:custDataLst>
              <p:tags r:id="rId8"/>
            </p:custDataLst>
          </p:nvPr>
        </p:nvSpPr>
        <p:spPr bwMode="auto">
          <a:xfrm>
            <a:off x="938213" y="2206625"/>
            <a:ext cx="6667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Texas</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16" name="Text Placeholder 2">
            <a:extLst>
              <a:ext uri="{FF2B5EF4-FFF2-40B4-BE49-F238E27FC236}">
                <a16:creationId xmlns:a16="http://schemas.microsoft.com/office/drawing/2014/main" id="{21513906-1BA5-0944-91F0-63933281A4E2}"/>
              </a:ext>
            </a:extLst>
          </p:cNvPr>
          <p:cNvSpPr>
            <a:spLocks noGrp="1"/>
          </p:cNvSpPr>
          <p:nvPr>
            <p:custDataLst>
              <p:tags r:id="rId9"/>
            </p:custDataLst>
          </p:nvPr>
        </p:nvSpPr>
        <p:spPr bwMode="auto">
          <a:xfrm>
            <a:off x="434975" y="3081338"/>
            <a:ext cx="11699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Rhode Island</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19" name="Text Placeholder 2">
            <a:extLst>
              <a:ext uri="{FF2B5EF4-FFF2-40B4-BE49-F238E27FC236}">
                <a16:creationId xmlns:a16="http://schemas.microsoft.com/office/drawing/2014/main" id="{21513906-1BA5-0944-91F0-63933281A4E2}"/>
              </a:ext>
            </a:extLst>
          </p:cNvPr>
          <p:cNvSpPr>
            <a:spLocks noGrp="1"/>
          </p:cNvSpPr>
          <p:nvPr>
            <p:custDataLst>
              <p:tags r:id="rId10"/>
            </p:custDataLst>
          </p:nvPr>
        </p:nvSpPr>
        <p:spPr bwMode="auto">
          <a:xfrm>
            <a:off x="704851" y="3519488"/>
            <a:ext cx="9001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Arizon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25" name="Text Placeholder 2">
            <a:extLst>
              <a:ext uri="{FF2B5EF4-FFF2-40B4-BE49-F238E27FC236}">
                <a16:creationId xmlns:a16="http://schemas.microsoft.com/office/drawing/2014/main" id="{21513906-1BA5-0944-91F0-63933281A4E2}"/>
              </a:ext>
            </a:extLst>
          </p:cNvPr>
          <p:cNvSpPr>
            <a:spLocks noGrp="1"/>
          </p:cNvSpPr>
          <p:nvPr>
            <p:custDataLst>
              <p:tags r:id="rId11"/>
            </p:custDataLst>
          </p:nvPr>
        </p:nvSpPr>
        <p:spPr bwMode="auto">
          <a:xfrm>
            <a:off x="784225" y="6145213"/>
            <a:ext cx="8207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North Carolin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20" name="Text Placeholder 2">
            <a:extLst>
              <a:ext uri="{FF2B5EF4-FFF2-40B4-BE49-F238E27FC236}">
                <a16:creationId xmlns:a16="http://schemas.microsoft.com/office/drawing/2014/main" id="{21513906-1BA5-0944-91F0-63933281A4E2}"/>
              </a:ext>
            </a:extLst>
          </p:cNvPr>
          <p:cNvSpPr>
            <a:spLocks noGrp="1"/>
          </p:cNvSpPr>
          <p:nvPr>
            <p:custDataLst>
              <p:tags r:id="rId12"/>
            </p:custDataLst>
          </p:nvPr>
        </p:nvSpPr>
        <p:spPr bwMode="auto">
          <a:xfrm>
            <a:off x="769938" y="3957638"/>
            <a:ext cx="8350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Oklahom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22" name="Text Placeholder 2">
            <a:extLst>
              <a:ext uri="{FF2B5EF4-FFF2-40B4-BE49-F238E27FC236}">
                <a16:creationId xmlns:a16="http://schemas.microsoft.com/office/drawing/2014/main" id="{21513906-1BA5-0944-91F0-63933281A4E2}"/>
              </a:ext>
            </a:extLst>
          </p:cNvPr>
          <p:cNvSpPr>
            <a:spLocks noGrp="1"/>
          </p:cNvSpPr>
          <p:nvPr>
            <p:custDataLst>
              <p:tags r:id="rId13"/>
            </p:custDataLst>
          </p:nvPr>
        </p:nvSpPr>
        <p:spPr bwMode="auto">
          <a:xfrm>
            <a:off x="774700" y="4832350"/>
            <a:ext cx="8302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Kentucky</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24" name="Text Placeholder 2">
            <a:extLst>
              <a:ext uri="{FF2B5EF4-FFF2-40B4-BE49-F238E27FC236}">
                <a16:creationId xmlns:a16="http://schemas.microsoft.com/office/drawing/2014/main" id="{21513906-1BA5-0944-91F0-63933281A4E2}"/>
              </a:ext>
            </a:extLst>
          </p:cNvPr>
          <p:cNvSpPr>
            <a:spLocks noGrp="1"/>
          </p:cNvSpPr>
          <p:nvPr>
            <p:custDataLst>
              <p:tags r:id="rId14"/>
            </p:custDataLst>
          </p:nvPr>
        </p:nvSpPr>
        <p:spPr bwMode="auto">
          <a:xfrm>
            <a:off x="311150" y="5707063"/>
            <a:ext cx="12938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New Jersey</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31" name="TextBox 30"/>
          <p:cNvSpPr txBox="1"/>
          <p:nvPr/>
        </p:nvSpPr>
        <p:spPr>
          <a:xfrm>
            <a:off x="594214" y="1046817"/>
            <a:ext cx="95665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0000"/>
                </a:solidFill>
                <a:effectLst/>
                <a:uLnTx/>
                <a:uFillTx/>
                <a:latin typeface="Verdana" panose="020B0604030504040204"/>
                <a:ea typeface="+mn-ea"/>
                <a:cs typeface="+mn-cs"/>
              </a:rPr>
              <a:t>New cases per 100k </a:t>
            </a:r>
            <a:r>
              <a:rPr kumimoji="0" lang="en-US" sz="1800" b="1" i="0" u="sng" strike="noStrike" kern="1200" cap="none" spc="0" normalizeH="0" baseline="0" noProof="0" dirty="0" smtClean="0">
                <a:ln>
                  <a:noFill/>
                </a:ln>
                <a:solidFill>
                  <a:srgbClr val="000000"/>
                </a:solidFill>
                <a:effectLst/>
                <a:uLnTx/>
                <a:uFillTx/>
                <a:latin typeface="Verdana" panose="020B0604030504040204"/>
                <a:ea typeface="+mn-ea"/>
                <a:cs typeface="+mn-cs"/>
              </a:rPr>
              <a:t>by report date</a:t>
            </a:r>
            <a:r>
              <a:rPr kumimoji="0" lang="en-US" sz="1800" b="1" i="0" u="none" strike="noStrike" kern="1200" cap="none" spc="0" normalizeH="0" baseline="0" noProof="0" dirty="0" smtClean="0">
                <a:ln>
                  <a:noFill/>
                </a:ln>
                <a:solidFill>
                  <a:srgbClr val="000000"/>
                </a:solidFill>
                <a:effectLst/>
                <a:uLnTx/>
                <a:uFillTx/>
                <a:latin typeface="Verdana" panose="020B0604030504040204"/>
                <a:ea typeface="+mn-ea"/>
                <a:cs typeface="+mn-cs"/>
              </a:rPr>
              <a:t> in </a:t>
            </a:r>
            <a:r>
              <a:rPr kumimoji="0" lang="en-US" sz="1800" b="1" i="0" u="none" strike="noStrike" kern="1200" cap="none" spc="0" normalizeH="0" baseline="0" noProof="0" dirty="0">
                <a:ln>
                  <a:noFill/>
                </a:ln>
                <a:solidFill>
                  <a:srgbClr val="000000"/>
                </a:solidFill>
                <a:effectLst/>
                <a:uLnTx/>
                <a:uFillTx/>
                <a:latin typeface="Verdana" panose="020B0604030504040204"/>
                <a:ea typeface="+mn-ea"/>
                <a:cs typeface="+mn-cs"/>
              </a:rPr>
              <a:t>the past 7 days </a:t>
            </a:r>
            <a:r>
              <a:rPr kumimoji="0" lang="en-US" sz="1800" b="1" i="0" u="none" strike="noStrike" kern="1200" cap="none" spc="0" normalizeH="0" baseline="0" noProof="0" dirty="0" smtClean="0">
                <a:ln>
                  <a:noFill/>
                </a:ln>
                <a:solidFill>
                  <a:srgbClr val="000000"/>
                </a:solidFill>
                <a:effectLst/>
                <a:uLnTx/>
                <a:uFillTx/>
                <a:latin typeface="Verdana" panose="020B0604030504040204"/>
                <a:ea typeface="+mn-ea"/>
                <a:cs typeface="+mn-cs"/>
              </a:rPr>
              <a:t>(Jan 27 – Feb 2)</a:t>
            </a:r>
            <a:endParaRPr kumimoji="0" lang="en-US" sz="1800" b="0" i="0" u="none" strike="noStrike" kern="1200" cap="none" spc="0" normalizeH="0" baseline="0" noProof="0" dirty="0" smtClean="0">
              <a:ln>
                <a:noFill/>
              </a:ln>
              <a:solidFill>
                <a:srgbClr val="000000"/>
              </a:solidFill>
              <a:effectLst/>
              <a:uLnTx/>
              <a:uFillTx/>
              <a:latin typeface="Verdana" panose="020B0604030504040204"/>
              <a:ea typeface="+mn-ea"/>
              <a:cs typeface="+mn-cs"/>
            </a:endParaRPr>
          </a:p>
        </p:txBody>
      </p:sp>
      <p:graphicFrame>
        <p:nvGraphicFramePr>
          <p:cNvPr id="179" name="Chart 178"/>
          <p:cNvGraphicFramePr/>
          <p:nvPr>
            <p:custDataLst>
              <p:tags r:id="rId15"/>
            </p:custDataLst>
            <p:extLst/>
          </p:nvPr>
        </p:nvGraphicFramePr>
        <p:xfrm>
          <a:off x="7580313" y="2000250"/>
          <a:ext cx="2428875" cy="4541838"/>
        </p:xfrm>
        <a:graphic>
          <a:graphicData uri="http://schemas.openxmlformats.org/drawingml/2006/chart">
            <c:chart xmlns:c="http://schemas.openxmlformats.org/drawingml/2006/chart" xmlns:r="http://schemas.openxmlformats.org/officeDocument/2006/relationships" r:id="rId41"/>
          </a:graphicData>
        </a:graphic>
      </p:graphicFrame>
      <p:sp>
        <p:nvSpPr>
          <p:cNvPr id="77" name="Text Placeholder 2">
            <a:extLst>
              <a:ext uri="{FF2B5EF4-FFF2-40B4-BE49-F238E27FC236}">
                <a16:creationId xmlns:a16="http://schemas.microsoft.com/office/drawing/2014/main" id="{21513906-1BA5-0944-91F0-63933281A4E2}"/>
              </a:ext>
            </a:extLst>
          </p:cNvPr>
          <p:cNvSpPr>
            <a:spLocks noGrp="1"/>
          </p:cNvSpPr>
          <p:nvPr>
            <p:custDataLst>
              <p:tags r:id="rId16"/>
            </p:custDataLst>
          </p:nvPr>
        </p:nvSpPr>
        <p:spPr bwMode="auto">
          <a:xfrm>
            <a:off x="7075488" y="4394200"/>
            <a:ext cx="10429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696767"/>
                </a:solidFill>
                <a:effectLst/>
                <a:uLnTx/>
                <a:uFillTx/>
                <a:latin typeface="Verdana" panose="020B0604030504040204"/>
                <a:ea typeface="Verdana" panose="020B0604030504040204" pitchFamily="34" charset="0"/>
                <a:sym typeface="+mn-lt"/>
              </a:rPr>
              <a:t>South Dakota</a:t>
            </a:r>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75" name="Text Placeholder 2">
            <a:extLst>
              <a:ext uri="{FF2B5EF4-FFF2-40B4-BE49-F238E27FC236}">
                <a16:creationId xmlns:a16="http://schemas.microsoft.com/office/drawing/2014/main" id="{21513906-1BA5-0944-91F0-63933281A4E2}"/>
              </a:ext>
            </a:extLst>
          </p:cNvPr>
          <p:cNvSpPr>
            <a:spLocks noGrp="1"/>
          </p:cNvSpPr>
          <p:nvPr>
            <p:custDataLst>
              <p:tags r:id="rId17"/>
            </p:custDataLst>
          </p:nvPr>
        </p:nvSpPr>
        <p:spPr bwMode="auto">
          <a:xfrm>
            <a:off x="6926263" y="5270500"/>
            <a:ext cx="11922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Oregon</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73" name="Text Placeholder 2">
            <a:extLst>
              <a:ext uri="{FF2B5EF4-FFF2-40B4-BE49-F238E27FC236}">
                <a16:creationId xmlns:a16="http://schemas.microsoft.com/office/drawing/2014/main" id="{21513906-1BA5-0944-91F0-63933281A4E2}"/>
              </a:ext>
            </a:extLst>
          </p:cNvPr>
          <p:cNvSpPr>
            <a:spLocks noGrp="1"/>
          </p:cNvSpPr>
          <p:nvPr>
            <p:custDataLst>
              <p:tags r:id="rId18"/>
            </p:custDataLst>
          </p:nvPr>
        </p:nvSpPr>
        <p:spPr bwMode="auto">
          <a:xfrm>
            <a:off x="6900863" y="2643188"/>
            <a:ext cx="12176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Washington</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72" name="Text Placeholder 2">
            <a:extLst>
              <a:ext uri="{FF2B5EF4-FFF2-40B4-BE49-F238E27FC236}">
                <a16:creationId xmlns:a16="http://schemas.microsoft.com/office/drawing/2014/main" id="{21513906-1BA5-0944-91F0-63933281A4E2}"/>
              </a:ext>
            </a:extLst>
          </p:cNvPr>
          <p:cNvSpPr>
            <a:spLocks noGrp="1"/>
          </p:cNvSpPr>
          <p:nvPr>
            <p:custDataLst>
              <p:tags r:id="rId19"/>
            </p:custDataLst>
          </p:nvPr>
        </p:nvSpPr>
        <p:spPr bwMode="auto">
          <a:xfrm>
            <a:off x="7331075" y="2206625"/>
            <a:ext cx="7874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696767"/>
                </a:solidFill>
                <a:effectLst/>
                <a:uLnTx/>
                <a:uFillTx/>
                <a:latin typeface="Verdana" panose="020B0604030504040204" pitchFamily="34" charset="0"/>
                <a:ea typeface="Verdana" panose="020B0604030504040204" pitchFamily="34" charset="0"/>
                <a:sym typeface="+mn-lt"/>
              </a:rPr>
              <a:t>Colorado</a:t>
            </a:r>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74" name="Text Placeholder 2">
            <a:extLst>
              <a:ext uri="{FF2B5EF4-FFF2-40B4-BE49-F238E27FC236}">
                <a16:creationId xmlns:a16="http://schemas.microsoft.com/office/drawing/2014/main" id="{21513906-1BA5-0944-91F0-63933281A4E2}"/>
              </a:ext>
            </a:extLst>
          </p:cNvPr>
          <p:cNvSpPr>
            <a:spLocks noGrp="1"/>
          </p:cNvSpPr>
          <p:nvPr>
            <p:custDataLst>
              <p:tags r:id="rId20"/>
            </p:custDataLst>
          </p:nvPr>
        </p:nvSpPr>
        <p:spPr bwMode="auto">
          <a:xfrm>
            <a:off x="7537451" y="3081338"/>
            <a:ext cx="5810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696767"/>
                </a:solidFill>
                <a:effectLst/>
                <a:uLnTx/>
                <a:uFillTx/>
                <a:latin typeface="Verdana" panose="020B0604030504040204" pitchFamily="34" charset="0"/>
                <a:ea typeface="Verdana" panose="020B0604030504040204" pitchFamily="34" charset="0"/>
              </a:rPr>
              <a:t>Vermont</a:t>
            </a:r>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79" name="Text Placeholder 2">
            <a:extLst>
              <a:ext uri="{FF2B5EF4-FFF2-40B4-BE49-F238E27FC236}">
                <a16:creationId xmlns:a16="http://schemas.microsoft.com/office/drawing/2014/main" id="{21513906-1BA5-0944-91F0-63933281A4E2}"/>
              </a:ext>
            </a:extLst>
          </p:cNvPr>
          <p:cNvSpPr>
            <a:spLocks noGrp="1"/>
          </p:cNvSpPr>
          <p:nvPr>
            <p:custDataLst>
              <p:tags r:id="rId21"/>
            </p:custDataLst>
          </p:nvPr>
        </p:nvSpPr>
        <p:spPr bwMode="auto">
          <a:xfrm>
            <a:off x="7358064" y="3519488"/>
            <a:ext cx="760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696767"/>
                </a:solidFill>
                <a:effectLst/>
                <a:uLnTx/>
                <a:uFillTx/>
                <a:latin typeface="Verdana" panose="020B0604030504040204" pitchFamily="34" charset="0"/>
                <a:ea typeface="Verdana" panose="020B0604030504040204" pitchFamily="34" charset="0"/>
                <a:sym typeface="+mn-lt"/>
              </a:rPr>
              <a:t>Alaska</a:t>
            </a:r>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78" name="Text Placeholder 2">
            <a:extLst>
              <a:ext uri="{FF2B5EF4-FFF2-40B4-BE49-F238E27FC236}">
                <a16:creationId xmlns:a16="http://schemas.microsoft.com/office/drawing/2014/main" id="{21513906-1BA5-0944-91F0-63933281A4E2}"/>
              </a:ext>
            </a:extLst>
          </p:cNvPr>
          <p:cNvSpPr>
            <a:spLocks noGrp="1"/>
          </p:cNvSpPr>
          <p:nvPr>
            <p:custDataLst>
              <p:tags r:id="rId22"/>
            </p:custDataLst>
          </p:nvPr>
        </p:nvSpPr>
        <p:spPr bwMode="auto">
          <a:xfrm>
            <a:off x="7212013" y="3957638"/>
            <a:ext cx="9064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a:ea typeface="Verdana" panose="020B0604030504040204" pitchFamily="34" charset="0"/>
                <a:sym typeface="+mn-lt"/>
              </a:rPr>
              <a:t>Michigan</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76" name="Text Placeholder 2">
            <a:extLst>
              <a:ext uri="{FF2B5EF4-FFF2-40B4-BE49-F238E27FC236}">
                <a16:creationId xmlns:a16="http://schemas.microsoft.com/office/drawing/2014/main" id="{21513906-1BA5-0944-91F0-63933281A4E2}"/>
              </a:ext>
            </a:extLst>
          </p:cNvPr>
          <p:cNvSpPr>
            <a:spLocks noGrp="1"/>
          </p:cNvSpPr>
          <p:nvPr>
            <p:custDataLst>
              <p:tags r:id="rId23"/>
            </p:custDataLst>
          </p:nvPr>
        </p:nvSpPr>
        <p:spPr bwMode="auto">
          <a:xfrm>
            <a:off x="7335838" y="4832350"/>
            <a:ext cx="7826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696767"/>
                </a:solidFill>
                <a:effectLst/>
                <a:uLnTx/>
                <a:uFillTx/>
                <a:latin typeface="Verdana" panose="020B0604030504040204"/>
                <a:ea typeface="Verdana" panose="020B0604030504040204" pitchFamily="34" charset="0"/>
                <a:sym typeface="+mn-lt"/>
              </a:rPr>
              <a:t>Minnesota</a:t>
            </a:r>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80" name="Text Placeholder 2">
            <a:extLst>
              <a:ext uri="{FF2B5EF4-FFF2-40B4-BE49-F238E27FC236}">
                <a16:creationId xmlns:a16="http://schemas.microsoft.com/office/drawing/2014/main" id="{21513906-1BA5-0944-91F0-63933281A4E2}"/>
              </a:ext>
            </a:extLst>
          </p:cNvPr>
          <p:cNvSpPr>
            <a:spLocks noGrp="1"/>
          </p:cNvSpPr>
          <p:nvPr>
            <p:custDataLst>
              <p:tags r:id="rId24"/>
            </p:custDataLst>
          </p:nvPr>
        </p:nvSpPr>
        <p:spPr bwMode="auto">
          <a:xfrm>
            <a:off x="7464424" y="5707063"/>
            <a:ext cx="6540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rPr>
              <a:t>North Dakot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81" name="Text Placeholder 2">
            <a:extLst>
              <a:ext uri="{FF2B5EF4-FFF2-40B4-BE49-F238E27FC236}">
                <a16:creationId xmlns:a16="http://schemas.microsoft.com/office/drawing/2014/main" id="{21513906-1BA5-0944-91F0-63933281A4E2}"/>
              </a:ext>
            </a:extLst>
          </p:cNvPr>
          <p:cNvSpPr>
            <a:spLocks noGrp="1"/>
          </p:cNvSpPr>
          <p:nvPr>
            <p:custDataLst>
              <p:tags r:id="rId25"/>
            </p:custDataLst>
          </p:nvPr>
        </p:nvSpPr>
        <p:spPr bwMode="auto">
          <a:xfrm>
            <a:off x="7531100" y="6145213"/>
            <a:ext cx="587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C50709D-07C1-43F3-93CB-9DAAA1330078}" type="datetime'''''''Ha''''''w''''''''''''''''''''''a''i''i'''''''''''''''''">
              <a:rPr kumimoji="0" lang="en-US" altLang="en-US" sz="1400" b="0" i="0" u="none" strike="noStrike" kern="1200" cap="none" spc="0" normalizeH="0" baseline="0" noProof="0" smtClean="0">
                <a:ln>
                  <a:noFill/>
                </a:ln>
                <a:solidFill>
                  <a:srgbClr val="696767"/>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Hawaii</a:t>
            </a:fld>
            <a:endParaRPr kumimoji="0" lang="en-US" sz="1400" b="0" i="0" u="none" strike="noStrike" kern="1200" cap="none" spc="0" normalizeH="0" baseline="0" noProof="0" dirty="0">
              <a:ln>
                <a:noFill/>
              </a:ln>
              <a:solidFill>
                <a:srgbClr val="696767"/>
              </a:solidFill>
              <a:effectLst/>
              <a:uLnTx/>
              <a:uFillTx/>
              <a:latin typeface="Verdana" panose="020B0604030504040204"/>
              <a:ea typeface="Verdana" panose="020B0604030504040204" pitchFamily="34" charset="0"/>
              <a:sym typeface="+mn-lt"/>
            </a:endParaRPr>
          </a:p>
        </p:txBody>
      </p:sp>
      <p:sp>
        <p:nvSpPr>
          <p:cNvPr id="158" name="TextBox 157"/>
          <p:cNvSpPr txBox="1"/>
          <p:nvPr/>
        </p:nvSpPr>
        <p:spPr>
          <a:xfrm>
            <a:off x="415925" y="1624684"/>
            <a:ext cx="41814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smtClean="0">
                <a:ln>
                  <a:noFill/>
                </a:ln>
                <a:solidFill>
                  <a:srgbClr val="000000"/>
                </a:solidFill>
                <a:effectLst/>
                <a:uLnTx/>
                <a:uFillTx/>
                <a:latin typeface="Verdana" panose="020B0604030504040204"/>
                <a:ea typeface="+mn-ea"/>
                <a:cs typeface="+mn-cs"/>
              </a:rPr>
              <a:t>Top 10 states</a:t>
            </a:r>
          </a:p>
        </p:txBody>
      </p:sp>
      <p:sp>
        <p:nvSpPr>
          <p:cNvPr id="172" name="TextBox 171"/>
          <p:cNvSpPr txBox="1"/>
          <p:nvPr/>
        </p:nvSpPr>
        <p:spPr>
          <a:xfrm>
            <a:off x="594214" y="6504465"/>
            <a:ext cx="105563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Verdana" panose="020B0604030504040204"/>
                <a:ea typeface="+mn-ea"/>
                <a:cs typeface="+mn-cs"/>
              </a:rPr>
              <a:t>Source: Nationwide data are from USA Facts; red / yellow / green thresholds are from the White House Coronavirus Task Force</a:t>
            </a:r>
            <a:endParaRPr kumimoji="0" lang="en-US" sz="10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graphicFrame>
        <p:nvGraphicFramePr>
          <p:cNvPr id="157" name="Chart 156"/>
          <p:cNvGraphicFramePr/>
          <p:nvPr>
            <p:custDataLst>
              <p:tags r:id="rId26"/>
            </p:custDataLst>
            <p:extLst/>
          </p:nvPr>
        </p:nvGraphicFramePr>
        <p:xfrm>
          <a:off x="4459288" y="2000250"/>
          <a:ext cx="2643187" cy="4541838"/>
        </p:xfrm>
        <a:graphic>
          <a:graphicData uri="http://schemas.openxmlformats.org/drawingml/2006/chart">
            <c:chart xmlns:c="http://schemas.openxmlformats.org/drawingml/2006/chart" xmlns:r="http://schemas.openxmlformats.org/officeDocument/2006/relationships" r:id="rId42"/>
          </a:graphicData>
        </a:graphic>
      </p:graphicFrame>
      <p:sp>
        <p:nvSpPr>
          <p:cNvPr id="95" name="Text Placeholder 2">
            <a:extLst>
              <a:ext uri="{FF2B5EF4-FFF2-40B4-BE49-F238E27FC236}">
                <a16:creationId xmlns:a16="http://schemas.microsoft.com/office/drawing/2014/main" id="{21513906-1BA5-0944-91F0-63933281A4E2}"/>
              </a:ext>
            </a:extLst>
          </p:cNvPr>
          <p:cNvSpPr>
            <a:spLocks noGrp="1"/>
          </p:cNvSpPr>
          <p:nvPr>
            <p:custDataLst>
              <p:tags r:id="rId27"/>
            </p:custDataLst>
          </p:nvPr>
        </p:nvSpPr>
        <p:spPr bwMode="auto">
          <a:xfrm>
            <a:off x="4545013" y="3519488"/>
            <a:ext cx="5238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808080"/>
                </a:solidFill>
                <a:effectLst/>
                <a:uLnTx/>
                <a:uFillTx/>
                <a:latin typeface="Verdana" panose="020B0604030504040204" pitchFamily="34" charset="0"/>
                <a:ea typeface="Verdana" panose="020B0604030504040204" pitchFamily="34" charset="0"/>
              </a:rPr>
              <a:t>Maryland</a:t>
            </a:r>
            <a:endParaRPr kumimoji="0" lang="en-US" sz="1400" b="0" i="0" u="none" strike="noStrike" kern="1200" cap="none" spc="0" normalizeH="0" baseline="0" noProof="0" dirty="0">
              <a:ln>
                <a:noFill/>
              </a:ln>
              <a:solidFill>
                <a:srgbClr val="808080"/>
              </a:solidFill>
              <a:effectLst/>
              <a:uLnTx/>
              <a:uFillTx/>
              <a:latin typeface="Verdana" panose="020B0604030504040204" pitchFamily="34" charset="0"/>
              <a:ea typeface="Verdana" panose="020B0604030504040204" pitchFamily="34" charset="0"/>
              <a:sym typeface="+mn-lt"/>
            </a:endParaRPr>
          </a:p>
        </p:txBody>
      </p:sp>
      <p:sp>
        <p:nvSpPr>
          <p:cNvPr id="89" name="Text Placeholder 2">
            <a:extLst>
              <a:ext uri="{FF2B5EF4-FFF2-40B4-BE49-F238E27FC236}">
                <a16:creationId xmlns:a16="http://schemas.microsoft.com/office/drawing/2014/main" id="{21513906-1BA5-0944-91F0-63933281A4E2}"/>
              </a:ext>
            </a:extLst>
          </p:cNvPr>
          <p:cNvSpPr>
            <a:spLocks noGrp="1"/>
          </p:cNvSpPr>
          <p:nvPr>
            <p:custDataLst>
              <p:tags r:id="rId28"/>
            </p:custDataLst>
          </p:nvPr>
        </p:nvSpPr>
        <p:spPr bwMode="auto">
          <a:xfrm>
            <a:off x="4232275" y="3957638"/>
            <a:ext cx="8366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0E2FE59-1EF4-4505-98AD-418C36E5B7D2}" type="datetime'''''''''''''''''M''iss''''''''''''o''''''u''''''ri'''''''">
              <a:rPr kumimoji="0" lang="en-US" altLang="en-US" sz="1400" b="1" i="0" u="none" strike="noStrike" kern="1200" cap="none" spc="0" normalizeH="0" baseline="0" noProof="0" smtClean="0">
                <a:ln>
                  <a:noFill/>
                </a:ln>
                <a:solidFill>
                  <a:srgbClr val="E35656"/>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Missouri</a:t>
            </a:fld>
            <a:endParaRPr kumimoji="0" lang="en-US" sz="1400" b="0" i="0" u="none" strike="noStrike" kern="1200" cap="none" spc="0" normalizeH="0" baseline="0" noProof="0" dirty="0">
              <a:ln>
                <a:noFill/>
              </a:ln>
              <a:solidFill>
                <a:srgbClr val="808080"/>
              </a:solidFill>
              <a:effectLst/>
              <a:uLnTx/>
              <a:uFillTx/>
              <a:latin typeface="Verdana" panose="020B0604030504040204" pitchFamily="34" charset="0"/>
              <a:ea typeface="Verdana" panose="020B0604030504040204" pitchFamily="34" charset="0"/>
              <a:sym typeface="+mn-lt"/>
            </a:endParaRPr>
          </a:p>
        </p:txBody>
      </p:sp>
      <p:sp>
        <p:nvSpPr>
          <p:cNvPr id="92" name="Text Placeholder 2">
            <a:extLst>
              <a:ext uri="{FF2B5EF4-FFF2-40B4-BE49-F238E27FC236}">
                <a16:creationId xmlns:a16="http://schemas.microsoft.com/office/drawing/2014/main" id="{21513906-1BA5-0944-91F0-63933281A4E2}"/>
              </a:ext>
            </a:extLst>
          </p:cNvPr>
          <p:cNvSpPr>
            <a:spLocks noGrp="1"/>
          </p:cNvSpPr>
          <p:nvPr>
            <p:custDataLst>
              <p:tags r:id="rId29"/>
            </p:custDataLst>
          </p:nvPr>
        </p:nvSpPr>
        <p:spPr bwMode="auto">
          <a:xfrm>
            <a:off x="4252913" y="2676640"/>
            <a:ext cx="815975" cy="15863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Nevad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0" name="Text Placeholder 2">
            <a:extLst>
              <a:ext uri="{FF2B5EF4-FFF2-40B4-BE49-F238E27FC236}">
                <a16:creationId xmlns:a16="http://schemas.microsoft.com/office/drawing/2014/main" id="{21513906-1BA5-0944-91F0-63933281A4E2}"/>
              </a:ext>
            </a:extLst>
          </p:cNvPr>
          <p:cNvSpPr>
            <a:spLocks noGrp="1"/>
          </p:cNvSpPr>
          <p:nvPr>
            <p:custDataLst>
              <p:tags r:id="rId30"/>
            </p:custDataLst>
          </p:nvPr>
        </p:nvSpPr>
        <p:spPr bwMode="auto">
          <a:xfrm>
            <a:off x="4484688" y="2206625"/>
            <a:ext cx="5842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a:ea typeface="Verdana" panose="020B0604030504040204" pitchFamily="34" charset="0"/>
                <a:sym typeface="+mn-lt"/>
              </a:rPr>
              <a:t>Dist. of Columbi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4" name="Text Placeholder 2">
            <a:extLst>
              <a:ext uri="{FF2B5EF4-FFF2-40B4-BE49-F238E27FC236}">
                <a16:creationId xmlns:a16="http://schemas.microsoft.com/office/drawing/2014/main" id="{21513906-1BA5-0944-91F0-63933281A4E2}"/>
              </a:ext>
            </a:extLst>
          </p:cNvPr>
          <p:cNvSpPr>
            <a:spLocks noGrp="1"/>
          </p:cNvSpPr>
          <p:nvPr>
            <p:custDataLst>
              <p:tags r:id="rId31"/>
            </p:custDataLst>
          </p:nvPr>
        </p:nvSpPr>
        <p:spPr bwMode="auto">
          <a:xfrm>
            <a:off x="4635500" y="3081338"/>
            <a:ext cx="4333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Iow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1" name="Text Placeholder 2">
            <a:extLst>
              <a:ext uri="{FF2B5EF4-FFF2-40B4-BE49-F238E27FC236}">
                <a16:creationId xmlns:a16="http://schemas.microsoft.com/office/drawing/2014/main" id="{21513906-1BA5-0944-91F0-63933281A4E2}"/>
              </a:ext>
            </a:extLst>
          </p:cNvPr>
          <p:cNvSpPr>
            <a:spLocks noGrp="1"/>
          </p:cNvSpPr>
          <p:nvPr>
            <p:custDataLst>
              <p:tags r:id="rId32"/>
            </p:custDataLst>
          </p:nvPr>
        </p:nvSpPr>
        <p:spPr bwMode="auto">
          <a:xfrm>
            <a:off x="4184650" y="4832350"/>
            <a:ext cx="8842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Wisconsin</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3" name="Text Placeholder 2">
            <a:extLst>
              <a:ext uri="{FF2B5EF4-FFF2-40B4-BE49-F238E27FC236}">
                <a16:creationId xmlns:a16="http://schemas.microsoft.com/office/drawing/2014/main" id="{21513906-1BA5-0944-91F0-63933281A4E2}"/>
              </a:ext>
            </a:extLst>
          </p:cNvPr>
          <p:cNvSpPr>
            <a:spLocks noGrp="1"/>
          </p:cNvSpPr>
          <p:nvPr>
            <p:custDataLst>
              <p:tags r:id="rId33"/>
            </p:custDataLst>
          </p:nvPr>
        </p:nvSpPr>
        <p:spPr bwMode="auto">
          <a:xfrm>
            <a:off x="4241800" y="4394200"/>
            <a:ext cx="8270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a:ea typeface="Verdana" panose="020B0604030504040204" pitchFamily="34" charset="0"/>
                <a:sym typeface="+mn-lt"/>
              </a:rPr>
              <a:t>Illinois</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88" name="Text Placeholder 2">
            <a:extLst>
              <a:ext uri="{FF2B5EF4-FFF2-40B4-BE49-F238E27FC236}">
                <a16:creationId xmlns:a16="http://schemas.microsoft.com/office/drawing/2014/main" id="{21513906-1BA5-0944-91F0-63933281A4E2}"/>
              </a:ext>
            </a:extLst>
          </p:cNvPr>
          <p:cNvSpPr>
            <a:spLocks noGrp="1"/>
          </p:cNvSpPr>
          <p:nvPr>
            <p:custDataLst>
              <p:tags r:id="rId34"/>
            </p:custDataLst>
          </p:nvPr>
        </p:nvSpPr>
        <p:spPr bwMode="auto">
          <a:xfrm>
            <a:off x="4303713" y="5270500"/>
            <a:ext cx="7651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a:ea typeface="Verdana" panose="020B0604030504040204" pitchFamily="34" charset="0"/>
                <a:sym typeface="+mn-lt"/>
              </a:rPr>
              <a:t>Idaho</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6" name="Text Placeholder 2">
            <a:extLst>
              <a:ext uri="{FF2B5EF4-FFF2-40B4-BE49-F238E27FC236}">
                <a16:creationId xmlns:a16="http://schemas.microsoft.com/office/drawing/2014/main" id="{21513906-1BA5-0944-91F0-63933281A4E2}"/>
              </a:ext>
            </a:extLst>
          </p:cNvPr>
          <p:cNvSpPr>
            <a:spLocks noGrp="1"/>
          </p:cNvSpPr>
          <p:nvPr>
            <p:custDataLst>
              <p:tags r:id="rId35"/>
            </p:custDataLst>
          </p:nvPr>
        </p:nvSpPr>
        <p:spPr bwMode="auto">
          <a:xfrm>
            <a:off x="3306763" y="5707063"/>
            <a:ext cx="1762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Nebraska</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sp>
        <p:nvSpPr>
          <p:cNvPr id="97" name="Text Placeholder 2">
            <a:extLst>
              <a:ext uri="{FF2B5EF4-FFF2-40B4-BE49-F238E27FC236}">
                <a16:creationId xmlns:a16="http://schemas.microsoft.com/office/drawing/2014/main" id="{21513906-1BA5-0944-91F0-63933281A4E2}"/>
              </a:ext>
            </a:extLst>
          </p:cNvPr>
          <p:cNvSpPr>
            <a:spLocks noGrp="1"/>
          </p:cNvSpPr>
          <p:nvPr>
            <p:custDataLst>
              <p:tags r:id="rId36"/>
            </p:custDataLst>
          </p:nvPr>
        </p:nvSpPr>
        <p:spPr bwMode="auto">
          <a:xfrm>
            <a:off x="4556125" y="6145213"/>
            <a:ext cx="5127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808080"/>
                </a:solidFill>
                <a:effectLst/>
                <a:uLnTx/>
                <a:uFillTx/>
                <a:latin typeface="Verdana" panose="020B0604030504040204" pitchFamily="34" charset="0"/>
                <a:ea typeface="Verdana" panose="020B0604030504040204" pitchFamily="34" charset="0"/>
                <a:sym typeface="+mn-lt"/>
              </a:rPr>
              <a:t>Wyoming</a:t>
            </a:r>
            <a:endParaRPr kumimoji="0" lang="en-US" sz="1400" b="0" i="0" u="none" strike="noStrike" kern="1200" cap="none" spc="0" normalizeH="0" baseline="0" noProof="0" dirty="0">
              <a:ln>
                <a:noFill/>
              </a:ln>
              <a:solidFill>
                <a:srgbClr val="808080"/>
              </a:solidFill>
              <a:effectLst/>
              <a:uLnTx/>
              <a:uFillTx/>
              <a:latin typeface="Verdana" panose="020B0604030504040204"/>
              <a:ea typeface="Verdana" panose="020B0604030504040204" pitchFamily="34" charset="0"/>
              <a:sym typeface="+mn-lt"/>
            </a:endParaRPr>
          </a:p>
        </p:txBody>
      </p:sp>
      <p:grpSp>
        <p:nvGrpSpPr>
          <p:cNvPr id="70" name="Group 69"/>
          <p:cNvGrpSpPr/>
          <p:nvPr/>
        </p:nvGrpSpPr>
        <p:grpSpPr>
          <a:xfrm>
            <a:off x="10175082" y="271056"/>
            <a:ext cx="1628830" cy="1398317"/>
            <a:chOff x="10063534" y="1522517"/>
            <a:chExt cx="1970884" cy="1691963"/>
          </a:xfrm>
        </p:grpSpPr>
        <p:sp>
          <p:nvSpPr>
            <p:cNvPr id="71" name="Rectangle 70"/>
            <p:cNvSpPr/>
            <p:nvPr/>
          </p:nvSpPr>
          <p:spPr>
            <a:xfrm>
              <a:off x="10063538" y="1549786"/>
              <a:ext cx="287393" cy="268477"/>
            </a:xfrm>
            <a:prstGeom prst="rect">
              <a:avLst/>
            </a:prstGeom>
            <a:solidFill>
              <a:srgbClr val="28B4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82" name="TextBox 81"/>
            <p:cNvSpPr txBox="1"/>
            <p:nvPr/>
          </p:nvSpPr>
          <p:spPr>
            <a:xfrm>
              <a:off x="10437871" y="1522517"/>
              <a:ext cx="1596547" cy="3351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a:ea typeface="+mn-ea"/>
                  <a:cs typeface="+mn-cs"/>
                </a:rPr>
                <a:t>&lt;5 per 100K</a:t>
              </a:r>
            </a:p>
          </p:txBody>
        </p:sp>
        <p:sp>
          <p:nvSpPr>
            <p:cNvPr id="83" name="Rectangle 82"/>
            <p:cNvSpPr/>
            <p:nvPr/>
          </p:nvSpPr>
          <p:spPr>
            <a:xfrm>
              <a:off x="10063540" y="2596949"/>
              <a:ext cx="287393" cy="268477"/>
            </a:xfrm>
            <a:prstGeom prst="rect">
              <a:avLst/>
            </a:prstGeom>
            <a:solidFill>
              <a:srgbClr val="FFA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84" name="TextBox 83"/>
            <p:cNvSpPr txBox="1"/>
            <p:nvPr/>
          </p:nvSpPr>
          <p:spPr>
            <a:xfrm>
              <a:off x="10437881" y="2585041"/>
              <a:ext cx="13731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a:ea typeface="+mn-ea"/>
                  <a:cs typeface="+mn-cs"/>
                </a:rPr>
                <a:t>50-100</a:t>
              </a:r>
            </a:p>
          </p:txBody>
        </p:sp>
        <p:sp>
          <p:nvSpPr>
            <p:cNvPr id="85" name="Rectangle 84"/>
            <p:cNvSpPr/>
            <p:nvPr/>
          </p:nvSpPr>
          <p:spPr>
            <a:xfrm>
              <a:off x="10063542" y="2946003"/>
              <a:ext cx="287393" cy="268477"/>
            </a:xfrm>
            <a:prstGeom prst="rect">
              <a:avLst/>
            </a:prstGeom>
            <a:solidFill>
              <a:srgbClr val="E356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B60A1C"/>
                </a:solidFill>
                <a:effectLst/>
                <a:uLnTx/>
                <a:uFillTx/>
                <a:latin typeface="Verdana" panose="020B0604030504040204"/>
                <a:ea typeface="+mn-ea"/>
                <a:cs typeface="+mn-cs"/>
              </a:endParaRPr>
            </a:p>
          </p:txBody>
        </p:sp>
        <p:sp>
          <p:nvSpPr>
            <p:cNvPr id="86" name="TextBox 85"/>
            <p:cNvSpPr txBox="1"/>
            <p:nvPr/>
          </p:nvSpPr>
          <p:spPr>
            <a:xfrm>
              <a:off x="10437879" y="2918737"/>
              <a:ext cx="13731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a:ea typeface="+mn-ea"/>
                  <a:cs typeface="+mn-cs"/>
                </a:rPr>
                <a:t>&gt;100</a:t>
              </a:r>
            </a:p>
          </p:txBody>
        </p:sp>
        <p:sp>
          <p:nvSpPr>
            <p:cNvPr id="87" name="Rectangle 86"/>
            <p:cNvSpPr/>
            <p:nvPr/>
          </p:nvSpPr>
          <p:spPr>
            <a:xfrm>
              <a:off x="10063540" y="1898841"/>
              <a:ext cx="287393" cy="268477"/>
            </a:xfrm>
            <a:prstGeom prst="rect">
              <a:avLst/>
            </a:prstGeom>
            <a:solidFill>
              <a:srgbClr val="ABEB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98" name="TextBox 97"/>
            <p:cNvSpPr txBox="1"/>
            <p:nvPr/>
          </p:nvSpPr>
          <p:spPr>
            <a:xfrm>
              <a:off x="10437876" y="1879952"/>
              <a:ext cx="137312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a:ea typeface="+mn-ea"/>
                  <a:cs typeface="+mn-cs"/>
                </a:rPr>
                <a:t>5-9</a:t>
              </a:r>
            </a:p>
          </p:txBody>
        </p:sp>
        <p:sp>
          <p:nvSpPr>
            <p:cNvPr id="99" name="Rectangle 98"/>
            <p:cNvSpPr/>
            <p:nvPr/>
          </p:nvSpPr>
          <p:spPr>
            <a:xfrm>
              <a:off x="10063534" y="2247894"/>
              <a:ext cx="287393" cy="268477"/>
            </a:xfrm>
            <a:prstGeom prst="rect">
              <a:avLst/>
            </a:prstGeom>
            <a:solidFill>
              <a:srgbClr val="FFE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Verdana" panose="020B0604030504040204"/>
                <a:ea typeface="+mn-ea"/>
                <a:cs typeface="+mn-cs"/>
              </a:endParaRPr>
            </a:p>
          </p:txBody>
        </p:sp>
        <p:sp>
          <p:nvSpPr>
            <p:cNvPr id="100" name="TextBox 99"/>
            <p:cNvSpPr txBox="1"/>
            <p:nvPr/>
          </p:nvSpPr>
          <p:spPr>
            <a:xfrm>
              <a:off x="10437872" y="2208408"/>
              <a:ext cx="137312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a:ea typeface="+mn-ea"/>
                  <a:cs typeface="+mn-cs"/>
                </a:rPr>
                <a:t>10-50</a:t>
              </a:r>
            </a:p>
          </p:txBody>
        </p:sp>
      </p:grpSp>
      <p:sp>
        <p:nvSpPr>
          <p:cNvPr id="60" name="TextBox 59"/>
          <p:cNvSpPr txBox="1"/>
          <p:nvPr/>
        </p:nvSpPr>
        <p:spPr>
          <a:xfrm>
            <a:off x="4475484" y="1624684"/>
            <a:ext cx="254349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smtClean="0">
                <a:ln>
                  <a:noFill/>
                </a:ln>
                <a:solidFill>
                  <a:srgbClr val="000000"/>
                </a:solidFill>
                <a:effectLst/>
                <a:uLnTx/>
                <a:uFillTx/>
                <a:latin typeface="Verdana" panose="020B0604030504040204"/>
                <a:ea typeface="+mn-ea"/>
                <a:cs typeface="+mn-cs"/>
              </a:rPr>
              <a:t>Top 32-51 states</a:t>
            </a:r>
          </a:p>
        </p:txBody>
      </p:sp>
    </p:spTree>
    <p:extLst>
      <p:ext uri="{BB962C8B-B14F-4D97-AF65-F5344CB8AC3E}">
        <p14:creationId xmlns:p14="http://schemas.microsoft.com/office/powerpoint/2010/main" val="38121671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Chief transformation officer update</a:t>
            </a:r>
            <a:endParaRPr lang="en-US" dirty="0"/>
          </a:p>
        </p:txBody>
      </p:sp>
    </p:spTree>
    <p:extLst>
      <p:ext uri="{BB962C8B-B14F-4D97-AF65-F5344CB8AC3E}">
        <p14:creationId xmlns:p14="http://schemas.microsoft.com/office/powerpoint/2010/main" val="40461602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8" name="Title 1"/>
          <p:cNvSpPr>
            <a:spLocks noGrp="1"/>
          </p:cNvSpPr>
          <p:nvPr>
            <p:ph type="ctrTitle"/>
          </p:nvPr>
        </p:nvSpPr>
        <p:spPr>
          <a:xfrm>
            <a:off x="1828800" y="1600201"/>
            <a:ext cx="8534400" cy="3229339"/>
          </a:xfrm>
        </p:spPr>
        <p:txBody>
          <a:bodyPr>
            <a:noAutofit/>
          </a:bodyPr>
          <a:lstStyle/>
          <a:p>
            <a:pPr algn="ctr"/>
            <a:r>
              <a:rPr lang="en-US" sz="4000" b="1" cap="none" dirty="0">
                <a:solidFill>
                  <a:schemeClr val="accent3"/>
                </a:solidFill>
                <a:latin typeface="Century Gothic" panose="020B0502020202020204" pitchFamily="34" charset="0"/>
              </a:rPr>
              <a:t>Missouri Benefits Enrollment Transformation </a:t>
            </a:r>
            <a:r>
              <a:rPr lang="en-US" sz="4400" b="1" cap="none" dirty="0">
                <a:solidFill>
                  <a:schemeClr val="accent3"/>
                </a:solidFill>
                <a:latin typeface="Century Gothic" panose="020B0502020202020204" pitchFamily="34" charset="0"/>
              </a:rPr>
              <a:t/>
            </a:r>
            <a:br>
              <a:rPr lang="en-US" sz="44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2800" b="1" cap="none" dirty="0">
                <a:solidFill>
                  <a:schemeClr val="accent3"/>
                </a:solidFill>
                <a:latin typeface="Century Gothic" panose="020B0502020202020204" pitchFamily="34" charset="0"/>
              </a:rPr>
              <a:t> Project Update</a:t>
            </a:r>
            <a:br>
              <a:rPr lang="en-US" sz="2800" b="1" cap="none" dirty="0">
                <a:solidFill>
                  <a:schemeClr val="accent3"/>
                </a:solidFill>
                <a:latin typeface="Century Gothic" panose="020B0502020202020204" pitchFamily="34" charset="0"/>
              </a:rPr>
            </a:br>
            <a:r>
              <a:rPr lang="en-US" sz="2800" b="1" cap="none" dirty="0" err="1">
                <a:solidFill>
                  <a:schemeClr val="accent3"/>
                </a:solidFill>
                <a:latin typeface="Century Gothic" panose="020B0502020202020204" pitchFamily="34" charset="0"/>
              </a:rPr>
              <a:t>MOHealth</a:t>
            </a:r>
            <a:r>
              <a:rPr lang="en-US" sz="2800" b="1" cap="none" dirty="0">
                <a:solidFill>
                  <a:schemeClr val="accent3"/>
                </a:solidFill>
                <a:latin typeface="Century Gothic" panose="020B0502020202020204" pitchFamily="34" charset="0"/>
              </a:rPr>
              <a:t> Net Oversight Committee</a:t>
            </a:r>
            <a:r>
              <a:rPr lang="en-US" sz="900" b="1" cap="none" dirty="0">
                <a:solidFill>
                  <a:schemeClr val="accent3"/>
                </a:solidFill>
                <a:latin typeface="Century Gothic" panose="020B0502020202020204" pitchFamily="34" charset="0"/>
              </a:rPr>
              <a:t/>
            </a:r>
            <a:br>
              <a:rPr lang="en-US" sz="900" b="1" cap="none" dirty="0">
                <a:solidFill>
                  <a:schemeClr val="accent3"/>
                </a:solidFill>
                <a:latin typeface="Century Gothic" panose="020B0502020202020204" pitchFamily="34" charset="0"/>
              </a:rPr>
            </a:br>
            <a:r>
              <a:rPr lang="en-US" sz="3200" b="1" cap="none" dirty="0">
                <a:solidFill>
                  <a:schemeClr val="accent3"/>
                </a:solidFill>
                <a:latin typeface="Century Gothic" panose="020B0502020202020204" pitchFamily="34" charset="0"/>
              </a:rPr>
              <a:t/>
            </a:r>
            <a:br>
              <a:rPr lang="en-US" sz="3200" b="1" cap="none" dirty="0">
                <a:solidFill>
                  <a:schemeClr val="accent3"/>
                </a:solidFill>
                <a:latin typeface="Century Gothic" panose="020B0502020202020204" pitchFamily="34" charset="0"/>
              </a:rPr>
            </a:br>
            <a:r>
              <a:rPr lang="en-US" sz="2400" b="1" cap="none" dirty="0">
                <a:solidFill>
                  <a:schemeClr val="accent3"/>
                </a:solidFill>
                <a:latin typeface="Century Gothic" panose="020B0502020202020204" pitchFamily="34" charset="0"/>
              </a:rPr>
              <a:t>February 4, 2021</a:t>
            </a:r>
            <a:endParaRPr lang="en-US" sz="2400" b="1" i="1" cap="small" dirty="0">
              <a:solidFill>
                <a:schemeClr val="accent3"/>
              </a:solidFill>
            </a:endParaRPr>
          </a:p>
        </p:txBody>
      </p:sp>
    </p:spTree>
    <p:extLst>
      <p:ext uri="{BB962C8B-B14F-4D97-AF65-F5344CB8AC3E}">
        <p14:creationId xmlns:p14="http://schemas.microsoft.com/office/powerpoint/2010/main" val="38094103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2" name="TextBox 1">
            <a:extLst>
              <a:ext uri="{FF2B5EF4-FFF2-40B4-BE49-F238E27FC236}">
                <a16:creationId xmlns:a16="http://schemas.microsoft.com/office/drawing/2014/main" id="{6699FB71-5F6D-46F3-A8E9-01245F7F24FE}"/>
              </a:ext>
            </a:extLst>
          </p:cNvPr>
          <p:cNvSpPr txBox="1"/>
          <p:nvPr/>
        </p:nvSpPr>
        <p:spPr>
          <a:xfrm>
            <a:off x="2286000" y="1474620"/>
            <a:ext cx="7924800" cy="584775"/>
          </a:xfrm>
          <a:prstGeom prst="rect">
            <a:avLst/>
          </a:prstGeom>
          <a:noFill/>
        </p:spPr>
        <p:txBody>
          <a:bodyPr wrap="square" rtlCol="0">
            <a:spAutoFit/>
          </a:bodyPr>
          <a:lstStyle/>
          <a:p>
            <a:r>
              <a:rPr lang="en-US" sz="3200" b="1" dirty="0">
                <a:solidFill>
                  <a:srgbClr val="1B587C"/>
                </a:solidFill>
                <a:latin typeface="+mj-lt"/>
              </a:rPr>
              <a:t>Project Timeline:</a:t>
            </a:r>
            <a:endParaRPr lang="en-US" sz="2000" b="1" dirty="0">
              <a:latin typeface="+mj-lt"/>
            </a:endParaRPr>
          </a:p>
        </p:txBody>
      </p:sp>
      <p:graphicFrame>
        <p:nvGraphicFramePr>
          <p:cNvPr id="5" name="Table 7">
            <a:extLst>
              <a:ext uri="{FF2B5EF4-FFF2-40B4-BE49-F238E27FC236}">
                <a16:creationId xmlns:a16="http://schemas.microsoft.com/office/drawing/2014/main" id="{AED91EA2-761F-4E3D-8CF4-C938391B7EF2}"/>
              </a:ext>
            </a:extLst>
          </p:cNvPr>
          <p:cNvGraphicFramePr>
            <a:graphicFrameLocks noGrp="1"/>
          </p:cNvGraphicFramePr>
          <p:nvPr>
            <p:extLst/>
          </p:nvPr>
        </p:nvGraphicFramePr>
        <p:xfrm>
          <a:off x="3886200" y="2302635"/>
          <a:ext cx="6096000" cy="37084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100713454"/>
                    </a:ext>
                  </a:extLst>
                </a:gridCol>
                <a:gridCol w="4038600">
                  <a:extLst>
                    <a:ext uri="{9D8B030D-6E8A-4147-A177-3AD203B41FA5}">
                      <a16:colId xmlns:a16="http://schemas.microsoft.com/office/drawing/2014/main" val="3119333548"/>
                    </a:ext>
                  </a:extLst>
                </a:gridCol>
              </a:tblGrid>
              <a:tr h="370840">
                <a:tc>
                  <a:txBody>
                    <a:bodyPr/>
                    <a:lstStyle/>
                    <a:p>
                      <a:pPr algn="ctr"/>
                      <a:r>
                        <a:rPr lang="en-US" dirty="0"/>
                        <a:t>2020</a:t>
                      </a:r>
                    </a:p>
                  </a:txBody>
                  <a:tcPr/>
                </a:tc>
                <a:tc>
                  <a:txBody>
                    <a:bodyPr/>
                    <a:lstStyle/>
                    <a:p>
                      <a:pPr algn="ctr"/>
                      <a:r>
                        <a:rPr lang="en-US" dirty="0"/>
                        <a:t>2021</a:t>
                      </a:r>
                    </a:p>
                  </a:txBody>
                  <a:tcPr/>
                </a:tc>
                <a:extLst>
                  <a:ext uri="{0D108BD9-81ED-4DB2-BD59-A6C34878D82A}">
                    <a16:rowId xmlns:a16="http://schemas.microsoft.com/office/drawing/2014/main" val="3870077787"/>
                  </a:ext>
                </a:extLst>
              </a:tr>
            </a:tbl>
          </a:graphicData>
        </a:graphic>
      </p:graphicFrame>
      <p:graphicFrame>
        <p:nvGraphicFramePr>
          <p:cNvPr id="8" name="Table 8">
            <a:extLst>
              <a:ext uri="{FF2B5EF4-FFF2-40B4-BE49-F238E27FC236}">
                <a16:creationId xmlns:a16="http://schemas.microsoft.com/office/drawing/2014/main" id="{86CE0223-DB3C-4324-A3F9-25DB3CD79576}"/>
              </a:ext>
            </a:extLst>
          </p:cNvPr>
          <p:cNvGraphicFramePr>
            <a:graphicFrameLocks noGrp="1"/>
          </p:cNvGraphicFramePr>
          <p:nvPr>
            <p:extLst/>
          </p:nvPr>
        </p:nvGraphicFramePr>
        <p:xfrm>
          <a:off x="3886200" y="2673475"/>
          <a:ext cx="6096000" cy="370840"/>
        </p:xfrm>
        <a:graphic>
          <a:graphicData uri="http://schemas.openxmlformats.org/drawingml/2006/table">
            <a:tbl>
              <a:tblPr firstRow="1" bandRow="1">
                <a:tableStyleId>{5C22544A-7EE6-4342-B048-85BDC9FD1C3A}</a:tableStyleId>
              </a:tblPr>
              <a:tblGrid>
                <a:gridCol w="1016000">
                  <a:extLst>
                    <a:ext uri="{9D8B030D-6E8A-4147-A177-3AD203B41FA5}">
                      <a16:colId xmlns:a16="http://schemas.microsoft.com/office/drawing/2014/main" val="1066656400"/>
                    </a:ext>
                  </a:extLst>
                </a:gridCol>
                <a:gridCol w="1016000">
                  <a:extLst>
                    <a:ext uri="{9D8B030D-6E8A-4147-A177-3AD203B41FA5}">
                      <a16:colId xmlns:a16="http://schemas.microsoft.com/office/drawing/2014/main" val="4225533199"/>
                    </a:ext>
                  </a:extLst>
                </a:gridCol>
                <a:gridCol w="1016000">
                  <a:extLst>
                    <a:ext uri="{9D8B030D-6E8A-4147-A177-3AD203B41FA5}">
                      <a16:colId xmlns:a16="http://schemas.microsoft.com/office/drawing/2014/main" val="3969203704"/>
                    </a:ext>
                  </a:extLst>
                </a:gridCol>
                <a:gridCol w="1016000">
                  <a:extLst>
                    <a:ext uri="{9D8B030D-6E8A-4147-A177-3AD203B41FA5}">
                      <a16:colId xmlns:a16="http://schemas.microsoft.com/office/drawing/2014/main" val="3705830731"/>
                    </a:ext>
                  </a:extLst>
                </a:gridCol>
                <a:gridCol w="1016000">
                  <a:extLst>
                    <a:ext uri="{9D8B030D-6E8A-4147-A177-3AD203B41FA5}">
                      <a16:colId xmlns:a16="http://schemas.microsoft.com/office/drawing/2014/main" val="3336660045"/>
                    </a:ext>
                  </a:extLst>
                </a:gridCol>
                <a:gridCol w="1016000">
                  <a:extLst>
                    <a:ext uri="{9D8B030D-6E8A-4147-A177-3AD203B41FA5}">
                      <a16:colId xmlns:a16="http://schemas.microsoft.com/office/drawing/2014/main" val="430521498"/>
                    </a:ext>
                  </a:extLst>
                </a:gridCol>
              </a:tblGrid>
              <a:tr h="370840">
                <a:tc>
                  <a:txBody>
                    <a:bodyPr/>
                    <a:lstStyle/>
                    <a:p>
                      <a:pPr algn="ctr"/>
                      <a:r>
                        <a:rPr lang="en-US" dirty="0"/>
                        <a:t>Q3</a:t>
                      </a:r>
                    </a:p>
                  </a:txBody>
                  <a:tcPr/>
                </a:tc>
                <a:tc>
                  <a:txBody>
                    <a:bodyPr/>
                    <a:lstStyle/>
                    <a:p>
                      <a:pPr algn="ctr"/>
                      <a:r>
                        <a:rPr lang="en-US" dirty="0"/>
                        <a:t>Q4</a:t>
                      </a:r>
                    </a:p>
                  </a:txBody>
                  <a:tcPr/>
                </a:tc>
                <a:tc>
                  <a:txBody>
                    <a:bodyPr/>
                    <a:lstStyle/>
                    <a:p>
                      <a:pPr algn="ctr"/>
                      <a:r>
                        <a:rPr lang="en-US" dirty="0"/>
                        <a:t>Q1</a:t>
                      </a:r>
                    </a:p>
                  </a:txBody>
                  <a:tcPr/>
                </a:tc>
                <a:tc>
                  <a:txBody>
                    <a:bodyPr/>
                    <a:lstStyle/>
                    <a:p>
                      <a:pPr algn="ctr"/>
                      <a:r>
                        <a:rPr lang="en-US" dirty="0"/>
                        <a:t>Q2</a:t>
                      </a:r>
                    </a:p>
                  </a:txBody>
                  <a:tcPr/>
                </a:tc>
                <a:tc>
                  <a:txBody>
                    <a:bodyPr/>
                    <a:lstStyle/>
                    <a:p>
                      <a:pPr algn="ctr"/>
                      <a:r>
                        <a:rPr lang="en-US" dirty="0"/>
                        <a:t>Q3</a:t>
                      </a:r>
                    </a:p>
                  </a:txBody>
                  <a:tcPr/>
                </a:tc>
                <a:tc>
                  <a:txBody>
                    <a:bodyPr/>
                    <a:lstStyle/>
                    <a:p>
                      <a:pPr algn="ctr"/>
                      <a:r>
                        <a:rPr lang="en-US" dirty="0"/>
                        <a:t>Q4</a:t>
                      </a:r>
                    </a:p>
                  </a:txBody>
                  <a:tcPr/>
                </a:tc>
                <a:extLst>
                  <a:ext uri="{0D108BD9-81ED-4DB2-BD59-A6C34878D82A}">
                    <a16:rowId xmlns:a16="http://schemas.microsoft.com/office/drawing/2014/main" val="451273499"/>
                  </a:ext>
                </a:extLst>
              </a:tr>
            </a:tbl>
          </a:graphicData>
        </a:graphic>
      </p:graphicFrame>
      <p:graphicFrame>
        <p:nvGraphicFramePr>
          <p:cNvPr id="9" name="Table 9">
            <a:extLst>
              <a:ext uri="{FF2B5EF4-FFF2-40B4-BE49-F238E27FC236}">
                <a16:creationId xmlns:a16="http://schemas.microsoft.com/office/drawing/2014/main" id="{22E9306D-3ACD-4102-A276-734ED107FFCD}"/>
              </a:ext>
            </a:extLst>
          </p:cNvPr>
          <p:cNvGraphicFramePr>
            <a:graphicFrameLocks noGrp="1"/>
          </p:cNvGraphicFramePr>
          <p:nvPr>
            <p:extLst/>
          </p:nvPr>
        </p:nvGraphicFramePr>
        <p:xfrm>
          <a:off x="3886200" y="3044315"/>
          <a:ext cx="6096000" cy="37084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012806177"/>
                    </a:ext>
                  </a:extLst>
                </a:gridCol>
                <a:gridCol w="2057400">
                  <a:extLst>
                    <a:ext uri="{9D8B030D-6E8A-4147-A177-3AD203B41FA5}">
                      <a16:colId xmlns:a16="http://schemas.microsoft.com/office/drawing/2014/main" val="1189296852"/>
                    </a:ext>
                  </a:extLst>
                </a:gridCol>
                <a:gridCol w="3048000">
                  <a:extLst>
                    <a:ext uri="{9D8B030D-6E8A-4147-A177-3AD203B41FA5}">
                      <a16:colId xmlns:a16="http://schemas.microsoft.com/office/drawing/2014/main" val="1839711143"/>
                    </a:ext>
                  </a:extLst>
                </a:gridCol>
              </a:tblGrid>
              <a:tr h="370840">
                <a:tc>
                  <a:txBody>
                    <a:bodyPr/>
                    <a:lstStyle/>
                    <a:p>
                      <a:pPr algn="ctr"/>
                      <a:r>
                        <a:rPr lang="en-US" dirty="0"/>
                        <a:t>Plan</a:t>
                      </a:r>
                    </a:p>
                  </a:txBody>
                  <a:tcPr>
                    <a:solidFill>
                      <a:schemeClr val="accent3">
                        <a:lumMod val="60000"/>
                        <a:lumOff val="40000"/>
                      </a:schemeClr>
                    </a:solidFill>
                  </a:tcPr>
                </a:tc>
                <a:tc>
                  <a:txBody>
                    <a:bodyPr/>
                    <a:lstStyle/>
                    <a:p>
                      <a:pPr algn="ctr"/>
                      <a:r>
                        <a:rPr lang="en-US" dirty="0"/>
                        <a:t>Design/ Testing</a:t>
                      </a:r>
                    </a:p>
                  </a:txBody>
                  <a:tcPr>
                    <a:solidFill>
                      <a:schemeClr val="accent3">
                        <a:lumMod val="60000"/>
                        <a:lumOff val="40000"/>
                      </a:schemeClr>
                    </a:solidFill>
                  </a:tcPr>
                </a:tc>
                <a:tc>
                  <a:txBody>
                    <a:bodyPr/>
                    <a:lstStyle/>
                    <a:p>
                      <a:pPr algn="ctr"/>
                      <a:r>
                        <a:rPr lang="en-US" dirty="0"/>
                        <a:t>Implementation</a:t>
                      </a:r>
                    </a:p>
                  </a:txBody>
                  <a:tcPr>
                    <a:solidFill>
                      <a:schemeClr val="accent3">
                        <a:lumMod val="60000"/>
                        <a:lumOff val="40000"/>
                      </a:schemeClr>
                    </a:solidFill>
                  </a:tcPr>
                </a:tc>
                <a:extLst>
                  <a:ext uri="{0D108BD9-81ED-4DB2-BD59-A6C34878D82A}">
                    <a16:rowId xmlns:a16="http://schemas.microsoft.com/office/drawing/2014/main" val="1390934839"/>
                  </a:ext>
                </a:extLst>
              </a:tr>
            </a:tbl>
          </a:graphicData>
        </a:graphic>
      </p:graphicFrame>
      <p:graphicFrame>
        <p:nvGraphicFramePr>
          <p:cNvPr id="11" name="Table 11">
            <a:extLst>
              <a:ext uri="{FF2B5EF4-FFF2-40B4-BE49-F238E27FC236}">
                <a16:creationId xmlns:a16="http://schemas.microsoft.com/office/drawing/2014/main" id="{C09090AC-27F5-474D-B99A-EAA00E4866DA}"/>
              </a:ext>
            </a:extLst>
          </p:cNvPr>
          <p:cNvGraphicFramePr>
            <a:graphicFrameLocks noGrp="1"/>
          </p:cNvGraphicFramePr>
          <p:nvPr>
            <p:extLst/>
          </p:nvPr>
        </p:nvGraphicFramePr>
        <p:xfrm>
          <a:off x="3886200" y="3415155"/>
          <a:ext cx="6096000" cy="370840"/>
        </p:xfrm>
        <a:graphic>
          <a:graphicData uri="http://schemas.openxmlformats.org/drawingml/2006/table">
            <a:tbl>
              <a:tblPr firstRow="1" bandRow="1">
                <a:tableStyleId>{5C22544A-7EE6-4342-B048-85BDC9FD1C3A}</a:tableStyleId>
              </a:tblPr>
              <a:tblGrid>
                <a:gridCol w="4038600">
                  <a:extLst>
                    <a:ext uri="{9D8B030D-6E8A-4147-A177-3AD203B41FA5}">
                      <a16:colId xmlns:a16="http://schemas.microsoft.com/office/drawing/2014/main" val="3010939927"/>
                    </a:ext>
                  </a:extLst>
                </a:gridCol>
                <a:gridCol w="2057400">
                  <a:extLst>
                    <a:ext uri="{9D8B030D-6E8A-4147-A177-3AD203B41FA5}">
                      <a16:colId xmlns:a16="http://schemas.microsoft.com/office/drawing/2014/main" val="1783967246"/>
                    </a:ext>
                  </a:extLst>
                </a:gridCol>
              </a:tblGrid>
              <a:tr h="370840">
                <a:tc>
                  <a:txBody>
                    <a:bodyPr/>
                    <a:lstStyle/>
                    <a:p>
                      <a:endParaRPr lang="en-US" dirty="0"/>
                    </a:p>
                  </a:txBody>
                  <a:tcPr>
                    <a:solidFill>
                      <a:schemeClr val="accent3">
                        <a:lumMod val="60000"/>
                        <a:lumOff val="40000"/>
                      </a:schemeClr>
                    </a:solidFill>
                  </a:tcPr>
                </a:tc>
                <a:tc>
                  <a:txBody>
                    <a:bodyPr/>
                    <a:lstStyle/>
                    <a:p>
                      <a:pPr algn="ctr"/>
                      <a:r>
                        <a:rPr lang="en-US" dirty="0"/>
                        <a:t>Design/Testing</a:t>
                      </a:r>
                    </a:p>
                  </a:txBody>
                  <a:tcPr>
                    <a:solidFill>
                      <a:schemeClr val="accent3">
                        <a:lumMod val="60000"/>
                        <a:lumOff val="40000"/>
                      </a:schemeClr>
                    </a:solidFill>
                  </a:tcPr>
                </a:tc>
                <a:extLst>
                  <a:ext uri="{0D108BD9-81ED-4DB2-BD59-A6C34878D82A}">
                    <a16:rowId xmlns:a16="http://schemas.microsoft.com/office/drawing/2014/main" val="905290359"/>
                  </a:ext>
                </a:extLst>
              </a:tr>
            </a:tbl>
          </a:graphicData>
        </a:graphic>
      </p:graphicFrame>
      <p:graphicFrame>
        <p:nvGraphicFramePr>
          <p:cNvPr id="12" name="Table 12">
            <a:extLst>
              <a:ext uri="{FF2B5EF4-FFF2-40B4-BE49-F238E27FC236}">
                <a16:creationId xmlns:a16="http://schemas.microsoft.com/office/drawing/2014/main" id="{427AED66-445B-4694-BB1D-F8AE70434074}"/>
              </a:ext>
            </a:extLst>
          </p:cNvPr>
          <p:cNvGraphicFramePr>
            <a:graphicFrameLocks noGrp="1"/>
          </p:cNvGraphicFramePr>
          <p:nvPr>
            <p:extLst/>
          </p:nvPr>
        </p:nvGraphicFramePr>
        <p:xfrm>
          <a:off x="1691148" y="3044315"/>
          <a:ext cx="2204884" cy="1097280"/>
        </p:xfrm>
        <a:graphic>
          <a:graphicData uri="http://schemas.openxmlformats.org/drawingml/2006/table">
            <a:tbl>
              <a:tblPr firstRow="1" bandRow="1">
                <a:tableStyleId>{5C22544A-7EE6-4342-B048-85BDC9FD1C3A}</a:tableStyleId>
              </a:tblPr>
              <a:tblGrid>
                <a:gridCol w="2204884">
                  <a:extLst>
                    <a:ext uri="{9D8B030D-6E8A-4147-A177-3AD203B41FA5}">
                      <a16:colId xmlns:a16="http://schemas.microsoft.com/office/drawing/2014/main" val="1934125329"/>
                    </a:ext>
                  </a:extLst>
                </a:gridCol>
              </a:tblGrid>
              <a:tr h="253769">
                <a:tc>
                  <a:txBody>
                    <a:bodyPr/>
                    <a:lstStyle/>
                    <a:p>
                      <a:r>
                        <a:rPr lang="en-US" dirty="0">
                          <a:solidFill>
                            <a:schemeClr val="tx1"/>
                          </a:solidFill>
                        </a:rPr>
                        <a:t>Application</a:t>
                      </a:r>
                    </a:p>
                  </a:txBody>
                  <a:tcPr>
                    <a:noFill/>
                  </a:tcPr>
                </a:tc>
                <a:extLst>
                  <a:ext uri="{0D108BD9-81ED-4DB2-BD59-A6C34878D82A}">
                    <a16:rowId xmlns:a16="http://schemas.microsoft.com/office/drawing/2014/main" val="2116845334"/>
                  </a:ext>
                </a:extLst>
              </a:tr>
              <a:tr h="253769">
                <a:tc>
                  <a:txBody>
                    <a:bodyPr/>
                    <a:lstStyle/>
                    <a:p>
                      <a:r>
                        <a:rPr lang="en-US" b="1" dirty="0">
                          <a:solidFill>
                            <a:schemeClr val="tx1"/>
                          </a:solidFill>
                        </a:rPr>
                        <a:t>Correspondence</a:t>
                      </a:r>
                    </a:p>
                  </a:txBody>
                  <a:tcPr>
                    <a:noFill/>
                  </a:tcPr>
                </a:tc>
                <a:extLst>
                  <a:ext uri="{0D108BD9-81ED-4DB2-BD59-A6C34878D82A}">
                    <a16:rowId xmlns:a16="http://schemas.microsoft.com/office/drawing/2014/main" val="3927740831"/>
                  </a:ext>
                </a:extLst>
              </a:tr>
              <a:tr h="253769">
                <a:tc>
                  <a:txBody>
                    <a:bodyPr/>
                    <a:lstStyle/>
                    <a:p>
                      <a:endParaRPr lang="en-US" b="1" dirty="0">
                        <a:solidFill>
                          <a:schemeClr val="bg1"/>
                        </a:solidFill>
                      </a:endParaRPr>
                    </a:p>
                  </a:txBody>
                  <a:tcPr>
                    <a:noFill/>
                  </a:tcPr>
                </a:tc>
                <a:extLst>
                  <a:ext uri="{0D108BD9-81ED-4DB2-BD59-A6C34878D82A}">
                    <a16:rowId xmlns:a16="http://schemas.microsoft.com/office/drawing/2014/main" val="607439571"/>
                  </a:ext>
                </a:extLst>
              </a:tr>
            </a:tbl>
          </a:graphicData>
        </a:graphic>
      </p:graphicFrame>
    </p:spTree>
    <p:extLst>
      <p:ext uri="{BB962C8B-B14F-4D97-AF65-F5344CB8AC3E}">
        <p14:creationId xmlns:p14="http://schemas.microsoft.com/office/powerpoint/2010/main" val="21393629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2" name="TextBox 1">
            <a:extLst>
              <a:ext uri="{FF2B5EF4-FFF2-40B4-BE49-F238E27FC236}">
                <a16:creationId xmlns:a16="http://schemas.microsoft.com/office/drawing/2014/main" id="{6699FB71-5F6D-46F3-A8E9-01245F7F24FE}"/>
              </a:ext>
            </a:extLst>
          </p:cNvPr>
          <p:cNvSpPr txBox="1"/>
          <p:nvPr/>
        </p:nvSpPr>
        <p:spPr>
          <a:xfrm>
            <a:off x="2590800" y="1447801"/>
            <a:ext cx="7924800" cy="3354765"/>
          </a:xfrm>
          <a:prstGeom prst="rect">
            <a:avLst/>
          </a:prstGeom>
          <a:noFill/>
        </p:spPr>
        <p:txBody>
          <a:bodyPr wrap="square" rtlCol="0">
            <a:spAutoFit/>
          </a:bodyPr>
          <a:lstStyle/>
          <a:p>
            <a:pPr algn="ctr"/>
            <a:r>
              <a:rPr lang="en-US" sz="3200" b="1" u="sng" dirty="0">
                <a:solidFill>
                  <a:srgbClr val="1B587C"/>
                </a:solidFill>
                <a:latin typeface="+mj-lt"/>
              </a:rPr>
              <a:t>Phase 2: Design and Test</a:t>
            </a:r>
            <a:endParaRPr lang="en-US" sz="2000" b="1" u="sng" dirty="0">
              <a:solidFill>
                <a:srgbClr val="1B587C"/>
              </a:solidFill>
              <a:latin typeface="+mj-lt"/>
            </a:endParaRPr>
          </a:p>
          <a:p>
            <a:endParaRPr lang="en-US" sz="2000" b="1" dirty="0">
              <a:latin typeface="+mj-lt"/>
            </a:endParaRPr>
          </a:p>
          <a:p>
            <a:r>
              <a:rPr lang="en-US" sz="2000" b="1" dirty="0">
                <a:solidFill>
                  <a:srgbClr val="1B587C"/>
                </a:solidFill>
                <a:latin typeface="+mj-lt"/>
              </a:rPr>
              <a:t>Three Application Policy Reviews:</a:t>
            </a:r>
          </a:p>
          <a:p>
            <a:pPr marL="800100" lvl="1" indent="-342900">
              <a:buFont typeface="Arial" panose="020B0604020202020204" pitchFamily="34" charset="0"/>
              <a:buChar char="•"/>
            </a:pPr>
            <a:r>
              <a:rPr lang="en-US" sz="2000" b="1" dirty="0">
                <a:solidFill>
                  <a:srgbClr val="1B587C"/>
                </a:solidFill>
                <a:latin typeface="+mj-lt"/>
              </a:rPr>
              <a:t>Version 1 Review:  November 16 - December 4</a:t>
            </a:r>
          </a:p>
          <a:p>
            <a:pPr marL="800100" lvl="1" indent="-342900">
              <a:buFont typeface="Arial" panose="020B0604020202020204" pitchFamily="34" charset="0"/>
              <a:buChar char="•"/>
            </a:pPr>
            <a:r>
              <a:rPr lang="en-US" sz="2000" b="1" dirty="0">
                <a:solidFill>
                  <a:srgbClr val="1B587C"/>
                </a:solidFill>
                <a:latin typeface="+mj-lt"/>
              </a:rPr>
              <a:t>Version 2 Review:  January 11-22</a:t>
            </a:r>
          </a:p>
          <a:p>
            <a:pPr marL="800100" lvl="1" indent="-342900">
              <a:buFont typeface="Arial" panose="020B0604020202020204" pitchFamily="34" charset="0"/>
              <a:buChar char="•"/>
            </a:pPr>
            <a:r>
              <a:rPr lang="en-US" sz="2000" b="1" dirty="0">
                <a:solidFill>
                  <a:srgbClr val="1B587C"/>
                </a:solidFill>
                <a:latin typeface="+mj-lt"/>
              </a:rPr>
              <a:t>Final Review: February 8 – 19</a:t>
            </a:r>
          </a:p>
          <a:p>
            <a:pPr marL="800100" lvl="1" indent="-342900">
              <a:buFont typeface="Arial" panose="020B0604020202020204" pitchFamily="34" charset="0"/>
              <a:buChar char="•"/>
            </a:pPr>
            <a:r>
              <a:rPr lang="en-US" sz="2000" b="1" dirty="0">
                <a:solidFill>
                  <a:srgbClr val="1B587C"/>
                </a:solidFill>
                <a:latin typeface="+mj-lt"/>
              </a:rPr>
              <a:t>Submit for CMS review: March 1</a:t>
            </a:r>
          </a:p>
          <a:p>
            <a:endParaRPr lang="en-US" sz="2000" b="1" dirty="0">
              <a:latin typeface="+mj-lt"/>
            </a:endParaRPr>
          </a:p>
          <a:p>
            <a:pPr algn="ctr"/>
            <a:endParaRPr lang="en-US" sz="2000" b="1" dirty="0">
              <a:latin typeface="+mj-lt"/>
            </a:endParaRPr>
          </a:p>
          <a:p>
            <a:endParaRPr lang="en-US" sz="2000" b="1" dirty="0">
              <a:latin typeface="+mj-lt"/>
            </a:endParaRPr>
          </a:p>
        </p:txBody>
      </p:sp>
    </p:spTree>
    <p:extLst>
      <p:ext uri="{BB962C8B-B14F-4D97-AF65-F5344CB8AC3E}">
        <p14:creationId xmlns:p14="http://schemas.microsoft.com/office/powerpoint/2010/main" val="3362767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2" name="TextBox 1">
            <a:extLst>
              <a:ext uri="{FF2B5EF4-FFF2-40B4-BE49-F238E27FC236}">
                <a16:creationId xmlns:a16="http://schemas.microsoft.com/office/drawing/2014/main" id="{6699FB71-5F6D-46F3-A8E9-01245F7F24FE}"/>
              </a:ext>
            </a:extLst>
          </p:cNvPr>
          <p:cNvSpPr txBox="1"/>
          <p:nvPr/>
        </p:nvSpPr>
        <p:spPr>
          <a:xfrm>
            <a:off x="2438400" y="1219201"/>
            <a:ext cx="7924800" cy="4708981"/>
          </a:xfrm>
          <a:prstGeom prst="rect">
            <a:avLst/>
          </a:prstGeom>
          <a:noFill/>
        </p:spPr>
        <p:txBody>
          <a:bodyPr wrap="square" rtlCol="0">
            <a:spAutoFit/>
          </a:bodyPr>
          <a:lstStyle/>
          <a:p>
            <a:pPr algn="ctr"/>
            <a:r>
              <a:rPr lang="en-US" sz="2800" b="1" u="sng" dirty="0">
                <a:solidFill>
                  <a:srgbClr val="1B587C"/>
                </a:solidFill>
                <a:latin typeface="+mj-lt"/>
              </a:rPr>
              <a:t>Phase 2: Design and Test</a:t>
            </a:r>
          </a:p>
          <a:p>
            <a:endParaRPr lang="en-US" sz="2000" b="1" dirty="0">
              <a:latin typeface="+mj-lt"/>
            </a:endParaRPr>
          </a:p>
          <a:p>
            <a:pPr marL="342900" indent="-342900">
              <a:buFont typeface="Arial" panose="020B0604020202020204" pitchFamily="34" charset="0"/>
              <a:buChar char="•"/>
            </a:pPr>
            <a:r>
              <a:rPr lang="en-US" sz="2000" b="1" dirty="0">
                <a:solidFill>
                  <a:srgbClr val="1B587C"/>
                </a:solidFill>
                <a:latin typeface="+mj-lt"/>
              </a:rPr>
              <a:t>Tight time line… but on schedule</a:t>
            </a:r>
          </a:p>
          <a:p>
            <a:pPr marL="342900" indent="-342900">
              <a:buFont typeface="Arial" panose="020B0604020202020204" pitchFamily="34" charset="0"/>
              <a:buChar char="•"/>
            </a:pPr>
            <a:r>
              <a:rPr lang="en-US" sz="2000" b="1" dirty="0">
                <a:solidFill>
                  <a:srgbClr val="1B587C"/>
                </a:solidFill>
                <a:latin typeface="+mj-lt"/>
              </a:rPr>
              <a:t>2</a:t>
            </a:r>
            <a:r>
              <a:rPr lang="en-US" sz="2000" b="1" baseline="30000" dirty="0">
                <a:solidFill>
                  <a:srgbClr val="1B587C"/>
                </a:solidFill>
                <a:latin typeface="+mj-lt"/>
              </a:rPr>
              <a:t>nd</a:t>
            </a:r>
            <a:r>
              <a:rPr lang="en-US" sz="2000" b="1" dirty="0">
                <a:solidFill>
                  <a:srgbClr val="1B587C"/>
                </a:solidFill>
                <a:latin typeface="+mj-lt"/>
              </a:rPr>
              <a:t> Version review complete</a:t>
            </a:r>
          </a:p>
          <a:p>
            <a:pPr marL="342900" indent="-342900">
              <a:buFont typeface="Arial" panose="020B0604020202020204" pitchFamily="34" charset="0"/>
              <a:buChar char="•"/>
            </a:pPr>
            <a:r>
              <a:rPr lang="en-US" sz="2000" b="1" dirty="0">
                <a:solidFill>
                  <a:srgbClr val="1B587C"/>
                </a:solidFill>
                <a:latin typeface="+mj-lt"/>
              </a:rPr>
              <a:t>Testing going well</a:t>
            </a:r>
          </a:p>
          <a:p>
            <a:pPr marL="800100" lvl="1" indent="-342900">
              <a:buFont typeface="Arial" panose="020B0604020202020204" pitchFamily="34" charset="0"/>
              <a:buChar char="•"/>
            </a:pPr>
            <a:r>
              <a:rPr lang="en-US" sz="2000" b="1" dirty="0">
                <a:solidFill>
                  <a:srgbClr val="1B587C"/>
                </a:solidFill>
                <a:latin typeface="+mj-lt"/>
              </a:rPr>
              <a:t>Diverse group of FSD Staff</a:t>
            </a:r>
          </a:p>
          <a:p>
            <a:pPr marL="800100" lvl="1" indent="-342900">
              <a:buFont typeface="Arial" panose="020B0604020202020204" pitchFamily="34" charset="0"/>
              <a:buChar char="•"/>
            </a:pPr>
            <a:r>
              <a:rPr lang="en-US" sz="2000" b="1" dirty="0">
                <a:solidFill>
                  <a:srgbClr val="1B587C"/>
                </a:solidFill>
                <a:latin typeface="+mj-lt"/>
              </a:rPr>
              <a:t>Diverse group of participants</a:t>
            </a:r>
          </a:p>
          <a:p>
            <a:pPr marL="800100" lvl="1" indent="-342900">
              <a:buFont typeface="Arial" panose="020B0604020202020204" pitchFamily="34" charset="0"/>
              <a:buChar char="•"/>
            </a:pPr>
            <a:endParaRPr lang="en-US" sz="2800" b="1" dirty="0">
              <a:solidFill>
                <a:srgbClr val="1B587C"/>
              </a:solidFill>
              <a:latin typeface="+mj-lt"/>
            </a:endParaRPr>
          </a:p>
          <a:p>
            <a:pPr algn="ctr"/>
            <a:r>
              <a:rPr lang="en-US" sz="2800" b="1" u="sng" dirty="0">
                <a:solidFill>
                  <a:srgbClr val="1B587C"/>
                </a:solidFill>
                <a:latin typeface="+mj-lt"/>
              </a:rPr>
              <a:t>Phase 3: New App. Implementation</a:t>
            </a:r>
          </a:p>
          <a:p>
            <a:pPr marL="914400" lvl="1" indent="-457200">
              <a:buFont typeface="Arial" panose="020B0604020202020204" pitchFamily="34" charset="0"/>
              <a:buChar char="•"/>
            </a:pPr>
            <a:endParaRPr lang="en-US" sz="2000" b="1" dirty="0">
              <a:solidFill>
                <a:srgbClr val="1B587C"/>
              </a:solidFill>
              <a:latin typeface="+mj-lt"/>
            </a:endParaRPr>
          </a:p>
          <a:p>
            <a:pPr marL="800100" lvl="1" indent="-342900">
              <a:buFont typeface="Arial" panose="020B0604020202020204" pitchFamily="34" charset="0"/>
              <a:buChar char="•"/>
            </a:pPr>
            <a:r>
              <a:rPr lang="en-US" sz="2000" b="1" dirty="0">
                <a:solidFill>
                  <a:srgbClr val="1B587C"/>
                </a:solidFill>
                <a:latin typeface="+mj-lt"/>
              </a:rPr>
              <a:t>March - July</a:t>
            </a:r>
          </a:p>
          <a:p>
            <a:pPr lvl="1"/>
            <a:endParaRPr lang="en-US" sz="2800" b="1" dirty="0">
              <a:solidFill>
                <a:srgbClr val="1B587C"/>
              </a:solidFill>
              <a:latin typeface="+mj-lt"/>
            </a:endParaRPr>
          </a:p>
          <a:p>
            <a:endParaRPr lang="en-US" sz="2000" b="1" dirty="0">
              <a:latin typeface="+mj-lt"/>
            </a:endParaRPr>
          </a:p>
        </p:txBody>
      </p:sp>
    </p:spTree>
    <p:extLst>
      <p:ext uri="{BB962C8B-B14F-4D97-AF65-F5344CB8AC3E}">
        <p14:creationId xmlns:p14="http://schemas.microsoft.com/office/powerpoint/2010/main" val="15990897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Chief operating officer update</a:t>
            </a:r>
            <a:endParaRPr lang="en-US" dirty="0"/>
          </a:p>
        </p:txBody>
      </p:sp>
    </p:spTree>
    <p:extLst>
      <p:ext uri="{BB962C8B-B14F-4D97-AF65-F5344CB8AC3E}">
        <p14:creationId xmlns:p14="http://schemas.microsoft.com/office/powerpoint/2010/main" val="25050583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22238"/>
            <a:ext cx="10363200" cy="1143000"/>
          </a:xfrm>
        </p:spPr>
        <p:txBody>
          <a:bodyPr>
            <a:normAutofit/>
          </a:bodyPr>
          <a:lstStyle/>
          <a:p>
            <a:r>
              <a:rPr lang="en-US" sz="2800" dirty="0" smtClean="0"/>
              <a:t>Long Acting Reversible Contraception</a:t>
            </a:r>
            <a:endParaRPr lang="en-US" sz="2800" dirty="0"/>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2910728680"/>
              </p:ext>
            </p:extLst>
          </p:nvPr>
        </p:nvGraphicFramePr>
        <p:xfrm>
          <a:off x="530629" y="1447800"/>
          <a:ext cx="11130742" cy="3098092"/>
        </p:xfrm>
        <a:graphic>
          <a:graphicData uri="http://schemas.openxmlformats.org/drawingml/2006/table">
            <a:tbl>
              <a:tblPr firstRow="1" firstCol="1">
                <a:tableStyleId>{5C22544A-7EE6-4342-B048-85BDC9FD1C3A}</a:tableStyleId>
              </a:tblPr>
              <a:tblGrid>
                <a:gridCol w="1133725">
                  <a:extLst>
                    <a:ext uri="{9D8B030D-6E8A-4147-A177-3AD203B41FA5}">
                      <a16:colId xmlns:a16="http://schemas.microsoft.com/office/drawing/2014/main" val="214405240"/>
                    </a:ext>
                  </a:extLst>
                </a:gridCol>
                <a:gridCol w="1396910">
                  <a:extLst>
                    <a:ext uri="{9D8B030D-6E8A-4147-A177-3AD203B41FA5}">
                      <a16:colId xmlns:a16="http://schemas.microsoft.com/office/drawing/2014/main" val="1151304520"/>
                    </a:ext>
                  </a:extLst>
                </a:gridCol>
                <a:gridCol w="996058">
                  <a:extLst>
                    <a:ext uri="{9D8B030D-6E8A-4147-A177-3AD203B41FA5}">
                      <a16:colId xmlns:a16="http://schemas.microsoft.com/office/drawing/2014/main" val="1281071681"/>
                    </a:ext>
                  </a:extLst>
                </a:gridCol>
                <a:gridCol w="1737027">
                  <a:extLst>
                    <a:ext uri="{9D8B030D-6E8A-4147-A177-3AD203B41FA5}">
                      <a16:colId xmlns:a16="http://schemas.microsoft.com/office/drawing/2014/main" val="302296678"/>
                    </a:ext>
                  </a:extLst>
                </a:gridCol>
                <a:gridCol w="1396910">
                  <a:extLst>
                    <a:ext uri="{9D8B030D-6E8A-4147-A177-3AD203B41FA5}">
                      <a16:colId xmlns:a16="http://schemas.microsoft.com/office/drawing/2014/main" val="2331760758"/>
                    </a:ext>
                  </a:extLst>
                </a:gridCol>
                <a:gridCol w="996058">
                  <a:extLst>
                    <a:ext uri="{9D8B030D-6E8A-4147-A177-3AD203B41FA5}">
                      <a16:colId xmlns:a16="http://schemas.microsoft.com/office/drawing/2014/main" val="3105463301"/>
                    </a:ext>
                  </a:extLst>
                </a:gridCol>
                <a:gridCol w="1737027">
                  <a:extLst>
                    <a:ext uri="{9D8B030D-6E8A-4147-A177-3AD203B41FA5}">
                      <a16:colId xmlns:a16="http://schemas.microsoft.com/office/drawing/2014/main" val="3325033920"/>
                    </a:ext>
                  </a:extLst>
                </a:gridCol>
                <a:gridCol w="1737027">
                  <a:extLst>
                    <a:ext uri="{9D8B030D-6E8A-4147-A177-3AD203B41FA5}">
                      <a16:colId xmlns:a16="http://schemas.microsoft.com/office/drawing/2014/main" val="1876776669"/>
                    </a:ext>
                  </a:extLst>
                </a:gridCol>
              </a:tblGrid>
              <a:tr h="793365">
                <a:tc>
                  <a:txBody>
                    <a:bodyPr/>
                    <a:lstStyle/>
                    <a:p>
                      <a:pPr algn="l" fontAlgn="b"/>
                      <a:endParaRPr lang="en-US" sz="18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gridSpan="3">
                  <a:txBody>
                    <a:bodyPr/>
                    <a:lstStyle/>
                    <a:p>
                      <a:pPr algn="ctr" fontAlgn="ctr"/>
                      <a:r>
                        <a:rPr lang="en-US" sz="1800" u="none" strike="noStrike">
                          <a:effectLst/>
                          <a:latin typeface="Calibri" panose="020F0502020204030204" pitchFamily="34" charset="0"/>
                          <a:cs typeface="Calibri" panose="020F0502020204030204" pitchFamily="34" charset="0"/>
                        </a:rPr>
                        <a:t>Drug Claims</a:t>
                      </a:r>
                      <a:endParaRPr lang="en-US" sz="18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ctr"/>
                </a:tc>
                <a:tc hMerge="1">
                  <a:txBody>
                    <a:bodyPr/>
                    <a:lstStyle/>
                    <a:p>
                      <a:endParaRPr lang="en-US"/>
                    </a:p>
                  </a:txBody>
                  <a:tcPr/>
                </a:tc>
                <a:tc hMerge="1">
                  <a:txBody>
                    <a:bodyPr/>
                    <a:lstStyle/>
                    <a:p>
                      <a:endParaRPr lang="en-US"/>
                    </a:p>
                  </a:txBody>
                  <a:tcPr/>
                </a:tc>
                <a:tc gridSpan="3">
                  <a:txBody>
                    <a:bodyPr/>
                    <a:lstStyle/>
                    <a:p>
                      <a:pPr algn="ctr" fontAlgn="ctr"/>
                      <a:r>
                        <a:rPr lang="en-US" sz="1800" u="none" strike="noStrike" dirty="0">
                          <a:effectLst/>
                          <a:latin typeface="Calibri" panose="020F0502020204030204" pitchFamily="34" charset="0"/>
                          <a:cs typeface="Calibri" panose="020F0502020204030204" pitchFamily="34" charset="0"/>
                        </a:rPr>
                        <a:t>Procedure Claims</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hMerge="1">
                  <a:txBody>
                    <a:bodyPr/>
                    <a:lstStyle/>
                    <a:p>
                      <a:endParaRPr lang="en-US"/>
                    </a:p>
                  </a:txBody>
                  <a:tcPr/>
                </a:tc>
                <a:tc hMerge="1">
                  <a:txBody>
                    <a:bodyPr/>
                    <a:lstStyle/>
                    <a:p>
                      <a:endParaRPr lang="en-US"/>
                    </a:p>
                  </a:txBody>
                  <a:tcPr/>
                </a:tc>
                <a:tc>
                  <a:txBody>
                    <a:bodyPr/>
                    <a:lstStyle/>
                    <a:p>
                      <a:pPr algn="ctr" fontAlgn="ct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extLst>
                  <a:ext uri="{0D108BD9-81ED-4DB2-BD59-A6C34878D82A}">
                    <a16:rowId xmlns:a16="http://schemas.microsoft.com/office/drawing/2014/main" val="3806682459"/>
                  </a:ext>
                </a:extLst>
              </a:tr>
              <a:tr h="717995">
                <a:tc>
                  <a:txBody>
                    <a:bodyPr/>
                    <a:lstStyle/>
                    <a:p>
                      <a:pPr algn="ctr" fontAlgn="b"/>
                      <a:r>
                        <a:rPr lang="en-US" sz="1800" u="none" strike="noStrike" dirty="0">
                          <a:effectLst/>
                          <a:latin typeface="Calibri" panose="020F0502020204030204" pitchFamily="34" charset="0"/>
                          <a:cs typeface="Calibri" panose="020F0502020204030204" pitchFamily="34" charset="0"/>
                        </a:rPr>
                        <a:t>Calendar Year</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Participant Cou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Claim Cou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Total Reimburseme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Participant Cou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Claim Cou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800" u="none" strike="noStrike" dirty="0">
                          <a:effectLst/>
                          <a:latin typeface="Calibri" panose="020F0502020204030204" pitchFamily="34" charset="0"/>
                          <a:cs typeface="Calibri" panose="020F0502020204030204" pitchFamily="34" charset="0"/>
                        </a:rPr>
                        <a:t>Total Reimbursement</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tc>
                <a:tc>
                  <a:txBody>
                    <a:bodyPr/>
                    <a:lstStyle/>
                    <a:p>
                      <a:pPr algn="ctr" fontAlgn="b"/>
                      <a:r>
                        <a:rPr lang="en-US" sz="1100" b="0" i="0" u="none" strike="noStrike" dirty="0">
                          <a:solidFill>
                            <a:srgbClr val="000000"/>
                          </a:solidFill>
                          <a:effectLst/>
                          <a:latin typeface="Calibri" panose="020F0502020204030204" pitchFamily="34" charset="0"/>
                        </a:rPr>
                        <a:t> </a:t>
                      </a:r>
                      <a:r>
                        <a:rPr lang="en-US" sz="1800" u="none" strike="noStrike" kern="1200" dirty="0" smtClean="0">
                          <a:solidFill>
                            <a:schemeClr val="dk1"/>
                          </a:solidFill>
                          <a:effectLst/>
                          <a:latin typeface="Calibri" panose="020F0502020204030204" pitchFamily="34" charset="0"/>
                          <a:ea typeface="+mn-ea"/>
                          <a:cs typeface="Calibri" panose="020F0502020204030204" pitchFamily="34" charset="0"/>
                        </a:rPr>
                        <a:t>Average Participant Count</a:t>
                      </a:r>
                      <a:endParaRPr lang="en-US" sz="1800" u="none" strike="noStrike" kern="1200" dirty="0">
                        <a:solidFill>
                          <a:schemeClr val="dk1"/>
                        </a:solidFill>
                        <a:effectLst/>
                        <a:latin typeface="Calibri" panose="020F0502020204030204" pitchFamily="34" charset="0"/>
                        <a:ea typeface="+mn-ea"/>
                        <a:cs typeface="Calibri" panose="020F0502020204030204" pitchFamily="34" charset="0"/>
                      </a:endParaRPr>
                    </a:p>
                  </a:txBody>
                  <a:tcPr marL="9525" marR="9525" marT="9525" marB="0" anchor="ctr"/>
                </a:tc>
                <a:extLst>
                  <a:ext uri="{0D108BD9-81ED-4DB2-BD59-A6C34878D82A}">
                    <a16:rowId xmlns:a16="http://schemas.microsoft.com/office/drawing/2014/main" val="2478126456"/>
                  </a:ext>
                </a:extLst>
              </a:tr>
              <a:tr h="396683">
                <a:tc>
                  <a:txBody>
                    <a:bodyPr/>
                    <a:lstStyle/>
                    <a:p>
                      <a:pPr algn="ctr" fontAlgn="b"/>
                      <a:r>
                        <a:rPr lang="en-US" sz="1800" u="none" strike="noStrike" dirty="0">
                          <a:effectLst/>
                          <a:latin typeface="Calibri" panose="020F0502020204030204" pitchFamily="34" charset="0"/>
                          <a:cs typeface="Calibri" panose="020F0502020204030204" pitchFamily="34" charset="0"/>
                        </a:rPr>
                        <a:t>2017</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9,614</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9,703</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7,915,205</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9,028</a:t>
                      </a:r>
                    </a:p>
                  </a:txBody>
                  <a:tcPr marL="7620" marR="7620" marT="7620" marB="0" anchor="ctr"/>
                </a:tc>
                <a:tc>
                  <a:txBody>
                    <a:bodyPr/>
                    <a:lstStyle/>
                    <a:p>
                      <a:pPr algn="ctr" fontAlgn="ctr"/>
                      <a:r>
                        <a:rPr lang="en-US" sz="1800" u="none" strike="noStrike" kern="1200">
                          <a:solidFill>
                            <a:schemeClr val="dk1"/>
                          </a:solidFill>
                          <a:effectLst/>
                          <a:latin typeface="Calibri" panose="020F0502020204030204" pitchFamily="34" charset="0"/>
                          <a:ea typeface="+mn-ea"/>
                          <a:cs typeface="Calibri" panose="020F0502020204030204" pitchFamily="34" charset="0"/>
                        </a:rPr>
                        <a:t>9,934</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595,039 </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987,114</a:t>
                      </a:r>
                    </a:p>
                  </a:txBody>
                  <a:tcPr marL="9525" marR="9525" marT="9525" marB="0" anchor="ctr"/>
                </a:tc>
                <a:extLst>
                  <a:ext uri="{0D108BD9-81ED-4DB2-BD59-A6C34878D82A}">
                    <a16:rowId xmlns:a16="http://schemas.microsoft.com/office/drawing/2014/main" val="1769013174"/>
                  </a:ext>
                </a:extLst>
              </a:tr>
              <a:tr h="396683">
                <a:tc>
                  <a:txBody>
                    <a:bodyPr/>
                    <a:lstStyle/>
                    <a:p>
                      <a:pPr algn="ctr" fontAlgn="b"/>
                      <a:r>
                        <a:rPr lang="en-US" sz="1800" u="none" strike="noStrike">
                          <a:effectLst/>
                          <a:latin typeface="Calibri" panose="020F0502020204030204" pitchFamily="34" charset="0"/>
                          <a:cs typeface="Calibri" panose="020F0502020204030204" pitchFamily="34" charset="0"/>
                        </a:rPr>
                        <a:t>2018</a:t>
                      </a:r>
                      <a:endParaRPr lang="en-US" sz="18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7,068</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7,120</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5,995,427</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8,498</a:t>
                      </a:r>
                    </a:p>
                  </a:txBody>
                  <a:tcPr marL="7620" marR="7620" marT="7620" marB="0" anchor="ctr"/>
                </a:tc>
                <a:tc>
                  <a:txBody>
                    <a:bodyPr/>
                    <a:lstStyle/>
                    <a:p>
                      <a:pPr algn="ctr" fontAlgn="ctr"/>
                      <a:r>
                        <a:rPr lang="en-US" sz="1800" u="none" strike="noStrike" kern="1200">
                          <a:solidFill>
                            <a:schemeClr val="dk1"/>
                          </a:solidFill>
                          <a:effectLst/>
                          <a:latin typeface="Calibri" panose="020F0502020204030204" pitchFamily="34" charset="0"/>
                          <a:ea typeface="+mn-ea"/>
                          <a:cs typeface="Calibri" panose="020F0502020204030204" pitchFamily="34" charset="0"/>
                        </a:rPr>
                        <a:t>9,365</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541,427 </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951,839</a:t>
                      </a:r>
                    </a:p>
                  </a:txBody>
                  <a:tcPr marL="9525" marR="9525" marT="9525" marB="0" anchor="ctr"/>
                </a:tc>
                <a:extLst>
                  <a:ext uri="{0D108BD9-81ED-4DB2-BD59-A6C34878D82A}">
                    <a16:rowId xmlns:a16="http://schemas.microsoft.com/office/drawing/2014/main" val="2464657052"/>
                  </a:ext>
                </a:extLst>
              </a:tr>
              <a:tr h="396683">
                <a:tc>
                  <a:txBody>
                    <a:bodyPr/>
                    <a:lstStyle/>
                    <a:p>
                      <a:pPr algn="ctr" fontAlgn="b"/>
                      <a:r>
                        <a:rPr lang="en-US" sz="1800" u="none" strike="noStrike" dirty="0">
                          <a:effectLst/>
                          <a:latin typeface="Calibri" panose="020F0502020204030204" pitchFamily="34" charset="0"/>
                          <a:cs typeface="Calibri" panose="020F0502020204030204" pitchFamily="34" charset="0"/>
                        </a:rPr>
                        <a:t>2019</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8,074</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8,137</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6,618,402</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8,799</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9,648</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565,905 </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867,542</a:t>
                      </a:r>
                    </a:p>
                  </a:txBody>
                  <a:tcPr marL="9525" marR="9525" marT="9525" marB="0" anchor="ctr"/>
                </a:tc>
                <a:extLst>
                  <a:ext uri="{0D108BD9-81ED-4DB2-BD59-A6C34878D82A}">
                    <a16:rowId xmlns:a16="http://schemas.microsoft.com/office/drawing/2014/main" val="1762926355"/>
                  </a:ext>
                </a:extLst>
              </a:tr>
              <a:tr h="396683">
                <a:tc>
                  <a:txBody>
                    <a:bodyPr/>
                    <a:lstStyle/>
                    <a:p>
                      <a:pPr algn="ctr" fontAlgn="b"/>
                      <a:r>
                        <a:rPr lang="en-US" sz="1800" u="none" strike="noStrike">
                          <a:effectLst/>
                          <a:latin typeface="Calibri" panose="020F0502020204030204" pitchFamily="34" charset="0"/>
                          <a:cs typeface="Calibri" panose="020F0502020204030204" pitchFamily="34" charset="0"/>
                        </a:rPr>
                        <a:t>2020</a:t>
                      </a:r>
                      <a:endParaRPr lang="en-US" sz="18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7,957</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8,026</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US" sz="1800" u="none" strike="noStrike" dirty="0" smtClean="0">
                          <a:effectLst/>
                          <a:latin typeface="Calibri" panose="020F0502020204030204" pitchFamily="34" charset="0"/>
                          <a:cs typeface="Calibri" panose="020F0502020204030204" pitchFamily="34" charset="0"/>
                        </a:rPr>
                        <a:t>$6,563,591</a:t>
                      </a:r>
                      <a:endParaRPr lang="en-US" sz="18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ctr"/>
                      <a:r>
                        <a:rPr lang="en-US" sz="1800" u="none" strike="noStrike" kern="1200">
                          <a:solidFill>
                            <a:schemeClr val="dk1"/>
                          </a:solidFill>
                          <a:effectLst/>
                          <a:latin typeface="Calibri" panose="020F0502020204030204" pitchFamily="34" charset="0"/>
                          <a:ea typeface="+mn-ea"/>
                          <a:cs typeface="Calibri" panose="020F0502020204030204" pitchFamily="34" charset="0"/>
                        </a:rPr>
                        <a:t>8,388</a:t>
                      </a:r>
                    </a:p>
                  </a:txBody>
                  <a:tcPr marL="7620" marR="7620" marT="7620" marB="0" anchor="ctr"/>
                </a:tc>
                <a:tc>
                  <a:txBody>
                    <a:bodyPr/>
                    <a:lstStyle/>
                    <a:p>
                      <a:pPr algn="ctr" fontAlgn="ctr"/>
                      <a:r>
                        <a:rPr lang="en-US" sz="1800" u="none" strike="noStrike" kern="1200">
                          <a:solidFill>
                            <a:schemeClr val="dk1"/>
                          </a:solidFill>
                          <a:effectLst/>
                          <a:latin typeface="Calibri" panose="020F0502020204030204" pitchFamily="34" charset="0"/>
                          <a:ea typeface="+mn-ea"/>
                          <a:cs typeface="Calibri" panose="020F0502020204030204" pitchFamily="34" charset="0"/>
                        </a:rPr>
                        <a:t>9,187</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523,708 </a:t>
                      </a:r>
                    </a:p>
                  </a:txBody>
                  <a:tcPr marL="7620" marR="7620" marT="7620" marB="0" anchor="ctr"/>
                </a:tc>
                <a:tc>
                  <a:txBody>
                    <a:bodyPr/>
                    <a:lstStyle/>
                    <a:p>
                      <a:pPr algn="ctr" fontAlgn="ctr"/>
                      <a:r>
                        <a:rPr lang="en-US" sz="1800" u="none" strike="noStrike" kern="1200" dirty="0">
                          <a:solidFill>
                            <a:schemeClr val="dk1"/>
                          </a:solidFill>
                          <a:effectLst/>
                          <a:latin typeface="Calibri" panose="020F0502020204030204" pitchFamily="34" charset="0"/>
                          <a:ea typeface="+mn-ea"/>
                          <a:cs typeface="Calibri" panose="020F0502020204030204" pitchFamily="34" charset="0"/>
                        </a:rPr>
                        <a:t>941,164</a:t>
                      </a:r>
                    </a:p>
                  </a:txBody>
                  <a:tcPr marL="9525" marR="9525" marT="9525" marB="0" anchor="ctr"/>
                </a:tc>
                <a:extLst>
                  <a:ext uri="{0D108BD9-81ED-4DB2-BD59-A6C34878D82A}">
                    <a16:rowId xmlns:a16="http://schemas.microsoft.com/office/drawing/2014/main" val="3074944355"/>
                  </a:ext>
                </a:extLst>
              </a:tr>
            </a:tbl>
          </a:graphicData>
        </a:graphic>
      </p:graphicFrame>
      <p:sp>
        <p:nvSpPr>
          <p:cNvPr id="4" name="Slide Number Placeholder 3"/>
          <p:cNvSpPr>
            <a:spLocks noGrp="1"/>
          </p:cNvSpPr>
          <p:nvPr>
            <p:ph type="sldNum" sz="quarter" idx="12"/>
          </p:nvPr>
        </p:nvSpPr>
        <p:spPr/>
        <p:txBody>
          <a:bodyPr/>
          <a:lstStyle/>
          <a:p>
            <a:fld id="{A001C670-DC88-4376-AA6B-FD9548DDC9F2}" type="slidenum">
              <a:rPr lang="en-US">
                <a:latin typeface="Palatino Linotype"/>
              </a:rPr>
              <a:pPr/>
              <a:t>18</a:t>
            </a:fld>
            <a:endParaRPr lang="en-US" dirty="0">
              <a:latin typeface="Palatino Linotype"/>
            </a:endParaRPr>
          </a:p>
        </p:txBody>
      </p:sp>
      <p:sp>
        <p:nvSpPr>
          <p:cNvPr id="3" name="TextBox 2"/>
          <p:cNvSpPr txBox="1"/>
          <p:nvPr/>
        </p:nvSpPr>
        <p:spPr>
          <a:xfrm>
            <a:off x="228600" y="5768243"/>
            <a:ext cx="5681155" cy="830997"/>
          </a:xfrm>
          <a:prstGeom prst="rect">
            <a:avLst/>
          </a:prstGeom>
          <a:noFill/>
        </p:spPr>
        <p:txBody>
          <a:bodyPr wrap="square" rtlCol="0">
            <a:spAutoFit/>
          </a:bodyPr>
          <a:lstStyle/>
          <a:p>
            <a:r>
              <a:rPr lang="en-US" sz="1600" dirty="0" smtClean="0">
                <a:solidFill>
                  <a:schemeClr val="dk1"/>
                </a:solidFill>
                <a:latin typeface="Calibri" panose="020F0502020204030204" pitchFamily="34" charset="0"/>
                <a:cs typeface="Calibri" panose="020F0502020204030204" pitchFamily="34" charset="0"/>
              </a:rPr>
              <a:t>Effective April </a:t>
            </a:r>
            <a:r>
              <a:rPr lang="en-US" sz="1600" dirty="0">
                <a:solidFill>
                  <a:schemeClr val="dk1"/>
                </a:solidFill>
                <a:latin typeface="Calibri" panose="020F0502020204030204" pitchFamily="34" charset="0"/>
                <a:cs typeface="Calibri" panose="020F0502020204030204" pitchFamily="34" charset="0"/>
              </a:rPr>
              <a:t>14, 2019, the MO </a:t>
            </a:r>
            <a:r>
              <a:rPr lang="en-US" sz="1600" dirty="0" err="1">
                <a:solidFill>
                  <a:schemeClr val="dk1"/>
                </a:solidFill>
                <a:latin typeface="Calibri" panose="020F0502020204030204" pitchFamily="34" charset="0"/>
                <a:cs typeface="Calibri" panose="020F0502020204030204" pitchFamily="34" charset="0"/>
              </a:rPr>
              <a:t>HealthNet</a:t>
            </a:r>
            <a:r>
              <a:rPr lang="en-US" sz="1600" dirty="0">
                <a:solidFill>
                  <a:schemeClr val="dk1"/>
                </a:solidFill>
                <a:latin typeface="Calibri" panose="020F0502020204030204" pitchFamily="34" charset="0"/>
                <a:cs typeface="Calibri" panose="020F0502020204030204" pitchFamily="34" charset="0"/>
              </a:rPr>
              <a:t> Division (MHD) </a:t>
            </a:r>
            <a:r>
              <a:rPr lang="en-US" sz="1600" dirty="0" smtClean="0">
                <a:solidFill>
                  <a:schemeClr val="dk1"/>
                </a:solidFill>
                <a:latin typeface="Calibri" panose="020F0502020204030204" pitchFamily="34" charset="0"/>
                <a:cs typeface="Calibri" panose="020F0502020204030204" pitchFamily="34" charset="0"/>
              </a:rPr>
              <a:t>no </a:t>
            </a:r>
            <a:r>
              <a:rPr lang="en-US" sz="1600" dirty="0">
                <a:solidFill>
                  <a:schemeClr val="dk1"/>
                </a:solidFill>
                <a:latin typeface="Calibri" panose="020F0502020204030204" pitchFamily="34" charset="0"/>
                <a:cs typeface="Calibri" panose="020F0502020204030204" pitchFamily="34" charset="0"/>
              </a:rPr>
              <a:t>longer </a:t>
            </a:r>
            <a:r>
              <a:rPr lang="en-US" sz="1600" dirty="0" smtClean="0">
                <a:solidFill>
                  <a:schemeClr val="dk1"/>
                </a:solidFill>
                <a:latin typeface="Calibri" panose="020F0502020204030204" pitchFamily="34" charset="0"/>
                <a:cs typeface="Calibri" panose="020F0502020204030204" pitchFamily="34" charset="0"/>
              </a:rPr>
              <a:t>pays </a:t>
            </a:r>
            <a:r>
              <a:rPr lang="en-US" sz="1600" dirty="0">
                <a:solidFill>
                  <a:schemeClr val="dk1"/>
                </a:solidFill>
                <a:latin typeface="Calibri" panose="020F0502020204030204" pitchFamily="34" charset="0"/>
                <a:cs typeface="Calibri" panose="020F0502020204030204" pitchFamily="34" charset="0"/>
              </a:rPr>
              <a:t>claims for long-acting reversible contraceptives (LARCs) submitted by pharmacy providers. </a:t>
            </a:r>
          </a:p>
        </p:txBody>
      </p:sp>
    </p:spTree>
    <p:extLst>
      <p:ext uri="{BB962C8B-B14F-4D97-AF65-F5344CB8AC3E}">
        <p14:creationId xmlns:p14="http://schemas.microsoft.com/office/powerpoint/2010/main" val="3755769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IT update</a:t>
            </a:r>
            <a:endParaRPr lang="en-US" dirty="0"/>
          </a:p>
        </p:txBody>
      </p:sp>
    </p:spTree>
    <p:extLst>
      <p:ext uri="{BB962C8B-B14F-4D97-AF65-F5344CB8AC3E}">
        <p14:creationId xmlns:p14="http://schemas.microsoft.com/office/powerpoint/2010/main" val="112346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14399" y="228600"/>
            <a:ext cx="10363200" cy="304800"/>
          </a:xfrm>
        </p:spPr>
        <p:txBody>
          <a:bodyPr>
            <a:noAutofit/>
          </a:bodyPr>
          <a:lstStyle/>
          <a:p>
            <a:pPr algn="ctr"/>
            <a:r>
              <a:rPr lang="en-US" sz="2400" b="1" dirty="0">
                <a:solidFill>
                  <a:srgbClr val="1B587C"/>
                </a:solidFill>
              </a:rPr>
              <a:t>Agenda</a:t>
            </a:r>
            <a:br>
              <a:rPr lang="en-US" sz="2400" b="1" dirty="0">
                <a:solidFill>
                  <a:srgbClr val="1B587C"/>
                </a:solidFill>
              </a:rPr>
            </a:br>
            <a:r>
              <a:rPr lang="en-US" sz="2400" b="1" dirty="0" smtClean="0">
                <a:solidFill>
                  <a:srgbClr val="1B587C"/>
                </a:solidFill>
              </a:rPr>
              <a:t>February 4, 2021</a:t>
            </a:r>
            <a:endParaRPr lang="en-US" sz="2400" dirty="0"/>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414082990"/>
              </p:ext>
            </p:extLst>
          </p:nvPr>
        </p:nvGraphicFramePr>
        <p:xfrm>
          <a:off x="228598" y="762001"/>
          <a:ext cx="11811001" cy="5196840"/>
        </p:xfrm>
        <a:graphic>
          <a:graphicData uri="http://schemas.openxmlformats.org/drawingml/2006/table">
            <a:tbl>
              <a:tblPr firstRow="1" firstCol="1" bandRow="1">
                <a:tableStyleId>{5C22544A-7EE6-4342-B048-85BDC9FD1C3A}</a:tableStyleId>
              </a:tblPr>
              <a:tblGrid>
                <a:gridCol w="1153899">
                  <a:extLst>
                    <a:ext uri="{9D8B030D-6E8A-4147-A177-3AD203B41FA5}">
                      <a16:colId xmlns:a16="http://schemas.microsoft.com/office/drawing/2014/main" val="2527503537"/>
                    </a:ext>
                  </a:extLst>
                </a:gridCol>
                <a:gridCol w="6968755">
                  <a:extLst>
                    <a:ext uri="{9D8B030D-6E8A-4147-A177-3AD203B41FA5}">
                      <a16:colId xmlns:a16="http://schemas.microsoft.com/office/drawing/2014/main" val="1231575394"/>
                    </a:ext>
                  </a:extLst>
                </a:gridCol>
                <a:gridCol w="3688347">
                  <a:extLst>
                    <a:ext uri="{9D8B030D-6E8A-4147-A177-3AD203B41FA5}">
                      <a16:colId xmlns:a16="http://schemas.microsoft.com/office/drawing/2014/main" val="4142264324"/>
                    </a:ext>
                  </a:extLst>
                </a:gridCol>
              </a:tblGrid>
              <a:tr h="669210">
                <a:tc>
                  <a:txBody>
                    <a:bodyPr/>
                    <a:lstStyle/>
                    <a:p>
                      <a:pPr marL="0" marR="0" algn="r">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12:00 – 12:15</a:t>
                      </a:r>
                    </a:p>
                  </a:txBody>
                  <a:tcPr marL="51540" marR="51540" marT="0" marB="0"/>
                </a:tc>
                <a:tc>
                  <a:txBody>
                    <a:bodyPr/>
                    <a:lstStyle/>
                    <a:p>
                      <a:pPr marL="0" marR="0">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Welcome/Introductions/Minutes</a:t>
                      </a:r>
                    </a:p>
                    <a:p>
                      <a:pPr marL="342900" marR="0" lvl="0" indent="-342900">
                        <a:spcBef>
                          <a:spcPts val="0"/>
                        </a:spcBef>
                        <a:spcAft>
                          <a:spcPts val="0"/>
                        </a:spcAft>
                        <a:buFont typeface="Symbol" panose="05050102010706020507" pitchFamily="18" charset="2"/>
                        <a:buChar char=""/>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Approval of November 12  meeting minutes</a:t>
                      </a:r>
                    </a:p>
                    <a:p>
                      <a:pPr marL="342900" marR="0" lvl="0" indent="-342900">
                        <a:spcBef>
                          <a:spcPts val="0"/>
                        </a:spcBef>
                        <a:spcAft>
                          <a:spcPts val="0"/>
                        </a:spcAft>
                        <a:buFont typeface="Symbol" panose="05050102010706020507" pitchFamily="18" charset="2"/>
                        <a:buChar char=""/>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New Committee Member – Senator Holly Rehder</a:t>
                      </a:r>
                    </a:p>
                    <a:p>
                      <a:pPr marL="209550" marR="0">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Dr. Nick Pfannenstiel, Chairman</a:t>
                      </a:r>
                    </a:p>
                  </a:txBody>
                  <a:tcPr marL="51540" marR="51540" marT="0" marB="0"/>
                </a:tc>
                <a:extLst>
                  <a:ext uri="{0D108BD9-81ED-4DB2-BD59-A6C34878D82A}">
                    <a16:rowId xmlns:a16="http://schemas.microsoft.com/office/drawing/2014/main" val="1610819541"/>
                  </a:ext>
                </a:extLst>
              </a:tr>
              <a:tr h="664430">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12:15 – 12:45</a:t>
                      </a:r>
                    </a:p>
                  </a:txBody>
                  <a:tcPr marL="51540" marR="51540" marT="0" marB="0"/>
                </a:tc>
                <a:tc>
                  <a:txBody>
                    <a:bodyPr/>
                    <a:lstStyle/>
                    <a:p>
                      <a:pPr marL="0" marR="0">
                        <a:spcBef>
                          <a:spcPts val="0"/>
                        </a:spcBef>
                        <a:spcAft>
                          <a:spcPts val="0"/>
                        </a:spcAft>
                        <a:tabLst>
                          <a:tab pos="1828800" algn="l"/>
                          <a:tab pos="6949440" algn="r"/>
                        </a:tabLst>
                      </a:pPr>
                      <a:r>
                        <a:rPr lang="en-US" sz="1100">
                          <a:effectLst/>
                          <a:latin typeface="Cambria" panose="02040503050406030204" pitchFamily="18" charset="0"/>
                          <a:ea typeface="Cambria" panose="02040503050406030204" pitchFamily="18" charset="0"/>
                          <a:cs typeface="Arial" panose="020B0604020202020204" pitchFamily="34" charset="0"/>
                        </a:rPr>
                        <a:t>Director’s Update</a:t>
                      </a:r>
                    </a:p>
                    <a:p>
                      <a:pPr marL="342900" marR="0" lvl="0" indent="-342900">
                        <a:spcBef>
                          <a:spcPts val="0"/>
                        </a:spcBef>
                        <a:spcAft>
                          <a:spcPts val="0"/>
                        </a:spcAft>
                        <a:buFont typeface="Symbol" panose="05050102010706020507" pitchFamily="18" charset="2"/>
                        <a:buChar char=""/>
                      </a:pPr>
                      <a:r>
                        <a:rPr lang="en-US" sz="1100">
                          <a:effectLst/>
                          <a:latin typeface="Cambria" panose="02040503050406030204" pitchFamily="18" charset="0"/>
                          <a:ea typeface="Cambria" panose="02040503050406030204" pitchFamily="18" charset="0"/>
                          <a:cs typeface="Arial" panose="020B0604020202020204" pitchFamily="34" charset="0"/>
                        </a:rPr>
                        <a:t>COVID-19 Update</a:t>
                      </a:r>
                    </a:p>
                    <a:p>
                      <a:pPr marL="342900" marR="0" lvl="0" indent="-342900">
                        <a:spcBef>
                          <a:spcPts val="0"/>
                        </a:spcBef>
                        <a:spcAft>
                          <a:spcPts val="0"/>
                        </a:spcAft>
                        <a:buFont typeface="Symbol" panose="05050102010706020507" pitchFamily="18" charset="2"/>
                        <a:buChar char=""/>
                      </a:pPr>
                      <a:r>
                        <a:rPr lang="en-US" sz="1100">
                          <a:effectLst/>
                          <a:latin typeface="Cambria" panose="02040503050406030204" pitchFamily="18" charset="0"/>
                          <a:ea typeface="Cambria" panose="02040503050406030204" pitchFamily="18" charset="0"/>
                          <a:cs typeface="Arial" panose="020B0604020202020204" pitchFamily="34" charset="0"/>
                        </a:rPr>
                        <a:t>Medicaid Expansion</a:t>
                      </a:r>
                    </a:p>
                    <a:p>
                      <a:pPr marL="276225" marR="0">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Todd Richardson, MHD Director</a:t>
                      </a:r>
                    </a:p>
                  </a:txBody>
                  <a:tcPr marL="51540" marR="51540" marT="0" marB="0"/>
                </a:tc>
                <a:extLst>
                  <a:ext uri="{0D108BD9-81ED-4DB2-BD59-A6C34878D82A}">
                    <a16:rowId xmlns:a16="http://schemas.microsoft.com/office/drawing/2014/main" val="3352547364"/>
                  </a:ext>
                </a:extLst>
              </a:tr>
              <a:tr h="501908">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12:45 – 1:00</a:t>
                      </a:r>
                    </a:p>
                  </a:txBody>
                  <a:tcPr marL="51540" marR="51540" marT="0" marB="0"/>
                </a:tc>
                <a:tc>
                  <a:txBody>
                    <a:bodyPr/>
                    <a:lstStyle/>
                    <a:p>
                      <a:pPr marL="0" marR="0">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Chief Transformation Officer Update </a:t>
                      </a:r>
                    </a:p>
                    <a:p>
                      <a:pPr marL="342900" marR="0" lvl="0" indent="-342900">
                        <a:spcBef>
                          <a:spcPts val="0"/>
                        </a:spcBef>
                        <a:spcAft>
                          <a:spcPts val="0"/>
                        </a:spcAft>
                        <a:buFont typeface="Symbol" panose="05050102010706020507" pitchFamily="18" charset="2"/>
                        <a:buChar char=""/>
                        <a:tabLst>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Missouri Benefit Enrollment Transformation Project</a:t>
                      </a:r>
                    </a:p>
                    <a:p>
                      <a:pPr marL="280035" marR="0">
                        <a:spcBef>
                          <a:spcPts val="0"/>
                        </a:spcBef>
                        <a:spcAft>
                          <a:spcPts val="0"/>
                        </a:spcAft>
                        <a:tabLst>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Kirk Mathews</a:t>
                      </a:r>
                    </a:p>
                  </a:txBody>
                  <a:tcPr marL="51540" marR="51540" marT="0" marB="0"/>
                </a:tc>
                <a:extLst>
                  <a:ext uri="{0D108BD9-81ED-4DB2-BD59-A6C34878D82A}">
                    <a16:rowId xmlns:a16="http://schemas.microsoft.com/office/drawing/2014/main" val="932743051"/>
                  </a:ext>
                </a:extLst>
              </a:tr>
              <a:tr h="669210">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1:00 – 1:15</a:t>
                      </a:r>
                    </a:p>
                  </a:txBody>
                  <a:tcPr marL="51540" marR="51540" marT="0" marB="0"/>
                </a:tc>
                <a:tc>
                  <a:txBody>
                    <a:bodyPr/>
                    <a:lstStyle/>
                    <a:p>
                      <a:pPr marL="0" marR="0">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Chief Operating Officer Update</a:t>
                      </a:r>
                    </a:p>
                    <a:p>
                      <a:pPr marL="342900" marR="0" lvl="0" indent="-342900">
                        <a:spcBef>
                          <a:spcPts val="0"/>
                        </a:spcBef>
                        <a:spcAft>
                          <a:spcPts val="0"/>
                        </a:spcAft>
                        <a:buFont typeface="Symbol" panose="05050102010706020507" pitchFamily="18" charset="2"/>
                        <a:buChar char=""/>
                        <a:tabLst>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Introducing our new Program Integrity Pharmacist</a:t>
                      </a:r>
                    </a:p>
                    <a:p>
                      <a:pPr marL="342900" marR="0" lvl="0" indent="-342900">
                        <a:spcBef>
                          <a:spcPts val="0"/>
                        </a:spcBef>
                        <a:spcAft>
                          <a:spcPts val="0"/>
                        </a:spcAft>
                        <a:buFont typeface="Symbol" panose="05050102010706020507" pitchFamily="18" charset="2"/>
                        <a:buChar char=""/>
                        <a:tabLst>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Long Acting Reversible Contraception (LARC)</a:t>
                      </a:r>
                    </a:p>
                    <a:p>
                      <a:pPr marL="457200" marR="0">
                        <a:spcBef>
                          <a:spcPts val="0"/>
                        </a:spcBef>
                        <a:spcAft>
                          <a:spcPts val="0"/>
                        </a:spcAft>
                        <a:tabLst>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Jessie Dresner</a:t>
                      </a:r>
                    </a:p>
                    <a:p>
                      <a:pPr marL="209550" marR="0" algn="ct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r>
                        <a:rPr lang="en-US" sz="1100" dirty="0" smtClean="0">
                          <a:effectLst/>
                          <a:latin typeface="Cambria" panose="02040503050406030204" pitchFamily="18" charset="0"/>
                          <a:ea typeface="Cambria" panose="02040503050406030204" pitchFamily="18" charset="0"/>
                          <a:cs typeface="Arial" panose="020B0604020202020204" pitchFamily="34" charset="0"/>
                        </a:rPr>
                        <a:t>                                       Olivia </a:t>
                      </a:r>
                      <a:r>
                        <a:rPr lang="en-US" sz="1100" dirty="0">
                          <a:effectLst/>
                          <a:latin typeface="Cambria" panose="02040503050406030204" pitchFamily="18" charset="0"/>
                          <a:ea typeface="Cambria" panose="02040503050406030204" pitchFamily="18" charset="0"/>
                          <a:cs typeface="Arial" panose="020B0604020202020204" pitchFamily="34" charset="0"/>
                        </a:rPr>
                        <a:t>Rush</a:t>
                      </a:r>
                    </a:p>
                  </a:txBody>
                  <a:tcPr marL="51540" marR="51540" marT="0" marB="0"/>
                </a:tc>
                <a:extLst>
                  <a:ext uri="{0D108BD9-81ED-4DB2-BD59-A6C34878D82A}">
                    <a16:rowId xmlns:a16="http://schemas.microsoft.com/office/drawing/2014/main" val="1867144939"/>
                  </a:ext>
                </a:extLst>
              </a:tr>
              <a:tr h="669210">
                <a:tc>
                  <a:txBody>
                    <a:bodyPr/>
                    <a:lstStyle/>
                    <a:p>
                      <a:pPr marL="0" marR="0" algn="r">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1:15 – 1:30</a:t>
                      </a:r>
                    </a:p>
                  </a:txBody>
                  <a:tcPr marL="51540" marR="51540" marT="0" marB="0"/>
                </a:tc>
                <a:tc>
                  <a:txBody>
                    <a:bodyPr/>
                    <a:lstStyle/>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IT Update</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tab pos="6949440" algn="r"/>
                        </a:tabLst>
                        <a:defRPr/>
                      </a:pPr>
                      <a:r>
                        <a:rPr lang="en-US" sz="1100" dirty="0" smtClean="0">
                          <a:effectLst/>
                          <a:latin typeface="Cambria" panose="02040503050406030204" pitchFamily="18" charset="0"/>
                          <a:ea typeface="Cambria" panose="02040503050406030204" pitchFamily="18" charset="0"/>
                          <a:cs typeface="Arial" panose="020B0604020202020204" pitchFamily="34" charset="0"/>
                        </a:rPr>
                        <a:t>BIS EDW Update</a:t>
                      </a:r>
                    </a:p>
                    <a:p>
                      <a:pPr marL="342900" marR="0" lvl="0" indent="-342900">
                        <a:spcBef>
                          <a:spcPts val="0"/>
                        </a:spcBef>
                        <a:spcAft>
                          <a:spcPts val="0"/>
                        </a:spcAft>
                        <a:buFont typeface="Symbol" panose="05050102010706020507" pitchFamily="18" charset="2"/>
                        <a:buChar char=""/>
                        <a:tabLst>
                          <a:tab pos="6949440" algn="r"/>
                        </a:tabLst>
                      </a:pPr>
                      <a:r>
                        <a:rPr lang="en-US" sz="1100" dirty="0" smtClean="0">
                          <a:effectLst/>
                          <a:latin typeface="Cambria" panose="02040503050406030204" pitchFamily="18" charset="0"/>
                          <a:ea typeface="Cambria" panose="02040503050406030204" pitchFamily="18" charset="0"/>
                          <a:cs typeface="Arial" panose="020B0604020202020204" pitchFamily="34" charset="0"/>
                        </a:rPr>
                        <a:t>Conduent </a:t>
                      </a:r>
                      <a:r>
                        <a:rPr lang="en-US" sz="1100" dirty="0">
                          <a:effectLst/>
                          <a:latin typeface="Cambria" panose="02040503050406030204" pitchFamily="18" charset="0"/>
                          <a:ea typeface="Cambria" panose="02040503050406030204" pitchFamily="18" charset="0"/>
                          <a:cs typeface="Arial" panose="020B0604020202020204" pitchFamily="34" charset="0"/>
                        </a:rPr>
                        <a:t>System Migration Update </a:t>
                      </a:r>
                    </a:p>
                    <a:p>
                      <a:pPr marL="45720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Darin Hackman/Tisha McGowan</a:t>
                      </a:r>
                    </a:p>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extLst>
                  <a:ext uri="{0D108BD9-81ED-4DB2-BD59-A6C34878D82A}">
                    <a16:rowId xmlns:a16="http://schemas.microsoft.com/office/drawing/2014/main" val="3750868260"/>
                  </a:ext>
                </a:extLst>
              </a:tr>
              <a:tr h="334605">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1:30 – 1:45</a:t>
                      </a:r>
                    </a:p>
                  </a:txBody>
                  <a:tcPr marL="51540" marR="51540" marT="0" marB="0"/>
                </a:tc>
                <a:tc>
                  <a:txBody>
                    <a:bodyPr/>
                    <a:lstStyle/>
                    <a:p>
                      <a:pPr marL="0" marR="0">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Managed Care RFP Update</a:t>
                      </a:r>
                    </a:p>
                    <a:p>
                      <a:pPr marL="274320" marR="0">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Rebecca Logan</a:t>
                      </a:r>
                    </a:p>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extLst>
                  <a:ext uri="{0D108BD9-81ED-4DB2-BD59-A6C34878D82A}">
                    <a16:rowId xmlns:a16="http://schemas.microsoft.com/office/drawing/2014/main" val="2161723888"/>
                  </a:ext>
                </a:extLst>
              </a:tr>
              <a:tr h="501908">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1:45 – 2:00</a:t>
                      </a:r>
                    </a:p>
                  </a:txBody>
                  <a:tcPr marL="51540" marR="51540" marT="0" marB="0"/>
                </a:tc>
                <a:tc>
                  <a:txBody>
                    <a:bodyPr/>
                    <a:lstStyle/>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Pharmacy Director Update</a:t>
                      </a:r>
                    </a:p>
                    <a:p>
                      <a:pPr marL="342900" marR="0" lvl="0" indent="-342900">
                        <a:spcBef>
                          <a:spcPts val="0"/>
                        </a:spcBef>
                        <a:spcAft>
                          <a:spcPts val="0"/>
                        </a:spcAft>
                        <a:buFont typeface="Symbol" panose="05050102010706020507" pitchFamily="18" charset="2"/>
                        <a:buChar char=""/>
                      </a:pPr>
                      <a:r>
                        <a:rPr lang="en-US" sz="1100" dirty="0">
                          <a:effectLst/>
                          <a:latin typeface="Cambria" panose="02040503050406030204" pitchFamily="18" charset="0"/>
                          <a:ea typeface="Cambria" panose="02040503050406030204" pitchFamily="18" charset="0"/>
                          <a:cs typeface="Arial" panose="020B0604020202020204" pitchFamily="34" charset="0"/>
                        </a:rPr>
                        <a:t>Specialty Drugs </a:t>
                      </a:r>
                      <a:r>
                        <a:rPr lang="en-US" sz="1100" dirty="0" smtClean="0">
                          <a:effectLst/>
                          <a:latin typeface="Cambria" panose="02040503050406030204" pitchFamily="18" charset="0"/>
                          <a:ea typeface="Cambria" panose="02040503050406030204" pitchFamily="18" charset="0"/>
                          <a:cs typeface="Arial" panose="020B0604020202020204" pitchFamily="34" charset="0"/>
                        </a:rPr>
                        <a:t>– High Cost Therapies in Medicaid</a:t>
                      </a:r>
                      <a:endParaRPr lang="en-US" sz="1100" dirty="0">
                        <a:effectLst/>
                        <a:latin typeface="Cambria" panose="02040503050406030204" pitchFamily="18" charset="0"/>
                        <a:ea typeface="Cambria" panose="02040503050406030204" pitchFamily="18" charset="0"/>
                        <a:cs typeface="Arial" panose="020B0604020202020204" pitchFamily="34" charset="0"/>
                      </a:endParaRPr>
                    </a:p>
                    <a:p>
                      <a:pPr marL="276225"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Josh Moore</a:t>
                      </a:r>
                    </a:p>
                  </a:txBody>
                  <a:tcPr marL="51540" marR="51540" marT="0" marB="0"/>
                </a:tc>
                <a:extLst>
                  <a:ext uri="{0D108BD9-81ED-4DB2-BD59-A6C34878D82A}">
                    <a16:rowId xmlns:a16="http://schemas.microsoft.com/office/drawing/2014/main" val="2982983763"/>
                  </a:ext>
                </a:extLst>
              </a:tr>
              <a:tr h="334605">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2:00 – 2:15</a:t>
                      </a:r>
                    </a:p>
                  </a:txBody>
                  <a:tcPr marL="51540" marR="51540" marT="0" marB="0"/>
                </a:tc>
                <a:tc>
                  <a:txBody>
                    <a:bodyPr/>
                    <a:lstStyle/>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Legislative Update</a:t>
                      </a:r>
                    </a:p>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Caitlin Whaley</a:t>
                      </a:r>
                    </a:p>
                  </a:txBody>
                  <a:tcPr marL="51540" marR="51540" marT="0" marB="0"/>
                </a:tc>
                <a:extLst>
                  <a:ext uri="{0D108BD9-81ED-4DB2-BD59-A6C34878D82A}">
                    <a16:rowId xmlns:a16="http://schemas.microsoft.com/office/drawing/2014/main" val="1224140668"/>
                  </a:ext>
                </a:extLst>
              </a:tr>
              <a:tr h="334605">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2:15  – 2:30</a:t>
                      </a:r>
                    </a:p>
                  </a:txBody>
                  <a:tcPr marL="51540" marR="51540" marT="0" marB="0"/>
                </a:tc>
                <a:tc>
                  <a:txBody>
                    <a:bodyPr/>
                    <a:lstStyle/>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Budget Update</a:t>
                      </a:r>
                    </a:p>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Tony Brite</a:t>
                      </a:r>
                    </a:p>
                  </a:txBody>
                  <a:tcPr marL="51540" marR="51540" marT="0" marB="0"/>
                </a:tc>
                <a:extLst>
                  <a:ext uri="{0D108BD9-81ED-4DB2-BD59-A6C34878D82A}">
                    <a16:rowId xmlns:a16="http://schemas.microsoft.com/office/drawing/2014/main" val="3120969735"/>
                  </a:ext>
                </a:extLst>
              </a:tr>
              <a:tr h="334605">
                <a:tc>
                  <a:txBody>
                    <a:bodyPr/>
                    <a:lstStyle/>
                    <a:p>
                      <a:pPr marL="0" marR="0" algn="r">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2:30 – 2:45</a:t>
                      </a:r>
                    </a:p>
                  </a:txBody>
                  <a:tcPr marL="51540" marR="51540" marT="0" marB="0"/>
                </a:tc>
                <a:tc>
                  <a:txBody>
                    <a:bodyPr/>
                    <a:lstStyle/>
                    <a:p>
                      <a:pPr marL="0" marR="0">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Public Comment</a:t>
                      </a:r>
                    </a:p>
                    <a:p>
                      <a:pPr marL="0" marR="0">
                        <a:spcBef>
                          <a:spcPts val="0"/>
                        </a:spcBef>
                        <a:spcAft>
                          <a:spcPts val="0"/>
                        </a:spcAft>
                      </a:pPr>
                      <a:r>
                        <a:rPr lang="en-US" sz="110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 </a:t>
                      </a:r>
                    </a:p>
                  </a:txBody>
                  <a:tcPr marL="51540" marR="51540" marT="0" marB="0"/>
                </a:tc>
                <a:extLst>
                  <a:ext uri="{0D108BD9-81ED-4DB2-BD59-A6C34878D82A}">
                    <a16:rowId xmlns:a16="http://schemas.microsoft.com/office/drawing/2014/main" val="1148525144"/>
                  </a:ext>
                </a:extLst>
              </a:tr>
              <a:tr h="167303">
                <a:tc>
                  <a:txBody>
                    <a:bodyPr/>
                    <a:lstStyle/>
                    <a:p>
                      <a:pPr marL="0" marR="0" algn="r">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2:45 – 3:00</a:t>
                      </a:r>
                    </a:p>
                  </a:txBody>
                  <a:tcPr marL="51540" marR="51540" marT="0" marB="0"/>
                </a:tc>
                <a:tc>
                  <a:txBody>
                    <a:bodyPr/>
                    <a:lstStyle/>
                    <a:p>
                      <a:pPr marL="0" marR="0">
                        <a:spcBef>
                          <a:spcPts val="0"/>
                        </a:spcBef>
                        <a:spcAft>
                          <a:spcPts val="0"/>
                        </a:spcAft>
                      </a:pPr>
                      <a:r>
                        <a:rPr lang="en-US" sz="1100" dirty="0">
                          <a:effectLst/>
                          <a:latin typeface="Cambria" panose="02040503050406030204" pitchFamily="18" charset="0"/>
                          <a:ea typeface="Cambria" panose="02040503050406030204" pitchFamily="18" charset="0"/>
                          <a:cs typeface="Arial" panose="020B0604020202020204" pitchFamily="34" charset="0"/>
                        </a:rPr>
                        <a:t>Family Support Division Update</a:t>
                      </a:r>
                    </a:p>
                  </a:txBody>
                  <a:tcPr marL="51540" marR="51540" marT="0" marB="0"/>
                </a:tc>
                <a:tc>
                  <a:txBody>
                    <a:bodyPr/>
                    <a:lstStyle/>
                    <a:p>
                      <a:pPr marL="209550" marR="0" algn="r">
                        <a:spcBef>
                          <a:spcPts val="0"/>
                        </a:spcBef>
                        <a:spcAft>
                          <a:spcPts val="0"/>
                        </a:spcAft>
                        <a:tabLst>
                          <a:tab pos="1828800" algn="l"/>
                          <a:tab pos="6949440" algn="r"/>
                        </a:tabLst>
                      </a:pPr>
                      <a:r>
                        <a:rPr lang="en-US" sz="1100" dirty="0">
                          <a:effectLst/>
                          <a:latin typeface="Cambria" panose="02040503050406030204" pitchFamily="18" charset="0"/>
                          <a:ea typeface="Cambria" panose="02040503050406030204" pitchFamily="18" charset="0"/>
                          <a:cs typeface="Arial" panose="020B0604020202020204" pitchFamily="34" charset="0"/>
                        </a:rPr>
                        <a:t>Kim Evans, FSD Director</a:t>
                      </a:r>
                    </a:p>
                  </a:txBody>
                  <a:tcPr marL="51540" marR="51540" marT="0" marB="0"/>
                </a:tc>
                <a:extLst>
                  <a:ext uri="{0D108BD9-81ED-4DB2-BD59-A6C34878D82A}">
                    <a16:rowId xmlns:a16="http://schemas.microsoft.com/office/drawing/2014/main" val="2564819835"/>
                  </a:ext>
                </a:extLst>
              </a:tr>
            </a:tbl>
          </a:graphicData>
        </a:graphic>
      </p:graphicFrame>
    </p:spTree>
    <p:extLst>
      <p:ext uri="{BB962C8B-B14F-4D97-AF65-F5344CB8AC3E}">
        <p14:creationId xmlns:p14="http://schemas.microsoft.com/office/powerpoint/2010/main" val="1491219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2209800" y="1905000"/>
            <a:ext cx="7772400" cy="3200400"/>
          </a:xfrm>
        </p:spPr>
        <p:txBody>
          <a:bodyPr>
            <a:noAutofit/>
          </a:bodyPr>
          <a:lstStyle/>
          <a:p>
            <a:pPr algn="ctr"/>
            <a:r>
              <a:rPr lang="en-US" sz="4000" b="1" dirty="0">
                <a:latin typeface="Century Gothic" panose="020B0502020202020204" pitchFamily="34" charset="0"/>
              </a:rPr>
              <a:t>Business Intelligence Solution – Enterprise Data Warehouse (BIS-EDW) Update</a:t>
            </a:r>
            <a:endParaRPr lang="en-US" sz="4000" b="1" cap="small"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20</a:t>
            </a:fld>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8600" y="446502"/>
            <a:ext cx="2362200" cy="802861"/>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411866"/>
            <a:ext cx="2743200" cy="616417"/>
          </a:xfrm>
          <a:prstGeom prst="rect">
            <a:avLst/>
          </a:prstGeom>
        </p:spPr>
      </p:pic>
    </p:spTree>
    <p:extLst>
      <p:ext uri="{BB962C8B-B14F-4D97-AF65-F5344CB8AC3E}">
        <p14:creationId xmlns:p14="http://schemas.microsoft.com/office/powerpoint/2010/main" val="16827439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BIS-EDW Goals</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676400"/>
            <a:ext cx="8398705" cy="3733800"/>
          </a:xfrm>
        </p:spPr>
        <p:txBody>
          <a:bodyPr>
            <a:normAutofit/>
          </a:bodyPr>
          <a:lstStyle/>
          <a:p>
            <a:pPr lvl="0"/>
            <a:r>
              <a:rPr lang="en-US" dirty="0">
                <a:solidFill>
                  <a:srgbClr val="1B587C"/>
                </a:solidFill>
                <a:latin typeface="Calibri" panose="020F0502020204030204" pitchFamily="34" charset="0"/>
                <a:cs typeface="Calibri" panose="020F0502020204030204" pitchFamily="34" charset="0"/>
              </a:rPr>
              <a:t>Better management and use of </a:t>
            </a:r>
            <a:r>
              <a:rPr lang="en-US" dirty="0" smtClean="0">
                <a:solidFill>
                  <a:srgbClr val="1B587C"/>
                </a:solidFill>
                <a:latin typeface="Calibri" panose="020F0502020204030204" pitchFamily="34" charset="0"/>
                <a:cs typeface="Calibri" panose="020F0502020204030204" pitchFamily="34" charset="0"/>
              </a:rPr>
              <a:t>information</a:t>
            </a:r>
          </a:p>
          <a:p>
            <a:pPr lvl="0"/>
            <a:endParaRPr lang="en-US" dirty="0">
              <a:solidFill>
                <a:srgbClr val="1B587C"/>
              </a:solidFill>
              <a:latin typeface="Calibri" panose="020F0502020204030204" pitchFamily="34" charset="0"/>
              <a:cs typeface="Calibri" panose="020F0502020204030204" pitchFamily="34" charset="0"/>
            </a:endParaRPr>
          </a:p>
          <a:p>
            <a:pPr lvl="0"/>
            <a:r>
              <a:rPr lang="en-US" dirty="0">
                <a:solidFill>
                  <a:srgbClr val="1B587C"/>
                </a:solidFill>
                <a:latin typeface="Calibri" panose="020F0502020204030204" pitchFamily="34" charset="0"/>
                <a:cs typeface="Calibri" panose="020F0502020204030204" pitchFamily="34" charset="0"/>
              </a:rPr>
              <a:t>Better </a:t>
            </a:r>
            <a:r>
              <a:rPr lang="en-US" dirty="0" smtClean="0">
                <a:solidFill>
                  <a:srgbClr val="1B587C"/>
                </a:solidFill>
                <a:latin typeface="Calibri" panose="020F0502020204030204" pitchFamily="34" charset="0"/>
                <a:cs typeface="Calibri" panose="020F0502020204030204" pitchFamily="34" charset="0"/>
              </a:rPr>
              <a:t>decisions</a:t>
            </a:r>
          </a:p>
          <a:p>
            <a:pPr lvl="0"/>
            <a:endParaRPr lang="en-US" dirty="0">
              <a:solidFill>
                <a:srgbClr val="1B587C"/>
              </a:solidFill>
              <a:latin typeface="Calibri" panose="020F0502020204030204" pitchFamily="34" charset="0"/>
              <a:cs typeface="Calibri" panose="020F0502020204030204" pitchFamily="34" charset="0"/>
            </a:endParaRPr>
          </a:p>
          <a:p>
            <a:r>
              <a:rPr lang="en-US" dirty="0">
                <a:solidFill>
                  <a:srgbClr val="1B587C"/>
                </a:solidFill>
                <a:latin typeface="Calibri" panose="020F0502020204030204" pitchFamily="34" charset="0"/>
                <a:cs typeface="Calibri" panose="020F0502020204030204" pitchFamily="34" charset="0"/>
              </a:rPr>
              <a:t>Better outcomes for the State and </a:t>
            </a:r>
            <a:r>
              <a:rPr lang="en-US" dirty="0" smtClean="0">
                <a:solidFill>
                  <a:srgbClr val="1B587C"/>
                </a:solidFill>
                <a:latin typeface="Calibri" panose="020F0502020204030204" pitchFamily="34" charset="0"/>
                <a:cs typeface="Calibri" panose="020F0502020204030204" pitchFamily="34" charset="0"/>
              </a:rPr>
              <a:t>our citizens</a:t>
            </a:r>
          </a:p>
          <a:p>
            <a:endParaRPr lang="en-US" sz="2000" dirty="0">
              <a:solidFill>
                <a:srgbClr val="1B587C"/>
              </a:solidFill>
              <a:latin typeface="Calibri" panose="020F0502020204030204" pitchFamily="34" charset="0"/>
              <a:cs typeface="Calibri" panose="020F0502020204030204" pitchFamily="34" charset="0"/>
            </a:endParaRPr>
          </a:p>
          <a:p>
            <a:r>
              <a:rPr lang="en-US" dirty="0" smtClean="0">
                <a:solidFill>
                  <a:srgbClr val="1B587C"/>
                </a:solidFill>
                <a:latin typeface="Calibri" panose="020F0502020204030204" pitchFamily="34" charset="0"/>
                <a:cs typeface="Calibri" panose="020F0502020204030204" pitchFamily="34" charset="0"/>
              </a:rPr>
              <a:t>Future scalability for the Missouri Medicaid Enterprise</a:t>
            </a:r>
            <a:endParaRPr lang="en-US" dirty="0">
              <a:solidFill>
                <a:srgbClr val="1B587C"/>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756696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BIS-EDW Overview</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676400"/>
            <a:ext cx="8398705" cy="3048000"/>
          </a:xfrm>
        </p:spPr>
        <p:txBody>
          <a:bodyPr>
            <a:normAutofit/>
          </a:bodyPr>
          <a:lstStyle/>
          <a:p>
            <a:pPr lvl="0"/>
            <a:r>
              <a:rPr lang="en-US" dirty="0" smtClean="0">
                <a:solidFill>
                  <a:srgbClr val="1B587C"/>
                </a:solidFill>
                <a:latin typeface="Calibri" panose="020F0502020204030204" pitchFamily="34" charset="0"/>
                <a:cs typeface="Calibri" panose="020F0502020204030204" pitchFamily="34" charset="0"/>
              </a:rPr>
              <a:t>Seven projects</a:t>
            </a:r>
          </a:p>
          <a:p>
            <a:pPr lvl="0"/>
            <a:endParaRPr lang="en-US" dirty="0">
              <a:solidFill>
                <a:srgbClr val="1B587C"/>
              </a:solidFill>
              <a:latin typeface="Calibri" panose="020F0502020204030204" pitchFamily="34" charset="0"/>
              <a:cs typeface="Calibri" panose="020F0502020204030204" pitchFamily="34" charset="0"/>
            </a:endParaRPr>
          </a:p>
          <a:p>
            <a:pPr lvl="0"/>
            <a:r>
              <a:rPr lang="en-US" dirty="0" smtClean="0">
                <a:solidFill>
                  <a:srgbClr val="1B587C"/>
                </a:solidFill>
                <a:latin typeface="Calibri" panose="020F0502020204030204" pitchFamily="34" charset="0"/>
                <a:cs typeface="Calibri" panose="020F0502020204030204" pitchFamily="34" charset="0"/>
              </a:rPr>
              <a:t>Three distinct implementations</a:t>
            </a:r>
          </a:p>
          <a:p>
            <a:pPr lvl="0"/>
            <a:endParaRPr lang="en-US" dirty="0"/>
          </a:p>
          <a:p>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7552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Implementation 1- Feb 2021</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676400"/>
            <a:ext cx="8398705" cy="3810000"/>
          </a:xfrm>
        </p:spPr>
        <p:txBody>
          <a:bodyPr>
            <a:normAutofit lnSpcReduction="10000"/>
          </a:bodyPr>
          <a:lstStyle/>
          <a:p>
            <a:pPr lvl="0"/>
            <a:r>
              <a:rPr lang="en-US" sz="2600" b="1" dirty="0">
                <a:solidFill>
                  <a:srgbClr val="1B587C"/>
                </a:solidFill>
                <a:latin typeface="Calibri" panose="020F0502020204030204" pitchFamily="34" charset="0"/>
                <a:cs typeface="Calibri" panose="020F0502020204030204" pitchFamily="34" charset="0"/>
              </a:rPr>
              <a:t>EDW </a:t>
            </a:r>
            <a:r>
              <a:rPr lang="en-US" sz="2600" dirty="0">
                <a:solidFill>
                  <a:srgbClr val="1B587C"/>
                </a:solidFill>
                <a:latin typeface="Calibri" panose="020F0502020204030204" pitchFamily="34" charset="0"/>
                <a:cs typeface="Calibri" panose="020F0502020204030204" pitchFamily="34" charset="0"/>
              </a:rPr>
              <a:t>- Creates the base data warehouse to bring in all of the data and organize it</a:t>
            </a:r>
          </a:p>
          <a:p>
            <a:r>
              <a:rPr lang="en-US" sz="2600" b="1" dirty="0">
                <a:solidFill>
                  <a:srgbClr val="1B587C"/>
                </a:solidFill>
                <a:latin typeface="Calibri" panose="020F0502020204030204" pitchFamily="34" charset="0"/>
                <a:cs typeface="Calibri" panose="020F0502020204030204" pitchFamily="34" charset="0"/>
              </a:rPr>
              <a:t>DART</a:t>
            </a:r>
            <a:r>
              <a:rPr lang="en-US" sz="2600" dirty="0">
                <a:solidFill>
                  <a:srgbClr val="1B587C"/>
                </a:solidFill>
                <a:latin typeface="Calibri" panose="020F0502020204030204" pitchFamily="34" charset="0"/>
                <a:cs typeface="Calibri" panose="020F0502020204030204" pitchFamily="34" charset="0"/>
              </a:rPr>
              <a:t> - Detailed Analysis and Reporting Technology to create complex reports</a:t>
            </a:r>
          </a:p>
          <a:p>
            <a:pPr lvl="0"/>
            <a:r>
              <a:rPr lang="en-US" sz="2600" b="1" dirty="0">
                <a:solidFill>
                  <a:srgbClr val="1B587C"/>
                </a:solidFill>
                <a:latin typeface="Calibri" panose="020F0502020204030204" pitchFamily="34" charset="0"/>
                <a:cs typeface="Calibri" panose="020F0502020204030204" pitchFamily="34" charset="0"/>
              </a:rPr>
              <a:t>SMART</a:t>
            </a:r>
            <a:r>
              <a:rPr lang="en-US" sz="2600" dirty="0">
                <a:solidFill>
                  <a:srgbClr val="1B587C"/>
                </a:solidFill>
                <a:latin typeface="Calibri" panose="020F0502020204030204" pitchFamily="34" charset="0"/>
                <a:cs typeface="Calibri" panose="020F0502020204030204" pitchFamily="34" charset="0"/>
              </a:rPr>
              <a:t> - Summarized Management and Administrative Reporting Technology creating data marts, cubes and dashboards</a:t>
            </a:r>
          </a:p>
          <a:p>
            <a:pPr lvl="0"/>
            <a:r>
              <a:rPr lang="en-US" sz="2600" dirty="0">
                <a:solidFill>
                  <a:srgbClr val="1B587C"/>
                </a:solidFill>
                <a:latin typeface="Calibri" panose="020F0502020204030204" pitchFamily="34" charset="0"/>
                <a:cs typeface="Calibri" panose="020F0502020204030204" pitchFamily="34" charset="0"/>
              </a:rPr>
              <a:t>Data governance – defining, managing, and distributing data</a:t>
            </a:r>
          </a:p>
          <a:p>
            <a:pPr lvl="0"/>
            <a:endParaRPr lang="en-US" dirty="0" smtClean="0"/>
          </a:p>
          <a:p>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42082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Implementation 1- Status</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676400"/>
            <a:ext cx="8398705" cy="3810000"/>
          </a:xfrm>
        </p:spPr>
        <p:txBody>
          <a:bodyPr>
            <a:normAutofit fontScale="92500" lnSpcReduction="10000"/>
          </a:bodyPr>
          <a:lstStyle/>
          <a:p>
            <a:pPr lvl="0"/>
            <a:r>
              <a:rPr lang="en-US" sz="2600" dirty="0">
                <a:solidFill>
                  <a:srgbClr val="1B587C"/>
                </a:solidFill>
                <a:latin typeface="Calibri" panose="020F0502020204030204" pitchFamily="34" charset="0"/>
                <a:cs typeface="Calibri" panose="020F0502020204030204" pitchFamily="34" charset="0"/>
              </a:rPr>
              <a:t>Data Governance Council (DGC) established, data stewards meet regularly, and business terms and definitions are being documented for DGC review and approval</a:t>
            </a:r>
          </a:p>
          <a:p>
            <a:pPr lvl="0"/>
            <a:r>
              <a:rPr lang="en-US" sz="2600" dirty="0">
                <a:solidFill>
                  <a:srgbClr val="1B587C"/>
                </a:solidFill>
                <a:latin typeface="Calibri" panose="020F0502020204030204" pitchFamily="34" charset="0"/>
                <a:cs typeface="Calibri" panose="020F0502020204030204" pitchFamily="34" charset="0"/>
              </a:rPr>
              <a:t>User Acceptance Testing completing 2/5/2021.  Correction of defects identified in system test and the subsequent reload of data resulted in delays to the start of user acceptance testing.  This should minimize the number of defects for users in their testing. </a:t>
            </a:r>
          </a:p>
          <a:p>
            <a:pPr lvl="0"/>
            <a:r>
              <a:rPr lang="en-US" sz="2600" dirty="0">
                <a:solidFill>
                  <a:srgbClr val="1B587C"/>
                </a:solidFill>
                <a:latin typeface="Calibri" panose="020F0502020204030204" pitchFamily="34" charset="0"/>
                <a:cs typeface="Calibri" panose="020F0502020204030204" pitchFamily="34" charset="0"/>
              </a:rPr>
              <a:t>BIS-EDW Go Live planned February 2021 – system is rolled out to the users within Mo HealthNet</a:t>
            </a:r>
          </a:p>
          <a:p>
            <a:pPr lvl="0"/>
            <a:endParaRPr lang="en-US" dirty="0" smtClean="0"/>
          </a:p>
          <a:p>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692842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Implementation 2- TBD</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676400"/>
            <a:ext cx="8398705" cy="3810000"/>
          </a:xfrm>
        </p:spPr>
        <p:txBody>
          <a:bodyPr>
            <a:normAutofit lnSpcReduction="10000"/>
          </a:bodyPr>
          <a:lstStyle/>
          <a:p>
            <a:pPr lvl="0"/>
            <a:r>
              <a:rPr lang="en-US" b="1" dirty="0">
                <a:solidFill>
                  <a:srgbClr val="1B587C"/>
                </a:solidFill>
                <a:latin typeface="Calibri" panose="020F0502020204030204" pitchFamily="34" charset="0"/>
                <a:cs typeface="Calibri" panose="020F0502020204030204" pitchFamily="34" charset="0"/>
              </a:rPr>
              <a:t>Data</a:t>
            </a:r>
            <a:r>
              <a:rPr lang="en-US" dirty="0">
                <a:solidFill>
                  <a:srgbClr val="1B587C"/>
                </a:solidFill>
                <a:latin typeface="Calibri" panose="020F0502020204030204" pitchFamily="34" charset="0"/>
                <a:cs typeface="Calibri" panose="020F0502020204030204" pitchFamily="34" charset="0"/>
              </a:rPr>
              <a:t> </a:t>
            </a:r>
            <a:r>
              <a:rPr lang="en-US" b="1" dirty="0">
                <a:solidFill>
                  <a:srgbClr val="1B587C"/>
                </a:solidFill>
                <a:latin typeface="Calibri" panose="020F0502020204030204" pitchFamily="34" charset="0"/>
                <a:cs typeface="Calibri" panose="020F0502020204030204" pitchFamily="34" charset="0"/>
              </a:rPr>
              <a:t>extracts</a:t>
            </a:r>
            <a:r>
              <a:rPr lang="en-US" dirty="0">
                <a:solidFill>
                  <a:srgbClr val="1B587C"/>
                </a:solidFill>
                <a:latin typeface="Calibri" panose="020F0502020204030204" pitchFamily="34" charset="0"/>
                <a:cs typeface="Calibri" panose="020F0502020204030204" pitchFamily="34" charset="0"/>
              </a:rPr>
              <a:t> – developing a repeatable process for managing and sending our data to </a:t>
            </a:r>
            <a:r>
              <a:rPr lang="en-US" dirty="0" smtClean="0">
                <a:solidFill>
                  <a:srgbClr val="1B587C"/>
                </a:solidFill>
                <a:latin typeface="Calibri" panose="020F0502020204030204" pitchFamily="34" charset="0"/>
                <a:cs typeface="Calibri" panose="020F0502020204030204" pitchFamily="34" charset="0"/>
              </a:rPr>
              <a:t>authorized subcontractors/vendors/etc.</a:t>
            </a:r>
          </a:p>
          <a:p>
            <a:pPr lvl="0"/>
            <a:endParaRPr lang="en-US" dirty="0" smtClean="0">
              <a:solidFill>
                <a:srgbClr val="1B587C"/>
              </a:solidFill>
              <a:latin typeface="Calibri" panose="020F0502020204030204" pitchFamily="34" charset="0"/>
              <a:cs typeface="Calibri" panose="020F0502020204030204" pitchFamily="34" charset="0"/>
            </a:endParaRPr>
          </a:p>
          <a:p>
            <a:pPr lvl="0"/>
            <a:r>
              <a:rPr lang="en-US" dirty="0">
                <a:solidFill>
                  <a:srgbClr val="1B587C"/>
                </a:solidFill>
                <a:latin typeface="Calibri" panose="020F0502020204030204" pitchFamily="34" charset="0"/>
                <a:cs typeface="Calibri" panose="020F0502020204030204" pitchFamily="34" charset="0"/>
              </a:rPr>
              <a:t>Currently </a:t>
            </a:r>
            <a:r>
              <a:rPr lang="en-US" dirty="0" smtClean="0">
                <a:solidFill>
                  <a:srgbClr val="1B587C"/>
                </a:solidFill>
                <a:latin typeface="Calibri" panose="020F0502020204030204" pitchFamily="34" charset="0"/>
                <a:cs typeface="Calibri" panose="020F0502020204030204" pitchFamily="34" charset="0"/>
              </a:rPr>
              <a:t>in design/development.  </a:t>
            </a:r>
          </a:p>
          <a:p>
            <a:pPr marL="68580" indent="0">
              <a:buNone/>
            </a:pPr>
            <a:endParaRPr lang="en-US" dirty="0" smtClean="0">
              <a:solidFill>
                <a:srgbClr val="1B587C"/>
              </a:solidFill>
              <a:latin typeface="Calibri" panose="020F0502020204030204" pitchFamily="34" charset="0"/>
              <a:cs typeface="Calibri" panose="020F0502020204030204" pitchFamily="34" charset="0"/>
            </a:endParaRPr>
          </a:p>
          <a:p>
            <a:pPr lvl="0"/>
            <a:r>
              <a:rPr lang="en-US" dirty="0">
                <a:solidFill>
                  <a:srgbClr val="1B587C"/>
                </a:solidFill>
                <a:latin typeface="Calibri" panose="020F0502020204030204" pitchFamily="34" charset="0"/>
                <a:cs typeface="Calibri" panose="020F0502020204030204" pitchFamily="34" charset="0"/>
              </a:rPr>
              <a:t>May be delayed based on the delay in </a:t>
            </a:r>
            <a:endParaRPr lang="en-US" dirty="0" smtClean="0">
              <a:solidFill>
                <a:srgbClr val="1B587C"/>
              </a:solidFill>
              <a:latin typeface="Calibri" panose="020F0502020204030204" pitchFamily="34" charset="0"/>
              <a:cs typeface="Calibri" panose="020F0502020204030204" pitchFamily="34" charset="0"/>
            </a:endParaRPr>
          </a:p>
          <a:p>
            <a:pPr marL="68580" indent="0">
              <a:buNone/>
            </a:pPr>
            <a:r>
              <a:rPr lang="en-US" dirty="0" smtClean="0">
                <a:solidFill>
                  <a:srgbClr val="1B587C"/>
                </a:solidFill>
                <a:latin typeface="Calibri" panose="020F0502020204030204" pitchFamily="34" charset="0"/>
                <a:cs typeface="Calibri" panose="020F0502020204030204" pitchFamily="34" charset="0"/>
              </a:rPr>
              <a:t>    Implementation </a:t>
            </a:r>
            <a:r>
              <a:rPr lang="en-US" dirty="0">
                <a:solidFill>
                  <a:srgbClr val="1B587C"/>
                </a:solidFill>
                <a:latin typeface="Calibri" panose="020F0502020204030204" pitchFamily="34" charset="0"/>
                <a:cs typeface="Calibri" panose="020F0502020204030204" pitchFamily="34" charset="0"/>
              </a:rPr>
              <a:t>1. Schedule </a:t>
            </a:r>
            <a:r>
              <a:rPr lang="en-US" dirty="0" smtClean="0">
                <a:solidFill>
                  <a:srgbClr val="1B587C"/>
                </a:solidFill>
                <a:latin typeface="Calibri" panose="020F0502020204030204" pitchFamily="34" charset="0"/>
                <a:cs typeface="Calibri" panose="020F0502020204030204" pitchFamily="34" charset="0"/>
              </a:rPr>
              <a:t>is being updated now.</a:t>
            </a:r>
          </a:p>
          <a:p>
            <a:pPr lvl="0"/>
            <a:endParaRPr lang="en-US" dirty="0" smtClean="0"/>
          </a:p>
          <a:p>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710467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137410" y="304801"/>
            <a:ext cx="7886700" cy="880301"/>
          </a:xfrm>
        </p:spPr>
        <p:txBody>
          <a:bodyPr>
            <a:normAutofit/>
          </a:bodyPr>
          <a:lstStyle/>
          <a:p>
            <a:r>
              <a:rPr lang="en-US" b="1" dirty="0" smtClean="0">
                <a:solidFill>
                  <a:srgbClr val="1B587C"/>
                </a:solidFill>
                <a:latin typeface="+mj-lt"/>
              </a:rPr>
              <a:t>Implementation 3 – October 2021</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371600"/>
            <a:ext cx="8398705" cy="4114800"/>
          </a:xfrm>
        </p:spPr>
        <p:txBody>
          <a:bodyPr>
            <a:normAutofit fontScale="85000" lnSpcReduction="10000"/>
          </a:bodyPr>
          <a:lstStyle/>
          <a:p>
            <a:pPr lvl="0"/>
            <a:r>
              <a:rPr lang="en-US" sz="3300" b="1" dirty="0">
                <a:solidFill>
                  <a:srgbClr val="1B587C"/>
                </a:solidFill>
                <a:latin typeface="Calibri" panose="020F0502020204030204" pitchFamily="34" charset="0"/>
                <a:cs typeface="Calibri" panose="020F0502020204030204" pitchFamily="34" charset="0"/>
              </a:rPr>
              <a:t>Federal Financial Reporting</a:t>
            </a:r>
            <a:r>
              <a:rPr lang="en-US" sz="3300" dirty="0">
                <a:solidFill>
                  <a:srgbClr val="1B587C"/>
                </a:solidFill>
                <a:latin typeface="Calibri" panose="020F0502020204030204" pitchFamily="34" charset="0"/>
                <a:cs typeface="Calibri" panose="020F0502020204030204" pitchFamily="34" charset="0"/>
              </a:rPr>
              <a:t> – CMS required reports</a:t>
            </a:r>
          </a:p>
          <a:p>
            <a:pPr lvl="1"/>
            <a:r>
              <a:rPr lang="en-US" sz="2800" dirty="0">
                <a:solidFill>
                  <a:srgbClr val="1B587C"/>
                </a:solidFill>
                <a:latin typeface="Calibri" panose="020F0502020204030204" pitchFamily="34" charset="0"/>
                <a:cs typeface="Calibri" panose="020F0502020204030204" pitchFamily="34" charset="0"/>
              </a:rPr>
              <a:t>Design sessions have started</a:t>
            </a:r>
          </a:p>
          <a:p>
            <a:pPr lvl="0"/>
            <a:endParaRPr lang="en-US" sz="3000" dirty="0">
              <a:solidFill>
                <a:srgbClr val="1B587C"/>
              </a:solidFill>
              <a:latin typeface="Calibri" panose="020F0502020204030204" pitchFamily="34" charset="0"/>
              <a:cs typeface="Calibri" panose="020F0502020204030204" pitchFamily="34" charset="0"/>
            </a:endParaRPr>
          </a:p>
          <a:p>
            <a:pPr lvl="0"/>
            <a:r>
              <a:rPr lang="en-US" sz="3300" b="1" dirty="0">
                <a:solidFill>
                  <a:srgbClr val="1B587C"/>
                </a:solidFill>
                <a:latin typeface="Calibri" panose="020F0502020204030204" pitchFamily="34" charset="0"/>
                <a:cs typeface="Calibri" panose="020F0502020204030204" pitchFamily="34" charset="0"/>
              </a:rPr>
              <a:t>T-MSIS</a:t>
            </a:r>
            <a:r>
              <a:rPr lang="en-US" sz="3300" dirty="0">
                <a:solidFill>
                  <a:srgbClr val="1B587C"/>
                </a:solidFill>
                <a:latin typeface="Calibri" panose="020F0502020204030204" pitchFamily="34" charset="0"/>
                <a:cs typeface="Calibri" panose="020F0502020204030204" pitchFamily="34" charset="0"/>
              </a:rPr>
              <a:t> – specialized data extracts for the national Medicaid data repository</a:t>
            </a:r>
          </a:p>
          <a:p>
            <a:pPr lvl="1"/>
            <a:r>
              <a:rPr lang="en-US" sz="2800" dirty="0">
                <a:solidFill>
                  <a:srgbClr val="1B587C"/>
                </a:solidFill>
                <a:latin typeface="Calibri" panose="020F0502020204030204" pitchFamily="34" charset="0"/>
                <a:cs typeface="Calibri" panose="020F0502020204030204" pitchFamily="34" charset="0"/>
              </a:rPr>
              <a:t>Design/development sessions have started</a:t>
            </a:r>
          </a:p>
          <a:p>
            <a:pPr lvl="0"/>
            <a:endParaRPr lang="en-US" sz="3000" dirty="0">
              <a:solidFill>
                <a:srgbClr val="1B587C"/>
              </a:solidFill>
              <a:latin typeface="Calibri" panose="020F0502020204030204" pitchFamily="34" charset="0"/>
              <a:cs typeface="Calibri" panose="020F0502020204030204" pitchFamily="34" charset="0"/>
            </a:endParaRPr>
          </a:p>
          <a:p>
            <a:pPr lvl="0"/>
            <a:r>
              <a:rPr lang="en-US" sz="3300" b="1" dirty="0">
                <a:solidFill>
                  <a:srgbClr val="1B587C"/>
                </a:solidFill>
                <a:latin typeface="Calibri" panose="020F0502020204030204" pitchFamily="34" charset="0"/>
                <a:cs typeface="Calibri" panose="020F0502020204030204" pitchFamily="34" charset="0"/>
              </a:rPr>
              <a:t>Historical Claims Project</a:t>
            </a:r>
            <a:r>
              <a:rPr lang="en-US" sz="3300" dirty="0">
                <a:solidFill>
                  <a:srgbClr val="1B587C"/>
                </a:solidFill>
                <a:latin typeface="Calibri" panose="020F0502020204030204" pitchFamily="34" charset="0"/>
                <a:cs typeface="Calibri" panose="020F0502020204030204" pitchFamily="34" charset="0"/>
              </a:rPr>
              <a:t> – claims older than July 2011</a:t>
            </a:r>
          </a:p>
          <a:p>
            <a:pPr lvl="1"/>
            <a:r>
              <a:rPr lang="en-US" sz="2800" dirty="0">
                <a:solidFill>
                  <a:srgbClr val="1B587C"/>
                </a:solidFill>
                <a:latin typeface="Calibri" panose="020F0502020204030204" pitchFamily="34" charset="0"/>
                <a:cs typeface="Calibri" panose="020F0502020204030204" pitchFamily="34" charset="0"/>
              </a:rPr>
              <a:t>Requirement sessions have started</a:t>
            </a:r>
          </a:p>
          <a:p>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269182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2209800" y="1905000"/>
            <a:ext cx="7772400" cy="2895600"/>
          </a:xfrm>
        </p:spPr>
        <p:txBody>
          <a:bodyPr>
            <a:noAutofit/>
          </a:bodyPr>
          <a:lstStyle/>
          <a:p>
            <a:pPr algn="ctr"/>
            <a:r>
              <a:rPr lang="en-US" sz="4000" b="1" dirty="0">
                <a:latin typeface="Century Gothic" panose="020B0502020202020204" pitchFamily="34" charset="0"/>
              </a:rPr>
              <a:t>Pharmacy POS, </a:t>
            </a:r>
            <a:r>
              <a:rPr lang="en-US" sz="4000" b="1" dirty="0" err="1">
                <a:latin typeface="Century Gothic" panose="020B0502020202020204" pitchFamily="34" charset="0"/>
              </a:rPr>
              <a:t>CyberAccess</a:t>
            </a:r>
            <a:r>
              <a:rPr lang="en-US" sz="4000" b="1" dirty="0">
                <a:latin typeface="Century Gothic" panose="020B0502020202020204" pitchFamily="34" charset="0"/>
              </a:rPr>
              <a:t> and </a:t>
            </a:r>
            <a:r>
              <a:rPr lang="en-US" sz="4000" b="1" dirty="0" err="1">
                <a:latin typeface="Century Gothic" panose="020B0502020202020204" pitchFamily="34" charset="0"/>
              </a:rPr>
              <a:t>SmartPA</a:t>
            </a:r>
            <a:r>
              <a:rPr lang="en-US" sz="4000" b="1" dirty="0">
                <a:latin typeface="Century Gothic" panose="020B0502020202020204" pitchFamily="34" charset="0"/>
              </a:rPr>
              <a:t> Migration to Cloud</a:t>
            </a:r>
            <a:endParaRPr lang="en-US" sz="4000" b="1" cap="small"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27</a:t>
            </a:fld>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8600" y="446502"/>
            <a:ext cx="2362200" cy="802861"/>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411866"/>
            <a:ext cx="2743200" cy="616417"/>
          </a:xfrm>
          <a:prstGeom prst="rect">
            <a:avLst/>
          </a:prstGeom>
        </p:spPr>
      </p:pic>
    </p:spTree>
    <p:extLst>
      <p:ext uri="{BB962C8B-B14F-4D97-AF65-F5344CB8AC3E}">
        <p14:creationId xmlns:p14="http://schemas.microsoft.com/office/powerpoint/2010/main" val="20669337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Tools </a:t>
            </a:r>
            <a:endParaRPr lang="en-US" b="1" dirty="0"/>
          </a:p>
        </p:txBody>
      </p:sp>
      <p:sp>
        <p:nvSpPr>
          <p:cNvPr id="3" name="Content Placeholder 2"/>
          <p:cNvSpPr>
            <a:spLocks noGrp="1"/>
          </p:cNvSpPr>
          <p:nvPr>
            <p:ph idx="1"/>
          </p:nvPr>
        </p:nvSpPr>
        <p:spPr/>
        <p:txBody>
          <a:bodyPr/>
          <a:lstStyle/>
          <a:p>
            <a:r>
              <a:rPr lang="en-US" dirty="0" smtClean="0"/>
              <a:t>Pharmacy Point-of-Sale System – applies clinical and pharmacy edits to claims submitted by pharmacies</a:t>
            </a:r>
          </a:p>
          <a:p>
            <a:r>
              <a:rPr lang="en-US" dirty="0" err="1" smtClean="0"/>
              <a:t>CyberAccess</a:t>
            </a:r>
            <a:r>
              <a:rPr lang="en-US" dirty="0" smtClean="0"/>
              <a:t> - Portal used by providers to access participant claim information</a:t>
            </a:r>
          </a:p>
          <a:p>
            <a:r>
              <a:rPr lang="en-US" dirty="0" err="1" smtClean="0"/>
              <a:t>SmartPA</a:t>
            </a:r>
            <a:r>
              <a:rPr lang="en-US" dirty="0" smtClean="0"/>
              <a:t> – system used to capture and process service authorization requests</a:t>
            </a:r>
            <a:endParaRPr lang="en-US" dirty="0"/>
          </a:p>
        </p:txBody>
      </p:sp>
      <p:sp>
        <p:nvSpPr>
          <p:cNvPr id="4" name="Slide Number Placeholder 3"/>
          <p:cNvSpPr>
            <a:spLocks noGrp="1"/>
          </p:cNvSpPr>
          <p:nvPr>
            <p:ph type="sldNum" sz="quarter" idx="12"/>
          </p:nvPr>
        </p:nvSpPr>
        <p:spPr/>
        <p:txBody>
          <a:bodyPr/>
          <a:lstStyle/>
          <a:p>
            <a:fld id="{A001C670-DC88-4376-AA6B-FD9548DDC9F2}" type="slidenum">
              <a:rPr lang="en-US" smtClean="0"/>
              <a:pPr/>
              <a:t>28</a:t>
            </a:fld>
            <a:endParaRPr lang="en-US" dirty="0"/>
          </a:p>
        </p:txBody>
      </p:sp>
    </p:spTree>
    <p:extLst>
      <p:ext uri="{BB962C8B-B14F-4D97-AF65-F5344CB8AC3E}">
        <p14:creationId xmlns:p14="http://schemas.microsoft.com/office/powerpoint/2010/main" val="35043778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Issues</a:t>
            </a:r>
            <a:endParaRPr lang="en-US" b="1" dirty="0"/>
          </a:p>
        </p:txBody>
      </p:sp>
      <p:sp>
        <p:nvSpPr>
          <p:cNvPr id="3" name="Content Placeholder 2"/>
          <p:cNvSpPr>
            <a:spLocks noGrp="1"/>
          </p:cNvSpPr>
          <p:nvPr>
            <p:ph idx="1"/>
          </p:nvPr>
        </p:nvSpPr>
        <p:spPr/>
        <p:txBody>
          <a:bodyPr/>
          <a:lstStyle/>
          <a:p>
            <a:r>
              <a:rPr lang="en-US" dirty="0" smtClean="0"/>
              <a:t>Software and hardware platform used for the tools was outdated and in need of upgrade</a:t>
            </a:r>
          </a:p>
          <a:p>
            <a:endParaRPr lang="en-US" dirty="0"/>
          </a:p>
          <a:p>
            <a:r>
              <a:rPr lang="en-US" dirty="0" smtClean="0"/>
              <a:t>MO </a:t>
            </a:r>
            <a:r>
              <a:rPr lang="en-US" dirty="0" err="1" smtClean="0"/>
              <a:t>HealthNet</a:t>
            </a:r>
            <a:r>
              <a:rPr lang="en-US" dirty="0" smtClean="0"/>
              <a:t> was experiencing increases in system outages and performance issues</a:t>
            </a:r>
            <a:endParaRPr lang="en-US" dirty="0"/>
          </a:p>
        </p:txBody>
      </p:sp>
      <p:sp>
        <p:nvSpPr>
          <p:cNvPr id="4" name="Slide Number Placeholder 3"/>
          <p:cNvSpPr>
            <a:spLocks noGrp="1"/>
          </p:cNvSpPr>
          <p:nvPr>
            <p:ph type="sldNum" sz="quarter" idx="12"/>
          </p:nvPr>
        </p:nvSpPr>
        <p:spPr/>
        <p:txBody>
          <a:bodyPr/>
          <a:lstStyle/>
          <a:p>
            <a:fld id="{A001C670-DC88-4376-AA6B-FD9548DDC9F2}" type="slidenum">
              <a:rPr lang="en-US" smtClean="0"/>
              <a:pPr/>
              <a:t>29</a:t>
            </a:fld>
            <a:endParaRPr lang="en-US" dirty="0"/>
          </a:p>
        </p:txBody>
      </p:sp>
    </p:spTree>
    <p:extLst>
      <p:ext uri="{BB962C8B-B14F-4D97-AF65-F5344CB8AC3E}">
        <p14:creationId xmlns:p14="http://schemas.microsoft.com/office/powerpoint/2010/main" val="2686160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Director’s UPDATE</a:t>
            </a:r>
            <a:endParaRPr lang="en-US" dirty="0"/>
          </a:p>
        </p:txBody>
      </p:sp>
    </p:spTree>
    <p:extLst>
      <p:ext uri="{BB962C8B-B14F-4D97-AF65-F5344CB8AC3E}">
        <p14:creationId xmlns:p14="http://schemas.microsoft.com/office/powerpoint/2010/main" val="1019875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Migration to Cloud</a:t>
            </a:r>
            <a:endParaRPr lang="en-US" b="1" dirty="0"/>
          </a:p>
        </p:txBody>
      </p:sp>
      <p:sp>
        <p:nvSpPr>
          <p:cNvPr id="3" name="Content Placeholder 2"/>
          <p:cNvSpPr>
            <a:spLocks noGrp="1"/>
          </p:cNvSpPr>
          <p:nvPr>
            <p:ph idx="1"/>
          </p:nvPr>
        </p:nvSpPr>
        <p:spPr/>
        <p:txBody>
          <a:bodyPr/>
          <a:lstStyle/>
          <a:p>
            <a:r>
              <a:rPr lang="en-US" dirty="0" smtClean="0"/>
              <a:t>Vendor proposed to upgrade the platform software, rebuild the application software, and migrate the system from the vendor’s data center into the Microsoft Azure cloud</a:t>
            </a:r>
            <a:br>
              <a:rPr lang="en-US" dirty="0" smtClean="0"/>
            </a:br>
            <a:endParaRPr lang="en-US" dirty="0" smtClean="0"/>
          </a:p>
          <a:p>
            <a:r>
              <a:rPr lang="en-US" dirty="0" smtClean="0"/>
              <a:t>Migration and cutover to the new system was completed in December</a:t>
            </a:r>
            <a:endParaRPr lang="en-US" dirty="0"/>
          </a:p>
        </p:txBody>
      </p:sp>
      <p:sp>
        <p:nvSpPr>
          <p:cNvPr id="4" name="Slide Number Placeholder 3"/>
          <p:cNvSpPr>
            <a:spLocks noGrp="1"/>
          </p:cNvSpPr>
          <p:nvPr>
            <p:ph type="sldNum" sz="quarter" idx="12"/>
          </p:nvPr>
        </p:nvSpPr>
        <p:spPr/>
        <p:txBody>
          <a:bodyPr/>
          <a:lstStyle/>
          <a:p>
            <a:fld id="{A001C670-DC88-4376-AA6B-FD9548DDC9F2}" type="slidenum">
              <a:rPr lang="en-US" smtClean="0"/>
              <a:pPr/>
              <a:t>30</a:t>
            </a:fld>
            <a:endParaRPr lang="en-US" dirty="0"/>
          </a:p>
        </p:txBody>
      </p:sp>
    </p:spTree>
    <p:extLst>
      <p:ext uri="{BB962C8B-B14F-4D97-AF65-F5344CB8AC3E}">
        <p14:creationId xmlns:p14="http://schemas.microsoft.com/office/powerpoint/2010/main" val="2138767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Benefits</a:t>
            </a:r>
            <a:endParaRPr lang="en-US" b="1" dirty="0"/>
          </a:p>
        </p:txBody>
      </p:sp>
      <p:sp>
        <p:nvSpPr>
          <p:cNvPr id="3" name="Content Placeholder 2"/>
          <p:cNvSpPr>
            <a:spLocks noGrp="1"/>
          </p:cNvSpPr>
          <p:nvPr>
            <p:ph idx="1"/>
          </p:nvPr>
        </p:nvSpPr>
        <p:spPr/>
        <p:txBody>
          <a:bodyPr>
            <a:normAutofit lnSpcReduction="10000"/>
          </a:bodyPr>
          <a:lstStyle/>
          <a:p>
            <a:r>
              <a:rPr lang="en-US" dirty="0" smtClean="0"/>
              <a:t>Upgraded platform software that is supported by the manufacturer</a:t>
            </a:r>
          </a:p>
          <a:p>
            <a:r>
              <a:rPr lang="en-US" dirty="0" smtClean="0"/>
              <a:t>Improved system security</a:t>
            </a:r>
          </a:p>
          <a:p>
            <a:r>
              <a:rPr lang="en-US" dirty="0" smtClean="0"/>
              <a:t>Improved system performance</a:t>
            </a:r>
          </a:p>
          <a:p>
            <a:r>
              <a:rPr lang="en-US" dirty="0" smtClean="0"/>
              <a:t>Improved scalability of the system – ability to add capacity as needed</a:t>
            </a:r>
          </a:p>
          <a:p>
            <a:r>
              <a:rPr lang="en-US" dirty="0" smtClean="0"/>
              <a:t>Improved disaster recovery capabilities – quick failover to secondary site</a:t>
            </a:r>
          </a:p>
          <a:p>
            <a:endParaRPr lang="en-US" dirty="0"/>
          </a:p>
        </p:txBody>
      </p:sp>
      <p:sp>
        <p:nvSpPr>
          <p:cNvPr id="4" name="Slide Number Placeholder 3"/>
          <p:cNvSpPr>
            <a:spLocks noGrp="1"/>
          </p:cNvSpPr>
          <p:nvPr>
            <p:ph type="sldNum" sz="quarter" idx="12"/>
          </p:nvPr>
        </p:nvSpPr>
        <p:spPr/>
        <p:txBody>
          <a:bodyPr/>
          <a:lstStyle/>
          <a:p>
            <a:fld id="{A001C670-DC88-4376-AA6B-FD9548DDC9F2}" type="slidenum">
              <a:rPr lang="en-US" smtClean="0"/>
              <a:pPr/>
              <a:t>31</a:t>
            </a:fld>
            <a:endParaRPr lang="en-US" dirty="0"/>
          </a:p>
        </p:txBody>
      </p:sp>
    </p:spTree>
    <p:extLst>
      <p:ext uri="{BB962C8B-B14F-4D97-AF65-F5344CB8AC3E}">
        <p14:creationId xmlns:p14="http://schemas.microsoft.com/office/powerpoint/2010/main" val="5490520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smtClean="0"/>
          </a:p>
          <a:p>
            <a:endParaRPr lang="en-US" dirty="0"/>
          </a:p>
          <a:p>
            <a:pPr marL="68580" indent="0">
              <a:buNone/>
            </a:pPr>
            <a:r>
              <a:rPr lang="en-US" sz="3600" dirty="0"/>
              <a:t>			</a:t>
            </a:r>
            <a:r>
              <a:rPr lang="en-US" sz="3600" dirty="0" smtClean="0"/>
              <a:t>         </a:t>
            </a:r>
            <a:r>
              <a:rPr lang="en-US" sz="3600" dirty="0" smtClean="0">
                <a:latin typeface="Calibri" panose="020F0502020204030204" pitchFamily="34" charset="0"/>
                <a:cs typeface="Calibri" panose="020F0502020204030204" pitchFamily="34" charset="0"/>
              </a:rPr>
              <a:t>Questions?</a:t>
            </a:r>
            <a:endParaRPr lang="en-US" sz="36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32</a:t>
            </a:fld>
            <a:endParaRPr lang="en-US" dirty="0"/>
          </a:p>
        </p:txBody>
      </p:sp>
    </p:spTree>
    <p:extLst>
      <p:ext uri="{BB962C8B-B14F-4D97-AF65-F5344CB8AC3E}">
        <p14:creationId xmlns:p14="http://schemas.microsoft.com/office/powerpoint/2010/main" val="4435456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Managed CARE update</a:t>
            </a:r>
            <a:endParaRPr lang="en-US" dirty="0"/>
          </a:p>
        </p:txBody>
      </p:sp>
    </p:spTree>
    <p:extLst>
      <p:ext uri="{BB962C8B-B14F-4D97-AF65-F5344CB8AC3E}">
        <p14:creationId xmlns:p14="http://schemas.microsoft.com/office/powerpoint/2010/main" val="13104268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37410" y="304801"/>
            <a:ext cx="7886700" cy="880301"/>
          </a:xfrm>
        </p:spPr>
        <p:txBody>
          <a:bodyPr>
            <a:normAutofit fontScale="90000"/>
          </a:bodyPr>
          <a:lstStyle/>
          <a:p>
            <a:pPr algn="ctr"/>
            <a:r>
              <a:rPr lang="en-US" b="1" dirty="0" smtClean="0">
                <a:solidFill>
                  <a:srgbClr val="1B587C"/>
                </a:solidFill>
                <a:latin typeface="+mj-lt"/>
              </a:rPr>
              <a:t>Managed Care Program Updates SFY22</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981201" y="1351860"/>
            <a:ext cx="8398705" cy="3829740"/>
          </a:xfrm>
        </p:spPr>
        <p:txBody>
          <a:bodyPr>
            <a:normAutofit/>
          </a:bodyPr>
          <a:lstStyle/>
          <a:p>
            <a:pPr marL="0" indent="0">
              <a:buNone/>
            </a:pPr>
            <a:endParaRPr lang="en-US" sz="2000" dirty="0">
              <a:latin typeface="Calibri" panose="020F0502020204030204" pitchFamily="34" charset="0"/>
              <a:cs typeface="Calibri" panose="020F0502020204030204" pitchFamily="34" charset="0"/>
            </a:endParaRPr>
          </a:p>
          <a:p>
            <a:pPr indent="-342900">
              <a:buClrTx/>
              <a:buSzPct val="90000"/>
              <a:buFont typeface="Arial" panose="020B0604020202020204" pitchFamily="34" charset="0"/>
              <a:buChar char="•"/>
            </a:pPr>
            <a:r>
              <a:rPr lang="en-US" sz="2400" dirty="0">
                <a:latin typeface="Calibri" panose="020F0502020204030204" pitchFamily="34" charset="0"/>
                <a:cs typeface="Calibri" panose="020F0502020204030204" pitchFamily="34" charset="0"/>
              </a:rPr>
              <a:t>Addition of Adult Expansion Population (AEG) to Managed Care</a:t>
            </a:r>
          </a:p>
          <a:p>
            <a:pPr indent="-342900">
              <a:buClrTx/>
              <a:buSzPct val="90000"/>
              <a:buFont typeface="Arial" panose="020B0604020202020204" pitchFamily="34" charset="0"/>
              <a:buChar char="•"/>
            </a:pPr>
            <a:r>
              <a:rPr lang="en-US" sz="2400" dirty="0">
                <a:latin typeface="Calibri" panose="020F0502020204030204" pitchFamily="34" charset="0"/>
                <a:cs typeface="Calibri" panose="020F0502020204030204" pitchFamily="34" charset="0"/>
              </a:rPr>
              <a:t>Former Foster Care Youth from Other States</a:t>
            </a:r>
          </a:p>
          <a:p>
            <a:pPr indent="-342900">
              <a:buClrTx/>
              <a:buSzPct val="90000"/>
              <a:buFont typeface="Arial" panose="020B0604020202020204" pitchFamily="34" charset="0"/>
              <a:buChar char="•"/>
            </a:pPr>
            <a:r>
              <a:rPr lang="en-US" sz="2400" dirty="0">
                <a:latin typeface="Calibri" panose="020F0502020204030204" pitchFamily="34" charset="0"/>
                <a:cs typeface="Calibri" panose="020F0502020204030204" pitchFamily="34" charset="0"/>
              </a:rPr>
              <a:t>CAR-T Therapies</a:t>
            </a:r>
          </a:p>
          <a:p>
            <a:pPr indent="-342900">
              <a:buClrTx/>
              <a:buSzPct val="90000"/>
              <a:buFont typeface="Arial" panose="020B0604020202020204" pitchFamily="34" charset="0"/>
              <a:buChar char="•"/>
            </a:pPr>
            <a:r>
              <a:rPr lang="en-US" sz="2400" dirty="0">
                <a:latin typeface="Calibri" panose="020F0502020204030204" pitchFamily="34" charset="0"/>
                <a:cs typeface="Calibri" panose="020F0502020204030204" pitchFamily="34" charset="0"/>
              </a:rPr>
              <a:t>Psychosocial Treatment of Obesity</a:t>
            </a:r>
          </a:p>
          <a:p>
            <a:pPr indent="-342900">
              <a:buClrTx/>
              <a:buSzPct val="90000"/>
              <a:buFont typeface="Arial" panose="020B0604020202020204" pitchFamily="34" charset="0"/>
              <a:buChar char="•"/>
            </a:pPr>
            <a:r>
              <a:rPr lang="en-US" sz="2400" dirty="0">
                <a:latin typeface="Calibri" panose="020F0502020204030204" pitchFamily="34" charset="0"/>
                <a:cs typeface="Calibri" panose="020F0502020204030204" pitchFamily="34" charset="0"/>
              </a:rPr>
              <a:t>Interoperability Rule</a:t>
            </a:r>
          </a:p>
          <a:p>
            <a:pPr marL="0" indent="0">
              <a:buClrTx/>
              <a:buSzPct val="90000"/>
              <a:buNone/>
            </a:pPr>
            <a:endParaRPr lang="en-US" sz="2000" dirty="0">
              <a:latin typeface="Calibri" panose="020F0502020204030204" pitchFamily="34" charset="0"/>
              <a:cs typeface="Calibri" panose="020F0502020204030204" pitchFamily="34" charset="0"/>
            </a:endParaRPr>
          </a:p>
          <a:p>
            <a:pPr marL="400050" lvl="1" indent="0">
              <a:buClrTx/>
              <a:buSzPct val="90000"/>
              <a:buNone/>
            </a:pPr>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83040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35</a:t>
            </a:fld>
            <a:endParaRPr lang="en-US" dirty="0">
              <a:latin typeface="Palatino Linotype"/>
            </a:endParaRPr>
          </a:p>
        </p:txBody>
      </p:sp>
      <p:sp>
        <p:nvSpPr>
          <p:cNvPr id="6" name="Title 3"/>
          <p:cNvSpPr txBox="1">
            <a:spLocks/>
          </p:cNvSpPr>
          <p:nvPr/>
        </p:nvSpPr>
        <p:spPr>
          <a:xfrm>
            <a:off x="1906464" y="228600"/>
            <a:ext cx="7886700" cy="609600"/>
          </a:xfrm>
          <a:prstGeom prst="rect">
            <a:avLst/>
          </a:prstGeom>
        </p:spPr>
        <p:txBody>
          <a:bodyPr vert="horz" lIns="0" tIns="45720" rIns="0" bIns="45720" rtlCol="0" anchor="ctr">
            <a:normAutofit lnSpcReduction="1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solidFill>
                  <a:srgbClr val="1B587C"/>
                </a:solidFill>
                <a:latin typeface="+mj-lt"/>
              </a:rPr>
              <a:t>Managed Care RFP SFY23</a:t>
            </a:r>
          </a:p>
        </p:txBody>
      </p:sp>
      <p:graphicFrame>
        <p:nvGraphicFramePr>
          <p:cNvPr id="3" name="Table 2"/>
          <p:cNvGraphicFramePr>
            <a:graphicFrameLocks noGrp="1"/>
          </p:cNvGraphicFramePr>
          <p:nvPr>
            <p:extLst>
              <p:ext uri="{D42A27DB-BD31-4B8C-83A1-F6EECF244321}">
                <p14:modId xmlns:p14="http://schemas.microsoft.com/office/powerpoint/2010/main" val="3921567415"/>
              </p:ext>
            </p:extLst>
          </p:nvPr>
        </p:nvGraphicFramePr>
        <p:xfrm>
          <a:off x="1143000" y="914397"/>
          <a:ext cx="9067801" cy="4572003"/>
        </p:xfrm>
        <a:graphic>
          <a:graphicData uri="http://schemas.openxmlformats.org/drawingml/2006/table">
            <a:tbl>
              <a:tblPr firstRow="1" bandRow="1">
                <a:tableStyleId>{5C22544A-7EE6-4342-B048-85BDC9FD1C3A}</a:tableStyleId>
              </a:tblPr>
              <a:tblGrid>
                <a:gridCol w="5308145">
                  <a:extLst>
                    <a:ext uri="{9D8B030D-6E8A-4147-A177-3AD203B41FA5}">
                      <a16:colId xmlns:a16="http://schemas.microsoft.com/office/drawing/2014/main" val="2254087457"/>
                    </a:ext>
                  </a:extLst>
                </a:gridCol>
                <a:gridCol w="3759656">
                  <a:extLst>
                    <a:ext uri="{9D8B030D-6E8A-4147-A177-3AD203B41FA5}">
                      <a16:colId xmlns:a16="http://schemas.microsoft.com/office/drawing/2014/main" val="1525212573"/>
                    </a:ext>
                  </a:extLst>
                </a:gridCol>
              </a:tblGrid>
              <a:tr h="715347">
                <a:tc gridSpan="2">
                  <a:txBody>
                    <a:bodyPr/>
                    <a:lstStyle/>
                    <a:p>
                      <a:pPr algn="ctr"/>
                      <a:r>
                        <a:rPr lang="en-US" sz="2000" dirty="0" smtClean="0">
                          <a:latin typeface="Calibri" panose="020F0502020204030204" pitchFamily="34" charset="0"/>
                          <a:cs typeface="Calibri" panose="020F0502020204030204" pitchFamily="34" charset="0"/>
                        </a:rPr>
                        <a:t>Managed Care RFP Development</a:t>
                      </a:r>
                      <a:r>
                        <a:rPr lang="en-US" sz="2000" baseline="0" dirty="0" smtClean="0">
                          <a:latin typeface="Calibri" panose="020F0502020204030204" pitchFamily="34" charset="0"/>
                          <a:cs typeface="Calibri" panose="020F0502020204030204" pitchFamily="34" charset="0"/>
                        </a:rPr>
                        <a:t> </a:t>
                      </a:r>
                    </a:p>
                    <a:p>
                      <a:pPr algn="ctr"/>
                      <a:r>
                        <a:rPr lang="en-US" sz="2000" dirty="0" smtClean="0">
                          <a:latin typeface="Calibri" panose="020F0502020204030204" pitchFamily="34" charset="0"/>
                          <a:cs typeface="Calibri" panose="020F0502020204030204" pitchFamily="34" charset="0"/>
                        </a:rPr>
                        <a:t>Timeline for SFY23</a:t>
                      </a:r>
                      <a:endParaRPr lang="en-US" sz="2000" dirty="0">
                        <a:latin typeface="Calibri" panose="020F0502020204030204" pitchFamily="34" charset="0"/>
                        <a:cs typeface="Calibri" panose="020F0502020204030204" pitchFamily="34" charset="0"/>
                      </a:endParaRPr>
                    </a:p>
                  </a:txBody>
                  <a:tcPr/>
                </a:tc>
                <a:tc hMerge="1">
                  <a:txBody>
                    <a:bodyPr/>
                    <a:lstStyle/>
                    <a:p>
                      <a:endParaRPr lang="en-US" dirty="0"/>
                    </a:p>
                  </a:txBody>
                  <a:tcPr/>
                </a:tc>
                <a:extLst>
                  <a:ext uri="{0D108BD9-81ED-4DB2-BD59-A6C34878D82A}">
                    <a16:rowId xmlns:a16="http://schemas.microsoft.com/office/drawing/2014/main" val="2213566347"/>
                  </a:ext>
                </a:extLst>
              </a:tr>
              <a:tr h="404327">
                <a:tc>
                  <a:txBody>
                    <a:bodyPr/>
                    <a:lstStyle/>
                    <a:p>
                      <a:pPr algn="ctr"/>
                      <a:r>
                        <a:rPr lang="en-US" sz="2000" b="1" dirty="0" smtClean="0">
                          <a:latin typeface="Calibri" panose="020F0502020204030204" pitchFamily="34" charset="0"/>
                          <a:cs typeface="Calibri" panose="020F0502020204030204" pitchFamily="34" charset="0"/>
                        </a:rPr>
                        <a:t>Task</a:t>
                      </a:r>
                      <a:endParaRPr lang="en-US" sz="2000" b="1" dirty="0">
                        <a:latin typeface="Calibri" panose="020F0502020204030204" pitchFamily="34" charset="0"/>
                        <a:cs typeface="Calibri" panose="020F0502020204030204" pitchFamily="34" charset="0"/>
                      </a:endParaRPr>
                    </a:p>
                  </a:txBody>
                  <a:tcPr/>
                </a:tc>
                <a:tc>
                  <a:txBody>
                    <a:bodyPr/>
                    <a:lstStyle/>
                    <a:p>
                      <a:pPr algn="ctr"/>
                      <a:r>
                        <a:rPr lang="en-US" sz="2000" b="1" dirty="0" smtClean="0">
                          <a:latin typeface="Calibri" panose="020F0502020204030204" pitchFamily="34" charset="0"/>
                          <a:cs typeface="Calibri" panose="020F0502020204030204" pitchFamily="34" charset="0"/>
                        </a:rPr>
                        <a:t>Target Date</a:t>
                      </a:r>
                      <a:endParaRPr lang="en-US" sz="2000" b="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508809717"/>
                  </a:ext>
                </a:extLst>
              </a:tr>
              <a:tr h="715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dirty="0" smtClean="0">
                          <a:latin typeface="Calibri" panose="020F0502020204030204" pitchFamily="34" charset="0"/>
                          <a:cs typeface="Calibri" panose="020F0502020204030204" pitchFamily="34" charset="0"/>
                        </a:rPr>
                        <a:t>Development, Stakeholder Engagement, Reviews</a:t>
                      </a:r>
                      <a:endParaRPr lang="en-US" sz="2000" b="0" baseline="0" dirty="0" smtClean="0">
                        <a:latin typeface="Calibri" panose="020F0502020204030204" pitchFamily="34" charset="0"/>
                        <a:cs typeface="Calibri" panose="020F0502020204030204" pitchFamily="34" charset="0"/>
                      </a:endParaRPr>
                    </a:p>
                    <a:p>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6/01/20</a:t>
                      </a:r>
                      <a:r>
                        <a:rPr lang="en-US" sz="2000" baseline="0" dirty="0" smtClean="0">
                          <a:latin typeface="Calibri" panose="020F0502020204030204" pitchFamily="34" charset="0"/>
                          <a:cs typeface="Calibri" panose="020F0502020204030204" pitchFamily="34" charset="0"/>
                        </a:rPr>
                        <a:t> to 2/26/21</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669514653"/>
                  </a:ext>
                </a:extLst>
              </a:tr>
              <a:tr h="715347">
                <a:tc>
                  <a:txBody>
                    <a:bodyPr/>
                    <a:lstStyle/>
                    <a:p>
                      <a:r>
                        <a:rPr lang="en-US" sz="2000" dirty="0" smtClean="0">
                          <a:latin typeface="Calibri" panose="020F0502020204030204" pitchFamily="34" charset="0"/>
                          <a:cs typeface="Calibri" panose="020F0502020204030204" pitchFamily="34" charset="0"/>
                        </a:rPr>
                        <a:t>Submission to Oversight and Administration</a:t>
                      </a:r>
                      <a:endParaRPr lang="en-US" sz="2000" dirty="0">
                        <a:latin typeface="Calibri" panose="020F0502020204030204" pitchFamily="34" charset="0"/>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smtClean="0">
                          <a:latin typeface="Calibri" panose="020F0502020204030204" pitchFamily="34" charset="0"/>
                          <a:cs typeface="Calibri" panose="020F0502020204030204" pitchFamily="34" charset="0"/>
                        </a:rPr>
                        <a:t>3/1/21</a:t>
                      </a:r>
                    </a:p>
                    <a:p>
                      <a:pPr algn="ct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2135348"/>
                  </a:ext>
                </a:extLst>
              </a:tr>
              <a:tr h="404327">
                <a:tc>
                  <a:txBody>
                    <a:bodyPr/>
                    <a:lstStyle/>
                    <a:p>
                      <a:r>
                        <a:rPr lang="en-US" sz="2000" dirty="0" smtClean="0">
                          <a:latin typeface="Calibri" panose="020F0502020204030204" pitchFamily="34" charset="0"/>
                          <a:cs typeface="Calibri" panose="020F0502020204030204" pitchFamily="34" charset="0"/>
                        </a:rPr>
                        <a:t>RFP Release</a:t>
                      </a:r>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7/21</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315909834"/>
                  </a:ext>
                </a:extLst>
              </a:tr>
              <a:tr h="404327">
                <a:tc>
                  <a:txBody>
                    <a:bodyPr/>
                    <a:lstStyle/>
                    <a:p>
                      <a:r>
                        <a:rPr lang="en-US" sz="2000" dirty="0" smtClean="0">
                          <a:latin typeface="Calibri" panose="020F0502020204030204" pitchFamily="34" charset="0"/>
                          <a:cs typeface="Calibri" panose="020F0502020204030204" pitchFamily="34" charset="0"/>
                        </a:rPr>
                        <a:t>Pre-Proposal</a:t>
                      </a:r>
                      <a:r>
                        <a:rPr lang="en-US" sz="2000" baseline="0" dirty="0" smtClean="0">
                          <a:latin typeface="Calibri" panose="020F0502020204030204" pitchFamily="34" charset="0"/>
                          <a:cs typeface="Calibri" panose="020F0502020204030204" pitchFamily="34" charset="0"/>
                        </a:rPr>
                        <a:t> Conference</a:t>
                      </a:r>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8/21</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800645877"/>
                  </a:ext>
                </a:extLst>
              </a:tr>
              <a:tr h="404327">
                <a:tc>
                  <a:txBody>
                    <a:bodyPr/>
                    <a:lstStyle/>
                    <a:p>
                      <a:r>
                        <a:rPr lang="en-US" sz="2000" dirty="0" smtClean="0">
                          <a:latin typeface="Calibri" panose="020F0502020204030204" pitchFamily="34" charset="0"/>
                          <a:cs typeface="Calibri" panose="020F0502020204030204" pitchFamily="34" charset="0"/>
                        </a:rPr>
                        <a:t>Evaluation and Award</a:t>
                      </a:r>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9/21 to 11/21</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89985902"/>
                  </a:ext>
                </a:extLst>
              </a:tr>
              <a:tr h="404327">
                <a:tc>
                  <a:txBody>
                    <a:bodyPr/>
                    <a:lstStyle/>
                    <a:p>
                      <a:r>
                        <a:rPr lang="en-US" sz="2000" dirty="0" smtClean="0">
                          <a:latin typeface="Calibri" panose="020F0502020204030204" pitchFamily="34" charset="0"/>
                          <a:cs typeface="Calibri" panose="020F0502020204030204" pitchFamily="34" charset="0"/>
                        </a:rPr>
                        <a:t>Readiness Review</a:t>
                      </a:r>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11/21 to 6/22</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34336477"/>
                  </a:ext>
                </a:extLst>
              </a:tr>
              <a:tr h="404327">
                <a:tc>
                  <a:txBody>
                    <a:bodyPr/>
                    <a:lstStyle/>
                    <a:p>
                      <a:r>
                        <a:rPr lang="en-US" sz="2000" dirty="0" smtClean="0">
                          <a:latin typeface="Calibri" panose="020F0502020204030204" pitchFamily="34" charset="0"/>
                          <a:cs typeface="Calibri" panose="020F0502020204030204" pitchFamily="34" charset="0"/>
                        </a:rPr>
                        <a:t>Implementation</a:t>
                      </a:r>
                      <a:endParaRPr lang="en-US" sz="2000" dirty="0">
                        <a:latin typeface="Calibri" panose="020F0502020204030204" pitchFamily="34" charset="0"/>
                        <a:cs typeface="Calibri" panose="020F0502020204030204" pitchFamily="34" charset="0"/>
                      </a:endParaRPr>
                    </a:p>
                  </a:txBody>
                  <a:tcPr/>
                </a:tc>
                <a:tc>
                  <a:txBody>
                    <a:bodyPr/>
                    <a:lstStyle/>
                    <a:p>
                      <a:pPr algn="ctr"/>
                      <a:r>
                        <a:rPr lang="en-US" sz="2000" dirty="0" smtClean="0">
                          <a:latin typeface="Calibri" panose="020F0502020204030204" pitchFamily="34" charset="0"/>
                          <a:cs typeface="Calibri" panose="020F0502020204030204" pitchFamily="34" charset="0"/>
                        </a:rPr>
                        <a:t>7/01/22</a:t>
                      </a:r>
                      <a:endParaRPr lang="en-US"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223192767"/>
                  </a:ext>
                </a:extLst>
              </a:tr>
            </a:tbl>
          </a:graphicData>
        </a:graphic>
      </p:graphicFrame>
    </p:spTree>
    <p:extLst>
      <p:ext uri="{BB962C8B-B14F-4D97-AF65-F5344CB8AC3E}">
        <p14:creationId xmlns:p14="http://schemas.microsoft.com/office/powerpoint/2010/main" val="3588213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PHARMACY DIRECTOR update</a:t>
            </a:r>
            <a:endParaRPr lang="en-US" dirty="0"/>
          </a:p>
        </p:txBody>
      </p:sp>
    </p:spTree>
    <p:extLst>
      <p:ext uri="{BB962C8B-B14F-4D97-AF65-F5344CB8AC3E}">
        <p14:creationId xmlns:p14="http://schemas.microsoft.com/office/powerpoint/2010/main" val="2567247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8" name="Title 1"/>
          <p:cNvSpPr>
            <a:spLocks noGrp="1"/>
          </p:cNvSpPr>
          <p:nvPr>
            <p:ph type="ctrTitle"/>
          </p:nvPr>
        </p:nvSpPr>
        <p:spPr>
          <a:xfrm>
            <a:off x="1828800" y="1600201"/>
            <a:ext cx="8534400" cy="3229339"/>
          </a:xfrm>
        </p:spPr>
        <p:txBody>
          <a:bodyPr>
            <a:noAutofit/>
          </a:bodyPr>
          <a:lstStyle/>
          <a:p>
            <a:pPr algn="ctr"/>
            <a:r>
              <a:rPr lang="en-US" sz="4000" b="1" cap="none" dirty="0">
                <a:solidFill>
                  <a:schemeClr val="accent3"/>
                </a:solidFill>
                <a:latin typeface="Century Gothic" panose="020B0502020202020204" pitchFamily="34" charset="0"/>
              </a:rPr>
              <a:t>Specialty Drugs – High Cost Therapies in Medicaid</a:t>
            </a:r>
            <a:r>
              <a:rPr lang="en-US" sz="900" b="1" cap="none" dirty="0">
                <a:solidFill>
                  <a:schemeClr val="accent3"/>
                </a:solidFill>
                <a:latin typeface="Century Gothic" panose="020B0502020202020204" pitchFamily="34" charset="0"/>
              </a:rPr>
              <a:t/>
            </a:r>
            <a:br>
              <a:rPr lang="en-US" sz="900" b="1" cap="none" dirty="0">
                <a:solidFill>
                  <a:schemeClr val="accent3"/>
                </a:solidFill>
                <a:latin typeface="Century Gothic" panose="020B0502020202020204" pitchFamily="34" charset="0"/>
              </a:rPr>
            </a:br>
            <a:r>
              <a:rPr lang="en-US" sz="3200" b="1" cap="none" dirty="0">
                <a:solidFill>
                  <a:schemeClr val="accent3"/>
                </a:solidFill>
                <a:latin typeface="Century Gothic" panose="020B0502020202020204" pitchFamily="34" charset="0"/>
              </a:rPr>
              <a:t/>
            </a:r>
            <a:br>
              <a:rPr lang="en-US" sz="3200" b="1" cap="none" dirty="0">
                <a:solidFill>
                  <a:schemeClr val="accent3"/>
                </a:solidFill>
                <a:latin typeface="Century Gothic" panose="020B0502020202020204" pitchFamily="34" charset="0"/>
              </a:rPr>
            </a:br>
            <a:r>
              <a:rPr lang="en-US" sz="2400" b="1" cap="none" dirty="0">
                <a:solidFill>
                  <a:schemeClr val="accent3"/>
                </a:solidFill>
                <a:latin typeface="Century Gothic" panose="020B0502020202020204" pitchFamily="34" charset="0"/>
              </a:rPr>
              <a:t>Joshua Moore, PharmD </a:t>
            </a:r>
            <a:br>
              <a:rPr lang="en-US" sz="2400" b="1" cap="none" dirty="0">
                <a:solidFill>
                  <a:schemeClr val="accent3"/>
                </a:solidFill>
                <a:latin typeface="Century Gothic" panose="020B0502020202020204" pitchFamily="34" charset="0"/>
              </a:rPr>
            </a:br>
            <a:r>
              <a:rPr lang="en-US" sz="2400" b="1" cap="none" dirty="0">
                <a:solidFill>
                  <a:schemeClr val="accent3"/>
                </a:solidFill>
                <a:latin typeface="Century Gothic" panose="020B0502020202020204" pitchFamily="34" charset="0"/>
              </a:rPr>
              <a:t>MO HealthNet Director of Pharmacy</a:t>
            </a:r>
            <a:br>
              <a:rPr lang="en-US" sz="2400" b="1" cap="none" dirty="0">
                <a:solidFill>
                  <a:schemeClr val="accent3"/>
                </a:solidFill>
                <a:latin typeface="Century Gothic" panose="020B0502020202020204" pitchFamily="34" charset="0"/>
              </a:rPr>
            </a:br>
            <a:r>
              <a:rPr lang="en-US" sz="2400" b="1" cap="none" dirty="0">
                <a:solidFill>
                  <a:schemeClr val="accent3"/>
                </a:solidFill>
                <a:latin typeface="Century Gothic" panose="020B0502020202020204" pitchFamily="34" charset="0"/>
              </a:rPr>
              <a:t>February 4, 2021</a:t>
            </a:r>
            <a:endParaRPr lang="en-US" sz="2400" b="1" i="1" cap="small" dirty="0">
              <a:solidFill>
                <a:schemeClr val="accent3"/>
              </a:solidFill>
            </a:endParaRPr>
          </a:p>
        </p:txBody>
      </p:sp>
    </p:spTree>
    <p:extLst>
      <p:ext uri="{BB962C8B-B14F-4D97-AF65-F5344CB8AC3E}">
        <p14:creationId xmlns:p14="http://schemas.microsoft.com/office/powerpoint/2010/main" val="4039772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1881408" y="304801"/>
            <a:ext cx="8142702" cy="880301"/>
          </a:xfrm>
        </p:spPr>
        <p:txBody>
          <a:bodyPr>
            <a:normAutofit/>
          </a:bodyPr>
          <a:lstStyle/>
          <a:p>
            <a:pPr algn="ctr"/>
            <a:r>
              <a:rPr lang="en-US" b="1" dirty="0" smtClean="0">
                <a:solidFill>
                  <a:srgbClr val="1B587C"/>
                </a:solidFill>
                <a:latin typeface="+mj-lt"/>
              </a:rPr>
              <a:t>The Pipeline</a:t>
            </a:r>
            <a:endParaRPr lang="en-US" b="1" dirty="0">
              <a:solidFill>
                <a:srgbClr val="1B587C"/>
              </a:solidFill>
              <a:latin typeface="+mj-lt"/>
            </a:endParaRPr>
          </a:p>
        </p:txBody>
      </p:sp>
      <p:sp>
        <p:nvSpPr>
          <p:cNvPr id="7" name="Content Placeholder 6">
            <a:extLst>
              <a:ext uri="{FF2B5EF4-FFF2-40B4-BE49-F238E27FC236}">
                <a16:creationId xmlns:a16="http://schemas.microsoft.com/office/drawing/2014/main" id="{1A932F41-498A-488E-A561-B91542A83BC5}"/>
              </a:ext>
            </a:extLst>
          </p:cNvPr>
          <p:cNvSpPr>
            <a:spLocks noGrp="1"/>
          </p:cNvSpPr>
          <p:nvPr>
            <p:ph idx="1"/>
          </p:nvPr>
        </p:nvSpPr>
        <p:spPr>
          <a:xfrm>
            <a:off x="1881408" y="1203389"/>
            <a:ext cx="8398705" cy="4359211"/>
          </a:xfrm>
        </p:spPr>
        <p:txBody>
          <a:bodyPr>
            <a:noAutofit/>
          </a:bodyPr>
          <a:lstStyle/>
          <a:p>
            <a:pPr indent="-342900"/>
            <a:r>
              <a:rPr lang="en-US" sz="1800" dirty="0">
                <a:cs typeface="Arial" panose="020B0604020202020204" pitchFamily="34" charset="0"/>
              </a:rPr>
              <a:t>In the next 12 – 24 months, the FDA expects to review 45 new treatments with an anticipated cost of greater than $200,000 per patient per year</a:t>
            </a:r>
          </a:p>
          <a:p>
            <a:pPr indent="-342900"/>
            <a:r>
              <a:rPr lang="en-US" sz="1800" dirty="0">
                <a:cs typeface="Arial" panose="020B0604020202020204" pitchFamily="34" charset="0"/>
              </a:rPr>
              <a:t>Projected wholesale acquisition costs vary from $200,000 to $3,000,000</a:t>
            </a:r>
          </a:p>
          <a:p>
            <a:pPr indent="-342900"/>
            <a:r>
              <a:rPr lang="en-US" sz="1800" dirty="0">
                <a:cs typeface="Arial" panose="020B0604020202020204" pitchFamily="34" charset="0"/>
              </a:rPr>
              <a:t>The most common diseases treated by these high-cost therapies are cancer and blood disorders (such as sickle cell anemia and hemophilia</a:t>
            </a:r>
            <a:r>
              <a:rPr lang="en-US" sz="2000" dirty="0">
                <a:cs typeface="Arial" panose="020B0604020202020204" pitchFamily="34" charset="0"/>
              </a:rPr>
              <a:t>)</a:t>
            </a:r>
          </a:p>
          <a:p>
            <a:pPr lvl="1" indent="-342900"/>
            <a:r>
              <a:rPr lang="en-US" sz="1600" dirty="0">
                <a:latin typeface="Arial" panose="020B0604020202020204" pitchFamily="34" charset="0"/>
                <a:cs typeface="Arial" panose="020B0604020202020204" pitchFamily="34" charset="0"/>
              </a:rPr>
              <a:t>Almost all these products are for rare diseases (defined as &lt;200,000 cases in the United States)</a:t>
            </a:r>
          </a:p>
          <a:p>
            <a:pPr lvl="1" indent="-342900"/>
            <a:r>
              <a:rPr lang="en-US" sz="1600" dirty="0">
                <a:latin typeface="Arial" panose="020B0604020202020204" pitchFamily="34" charset="0"/>
                <a:cs typeface="Arial" panose="020B0604020202020204" pitchFamily="34" charset="0"/>
              </a:rPr>
              <a:t>An estimated 25 million to 30 million Americans have a rare disease</a:t>
            </a:r>
          </a:p>
          <a:p>
            <a:pPr indent="-342900"/>
            <a:r>
              <a:rPr lang="en-US" sz="1800" dirty="0">
                <a:cs typeface="Arial" panose="020B0604020202020204" pitchFamily="34" charset="0"/>
              </a:rPr>
              <a:t>These medications treat diseases through genetic therapy, modifying a patient’s cells to attack cancer cells and several other new technologies</a:t>
            </a:r>
          </a:p>
          <a:p>
            <a:pPr indent="-342900"/>
            <a:r>
              <a:rPr lang="en-US" sz="1800" dirty="0">
                <a:cs typeface="Arial" panose="020B0604020202020204" pitchFamily="34" charset="0"/>
              </a:rPr>
              <a:t>Often these medications are for diseases that have no alternatives or alternatives with limited benefit for the patient</a:t>
            </a:r>
          </a:p>
        </p:txBody>
      </p:sp>
    </p:spTree>
    <p:extLst>
      <p:ext uri="{BB962C8B-B14F-4D97-AF65-F5344CB8AC3E}">
        <p14:creationId xmlns:p14="http://schemas.microsoft.com/office/powerpoint/2010/main" val="33366497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normAutofit/>
          </a:bodyPr>
          <a:lstStyle/>
          <a:p>
            <a:pPr algn="ctr"/>
            <a:r>
              <a:rPr lang="en-US" b="1" dirty="0" smtClean="0">
                <a:solidFill>
                  <a:srgbClr val="1B587C"/>
                </a:solidFill>
                <a:latin typeface="+mj-lt"/>
              </a:rPr>
              <a:t>Utilization Management Strategies</a:t>
            </a:r>
            <a:endParaRPr lang="en-US" b="1" dirty="0">
              <a:solidFill>
                <a:srgbClr val="1B587C"/>
              </a:solidFill>
              <a:latin typeface="+mj-lt"/>
            </a:endParaRPr>
          </a:p>
        </p:txBody>
      </p:sp>
      <p:sp>
        <p:nvSpPr>
          <p:cNvPr id="2" name="Content Placeholder 1"/>
          <p:cNvSpPr>
            <a:spLocks noGrp="1"/>
          </p:cNvSpPr>
          <p:nvPr>
            <p:ph idx="1"/>
          </p:nvPr>
        </p:nvSpPr>
        <p:spPr>
          <a:xfrm>
            <a:off x="2209800" y="1600201"/>
            <a:ext cx="7772400" cy="4114799"/>
          </a:xfrm>
        </p:spPr>
        <p:txBody>
          <a:bodyPr>
            <a:normAutofit fontScale="70000" lnSpcReduction="20000"/>
          </a:bodyPr>
          <a:lstStyle/>
          <a:p>
            <a:r>
              <a:rPr lang="en-US" dirty="0" smtClean="0"/>
              <a:t>MO HealthNet must offer a path to coverage for all drug products of manufacturers that have a signed rebate agreement with CMS </a:t>
            </a:r>
          </a:p>
          <a:p>
            <a:r>
              <a:rPr lang="en-US" dirty="0" smtClean="0"/>
              <a:t>Rebate percentage has increased to 65% of ingredient cost across total pharmacy spend</a:t>
            </a:r>
          </a:p>
          <a:p>
            <a:r>
              <a:rPr lang="en-US" dirty="0" smtClean="0"/>
              <a:t>Hundreds of step therapy, PDL, and clinical edits are in place to ensure utilization of the lowest net cost therapy</a:t>
            </a:r>
          </a:p>
          <a:p>
            <a:r>
              <a:rPr lang="en-US" dirty="0"/>
              <a:t>Current c</a:t>
            </a:r>
            <a:r>
              <a:rPr lang="en-US" dirty="0" smtClean="0"/>
              <a:t>ompliance </a:t>
            </a:r>
            <a:r>
              <a:rPr lang="en-US" dirty="0"/>
              <a:t>to the PDL is 97</a:t>
            </a:r>
            <a:r>
              <a:rPr lang="en-US" dirty="0" smtClean="0"/>
              <a:t>+%</a:t>
            </a:r>
          </a:p>
          <a:p>
            <a:r>
              <a:rPr lang="en-US" dirty="0"/>
              <a:t>Utilization </a:t>
            </a:r>
            <a:r>
              <a:rPr lang="en-US" dirty="0" smtClean="0"/>
              <a:t>management </a:t>
            </a:r>
            <a:r>
              <a:rPr lang="en-US" dirty="0"/>
              <a:t>strategies for rare disease products are limited due to the lack of viable alternative </a:t>
            </a:r>
            <a:r>
              <a:rPr lang="en-US" dirty="0" smtClean="0"/>
              <a:t>treatments</a:t>
            </a:r>
          </a:p>
          <a:p>
            <a:r>
              <a:rPr lang="en-US" dirty="0" smtClean="0"/>
              <a:t>MO HealthNet has better control on physician-administered drugs than other State Medicaid Programs</a:t>
            </a:r>
          </a:p>
          <a:p>
            <a:r>
              <a:rPr lang="en-US" dirty="0"/>
              <a:t>All new rare disease medications are reviewed by the Rare Disease Advisory Committee</a:t>
            </a:r>
          </a:p>
          <a:p>
            <a:endParaRPr lang="en-US" dirty="0" smtClean="0"/>
          </a:p>
        </p:txBody>
      </p:sp>
    </p:spTree>
    <p:extLst>
      <p:ext uri="{BB962C8B-B14F-4D97-AF65-F5344CB8AC3E}">
        <p14:creationId xmlns:p14="http://schemas.microsoft.com/office/powerpoint/2010/main" val="26378299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00200" y="2362200"/>
            <a:ext cx="9144000" cy="1219200"/>
          </a:xfrm>
        </p:spPr>
        <p:txBody>
          <a:bodyPr>
            <a:normAutofit/>
          </a:bodyPr>
          <a:lstStyle/>
          <a:p>
            <a:pPr algn="ctr"/>
            <a:r>
              <a:rPr lang="en-US" dirty="0" smtClean="0"/>
              <a:t>MEDICAID EXPANSION </a:t>
            </a:r>
            <a:br>
              <a:rPr lang="en-US" dirty="0" smtClean="0"/>
            </a:br>
            <a:r>
              <a:rPr lang="en-US" dirty="0" smtClean="0"/>
              <a:t>PLANNING PROJECT</a:t>
            </a:r>
            <a:endParaRPr lang="en-US" dirty="0"/>
          </a:p>
        </p:txBody>
      </p:sp>
    </p:spTree>
    <p:extLst>
      <p:ext uri="{BB962C8B-B14F-4D97-AF65-F5344CB8AC3E}">
        <p14:creationId xmlns:p14="http://schemas.microsoft.com/office/powerpoint/2010/main" val="14395349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838200" y="274638"/>
            <a:ext cx="10439400" cy="1143000"/>
          </a:xfrm>
        </p:spPr>
        <p:txBody>
          <a:bodyPr>
            <a:normAutofit/>
          </a:bodyPr>
          <a:lstStyle/>
          <a:p>
            <a:pPr algn="ctr"/>
            <a:r>
              <a:rPr lang="en-US" b="1" dirty="0" smtClean="0">
                <a:solidFill>
                  <a:srgbClr val="1B587C"/>
                </a:solidFill>
                <a:latin typeface="+mj-lt"/>
              </a:rPr>
              <a:t>Predicting Future Utilization</a:t>
            </a:r>
            <a:endParaRPr lang="en-US" b="1" dirty="0">
              <a:solidFill>
                <a:srgbClr val="1B587C"/>
              </a:solidFill>
              <a:latin typeface="+mj-lt"/>
            </a:endParaRPr>
          </a:p>
        </p:txBody>
      </p:sp>
      <p:sp>
        <p:nvSpPr>
          <p:cNvPr id="2" name="Content Placeholder 1"/>
          <p:cNvSpPr>
            <a:spLocks noGrp="1"/>
          </p:cNvSpPr>
          <p:nvPr>
            <p:ph idx="1"/>
          </p:nvPr>
        </p:nvSpPr>
        <p:spPr>
          <a:xfrm>
            <a:off x="2209800" y="1600201"/>
            <a:ext cx="7772400" cy="4038599"/>
          </a:xfrm>
        </p:spPr>
        <p:txBody>
          <a:bodyPr>
            <a:normAutofit fontScale="70000" lnSpcReduction="20000"/>
          </a:bodyPr>
          <a:lstStyle/>
          <a:p>
            <a:r>
              <a:rPr lang="en-US" dirty="0" smtClean="0"/>
              <a:t>Due to the nature of medications for the treatment of rare disease, it is difficult to predict expenditures for specific products</a:t>
            </a:r>
          </a:p>
          <a:p>
            <a:r>
              <a:rPr lang="en-US" dirty="0" smtClean="0"/>
              <a:t>Example 1: </a:t>
            </a:r>
            <a:r>
              <a:rPr lang="en-US" dirty="0" err="1" smtClean="0"/>
              <a:t>Zolgensma</a:t>
            </a:r>
            <a:r>
              <a:rPr lang="en-US" dirty="0" smtClean="0"/>
              <a:t> - Gene Therapy for treatment of SMA</a:t>
            </a:r>
          </a:p>
          <a:p>
            <a:r>
              <a:rPr lang="en-US" dirty="0" smtClean="0"/>
              <a:t>SMA is a rare genetic disease impacting 8.5 – 10.3 per 100,000 live births. </a:t>
            </a:r>
          </a:p>
          <a:p>
            <a:pPr lvl="1"/>
            <a:r>
              <a:rPr lang="en-US" dirty="0" smtClean="0">
                <a:latin typeface="Arial" panose="020B0604020202020204" pitchFamily="34" charset="0"/>
                <a:cs typeface="Arial" panose="020B0604020202020204" pitchFamily="34" charset="0"/>
              </a:rPr>
              <a:t>In 2018, there were 73,281 live births in Missouri</a:t>
            </a:r>
          </a:p>
          <a:p>
            <a:pPr lvl="1"/>
            <a:r>
              <a:rPr lang="en-US" dirty="0" smtClean="0">
                <a:latin typeface="Arial" panose="020B0604020202020204" pitchFamily="34" charset="0"/>
                <a:cs typeface="Arial" panose="020B0604020202020204" pitchFamily="34" charset="0"/>
              </a:rPr>
              <a:t>Estimated incidence in Missouri would be 6.2 to 7.5 live births per year with SMA</a:t>
            </a:r>
          </a:p>
          <a:p>
            <a:pPr lvl="1"/>
            <a:r>
              <a:rPr lang="en-US" dirty="0" err="1" smtClean="0">
                <a:latin typeface="Arial" panose="020B0604020202020204" pitchFamily="34" charset="0"/>
                <a:cs typeface="Arial" panose="020B0604020202020204" pitchFamily="34" charset="0"/>
              </a:rPr>
              <a:t>Zolgensma</a:t>
            </a:r>
            <a:r>
              <a:rPr lang="en-US" dirty="0" smtClean="0">
                <a:latin typeface="Arial" panose="020B0604020202020204" pitchFamily="34" charset="0"/>
                <a:cs typeface="Arial" panose="020B0604020202020204" pitchFamily="34" charset="0"/>
              </a:rPr>
              <a:t> costs $2,125,000 for one gene treatment</a:t>
            </a:r>
          </a:p>
          <a:p>
            <a:pPr lvl="1"/>
            <a:r>
              <a:rPr lang="en-US" dirty="0" smtClean="0">
                <a:latin typeface="Arial" panose="020B0604020202020204" pitchFamily="34" charset="0"/>
                <a:cs typeface="Arial" panose="020B0604020202020204" pitchFamily="34" charset="0"/>
              </a:rPr>
              <a:t>MO HealthNet estimated 7 patients would receive the medication</a:t>
            </a:r>
          </a:p>
          <a:p>
            <a:pPr lvl="1"/>
            <a:r>
              <a:rPr lang="en-US" dirty="0" smtClean="0">
                <a:latin typeface="Arial" panose="020B0604020202020204" pitchFamily="34" charset="0"/>
                <a:cs typeface="Arial" panose="020B0604020202020204" pitchFamily="34" charset="0"/>
              </a:rPr>
              <a:t>Only 3 MO HealthNet participants have received the medication so far</a:t>
            </a:r>
          </a:p>
          <a:p>
            <a:pPr lvl="1"/>
            <a:r>
              <a:rPr lang="en-US" dirty="0" smtClean="0">
                <a:latin typeface="Arial" panose="020B0604020202020204" pitchFamily="34" charset="0"/>
                <a:cs typeface="Arial" panose="020B0604020202020204" pitchFamily="34" charset="0"/>
              </a:rPr>
              <a:t>Now there are 3 medications for the treatment of SMA, but the drugs are distinctly different and there are no real competitors to </a:t>
            </a:r>
            <a:r>
              <a:rPr lang="en-US" dirty="0" err="1" smtClean="0">
                <a:latin typeface="Arial" panose="020B0604020202020204" pitchFamily="34" charset="0"/>
                <a:cs typeface="Arial" panose="020B0604020202020204" pitchFamily="34" charset="0"/>
              </a:rPr>
              <a:t>Zolgensma</a:t>
            </a:r>
            <a:endParaRPr lang="en-US"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570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normAutofit/>
          </a:bodyPr>
          <a:lstStyle/>
          <a:p>
            <a:pPr algn="ctr"/>
            <a:r>
              <a:rPr lang="en-US" b="1" dirty="0" smtClean="0">
                <a:solidFill>
                  <a:srgbClr val="1B587C"/>
                </a:solidFill>
                <a:latin typeface="+mj-lt"/>
              </a:rPr>
              <a:t>Predicting Future Utilization</a:t>
            </a:r>
            <a:endParaRPr lang="en-US" b="1" dirty="0">
              <a:solidFill>
                <a:srgbClr val="1B587C"/>
              </a:solidFill>
              <a:latin typeface="+mj-lt"/>
            </a:endParaRPr>
          </a:p>
        </p:txBody>
      </p:sp>
      <p:sp>
        <p:nvSpPr>
          <p:cNvPr id="2" name="Content Placeholder 1"/>
          <p:cNvSpPr>
            <a:spLocks noGrp="1"/>
          </p:cNvSpPr>
          <p:nvPr>
            <p:ph idx="1"/>
          </p:nvPr>
        </p:nvSpPr>
        <p:spPr/>
        <p:txBody>
          <a:bodyPr>
            <a:normAutofit fontScale="77500" lnSpcReduction="20000"/>
          </a:bodyPr>
          <a:lstStyle/>
          <a:p>
            <a:r>
              <a:rPr lang="en-US" dirty="0" smtClean="0"/>
              <a:t>Example 2: </a:t>
            </a:r>
            <a:r>
              <a:rPr lang="en-US" dirty="0" err="1" smtClean="0"/>
              <a:t>Trikafta</a:t>
            </a:r>
            <a:r>
              <a:rPr lang="en-US" dirty="0" smtClean="0"/>
              <a:t> – oral product for the treatment of CF</a:t>
            </a:r>
          </a:p>
          <a:p>
            <a:r>
              <a:rPr lang="en-US" dirty="0" smtClean="0"/>
              <a:t>Cystic Fibrosis is a rare genetic disease</a:t>
            </a:r>
          </a:p>
          <a:p>
            <a:pPr lvl="1"/>
            <a:r>
              <a:rPr lang="en-US" dirty="0" smtClean="0">
                <a:latin typeface="Arial" panose="020B0604020202020204" pitchFamily="34" charset="0"/>
                <a:cs typeface="Arial" panose="020B0604020202020204" pitchFamily="34" charset="0"/>
              </a:rPr>
              <a:t>MHD claims history showed 203 participants with a history of CF diagnosis on file</a:t>
            </a:r>
          </a:p>
          <a:p>
            <a:pPr lvl="1"/>
            <a:r>
              <a:rPr lang="en-US" dirty="0" smtClean="0">
                <a:latin typeface="Arial" panose="020B0604020202020204" pitchFamily="34" charset="0"/>
                <a:cs typeface="Arial" panose="020B0604020202020204" pitchFamily="34" charset="0"/>
              </a:rPr>
              <a:t>73 participants were receiving treatment with an older CFTR product</a:t>
            </a:r>
          </a:p>
          <a:p>
            <a:pPr lvl="1"/>
            <a:r>
              <a:rPr lang="en-US" dirty="0" err="1" smtClean="0">
                <a:latin typeface="Arial" panose="020B0604020202020204" pitchFamily="34" charset="0"/>
                <a:cs typeface="Arial" panose="020B0604020202020204" pitchFamily="34" charset="0"/>
              </a:rPr>
              <a:t>Trikafta</a:t>
            </a:r>
            <a:r>
              <a:rPr lang="en-US" dirty="0" smtClean="0">
                <a:latin typeface="Arial" panose="020B0604020202020204" pitchFamily="34" charset="0"/>
                <a:cs typeface="Arial" panose="020B0604020202020204" pitchFamily="34" charset="0"/>
              </a:rPr>
              <a:t> was estimated to treat 90% of CF patients, compared to 45% for the older therapy</a:t>
            </a:r>
          </a:p>
          <a:p>
            <a:pPr lvl="1"/>
            <a:r>
              <a:rPr lang="en-US" dirty="0" err="1" smtClean="0">
                <a:latin typeface="Arial" panose="020B0604020202020204" pitchFamily="34" charset="0"/>
                <a:cs typeface="Arial" panose="020B0604020202020204" pitchFamily="34" charset="0"/>
              </a:rPr>
              <a:t>Trikafta</a:t>
            </a:r>
            <a:r>
              <a:rPr lang="en-US" dirty="0" smtClean="0">
                <a:latin typeface="Arial" panose="020B0604020202020204" pitchFamily="34" charset="0"/>
                <a:cs typeface="Arial" panose="020B0604020202020204" pitchFamily="34" charset="0"/>
              </a:rPr>
              <a:t> cost per year is approximately $300,000</a:t>
            </a:r>
          </a:p>
          <a:p>
            <a:pPr lvl="1"/>
            <a:r>
              <a:rPr lang="en-US" dirty="0" smtClean="0">
                <a:latin typeface="Arial" panose="020B0604020202020204" pitchFamily="34" charset="0"/>
                <a:cs typeface="Arial" panose="020B0604020202020204" pitchFamily="34" charset="0"/>
              </a:rPr>
              <a:t>Predicted range of participants who would utilize </a:t>
            </a:r>
            <a:r>
              <a:rPr lang="en-US" dirty="0" err="1" smtClean="0">
                <a:latin typeface="Arial" panose="020B0604020202020204" pitchFamily="34" charset="0"/>
                <a:cs typeface="Arial" panose="020B0604020202020204" pitchFamily="34" charset="0"/>
              </a:rPr>
              <a:t>Trikafta</a:t>
            </a:r>
            <a:r>
              <a:rPr lang="en-US" dirty="0" smtClean="0">
                <a:latin typeface="Arial" panose="020B0604020202020204" pitchFamily="34" charset="0"/>
                <a:cs typeface="Arial" panose="020B0604020202020204" pitchFamily="34" charset="0"/>
              </a:rPr>
              <a:t> was 93 - 146</a:t>
            </a:r>
          </a:p>
          <a:p>
            <a:pPr lvl="1"/>
            <a:r>
              <a:rPr lang="en-US" dirty="0" smtClean="0">
                <a:latin typeface="Arial" panose="020B0604020202020204" pitchFamily="34" charset="0"/>
                <a:cs typeface="Arial" panose="020B0604020202020204" pitchFamily="34" charset="0"/>
              </a:rPr>
              <a:t>Approximately 84 participants are currently taking </a:t>
            </a:r>
            <a:r>
              <a:rPr lang="en-US" dirty="0" err="1" smtClean="0">
                <a:latin typeface="Arial" panose="020B0604020202020204" pitchFamily="34" charset="0"/>
                <a:cs typeface="Arial" panose="020B0604020202020204" pitchFamily="34" charset="0"/>
              </a:rPr>
              <a:t>Trikafta</a:t>
            </a:r>
            <a:r>
              <a:rPr lang="en-US" dirty="0" smtClean="0">
                <a:latin typeface="Arial" panose="020B0604020202020204" pitchFamily="34" charset="0"/>
                <a:cs typeface="Arial" panose="020B0604020202020204" pitchFamily="34" charset="0"/>
              </a:rPr>
              <a:t> at a cost of $2 million per month (12/2020)</a:t>
            </a:r>
          </a:p>
          <a:p>
            <a:pPr lvl="1"/>
            <a:r>
              <a:rPr lang="en-US" dirty="0" smtClean="0">
                <a:latin typeface="Arial" panose="020B0604020202020204" pitchFamily="34" charset="0"/>
                <a:cs typeface="Arial" panose="020B0604020202020204" pitchFamily="34" charset="0"/>
              </a:rPr>
              <a:t>All CFTR products are manufactured by 1 company creating a market with no competition</a:t>
            </a:r>
          </a:p>
        </p:txBody>
      </p:sp>
    </p:spTree>
    <p:extLst>
      <p:ext uri="{BB962C8B-B14F-4D97-AF65-F5344CB8AC3E}">
        <p14:creationId xmlns:p14="http://schemas.microsoft.com/office/powerpoint/2010/main" val="2409256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normAutofit/>
          </a:bodyPr>
          <a:lstStyle/>
          <a:p>
            <a:pPr algn="ctr"/>
            <a:r>
              <a:rPr lang="en-US" b="1" dirty="0" smtClean="0">
                <a:solidFill>
                  <a:srgbClr val="1B587C"/>
                </a:solidFill>
                <a:latin typeface="+mj-lt"/>
              </a:rPr>
              <a:t>Predicting Future Utilization</a:t>
            </a:r>
            <a:endParaRPr lang="en-US" b="1" dirty="0">
              <a:solidFill>
                <a:srgbClr val="1B587C"/>
              </a:solidFill>
              <a:latin typeface="+mj-lt"/>
            </a:endParaRPr>
          </a:p>
        </p:txBody>
      </p:sp>
      <p:sp>
        <p:nvSpPr>
          <p:cNvPr id="2" name="Content Placeholder 1"/>
          <p:cNvSpPr>
            <a:spLocks noGrp="1"/>
          </p:cNvSpPr>
          <p:nvPr>
            <p:ph idx="1"/>
          </p:nvPr>
        </p:nvSpPr>
        <p:spPr>
          <a:xfrm>
            <a:off x="2133600" y="1600201"/>
            <a:ext cx="8077200" cy="3733800"/>
          </a:xfrm>
        </p:spPr>
        <p:txBody>
          <a:bodyPr>
            <a:normAutofit fontScale="70000" lnSpcReduction="20000"/>
          </a:bodyPr>
          <a:lstStyle/>
          <a:p>
            <a:r>
              <a:rPr lang="en-US" dirty="0" smtClean="0"/>
              <a:t>Example 3: </a:t>
            </a:r>
            <a:r>
              <a:rPr lang="en-US" dirty="0" err="1" smtClean="0"/>
              <a:t>Roctavian</a:t>
            </a:r>
            <a:r>
              <a:rPr lang="en-US" dirty="0" smtClean="0"/>
              <a:t> – Gene therapy for the treatment of Hemophilia A</a:t>
            </a:r>
          </a:p>
          <a:p>
            <a:r>
              <a:rPr lang="en-US" dirty="0" smtClean="0"/>
              <a:t>Hemophilia A is a rare genetic disease. </a:t>
            </a:r>
          </a:p>
          <a:p>
            <a:pPr lvl="1"/>
            <a:r>
              <a:rPr lang="en-US" dirty="0" smtClean="0">
                <a:latin typeface="Arial" panose="020B0604020202020204" pitchFamily="34" charset="0"/>
                <a:cs typeface="Arial" panose="020B0604020202020204" pitchFamily="34" charset="0"/>
              </a:rPr>
              <a:t>MHD claims history showed 99 participants being treated for Hemophilia A</a:t>
            </a:r>
          </a:p>
          <a:p>
            <a:pPr lvl="1"/>
            <a:r>
              <a:rPr lang="en-US" dirty="0" smtClean="0">
                <a:latin typeface="Arial" panose="020B0604020202020204" pitchFamily="34" charset="0"/>
                <a:cs typeface="Arial" panose="020B0604020202020204" pitchFamily="34" charset="0"/>
              </a:rPr>
              <a:t>70 participants would be defined as severe Hemophilia A</a:t>
            </a:r>
          </a:p>
          <a:p>
            <a:pPr lvl="1"/>
            <a:r>
              <a:rPr lang="en-US" dirty="0" smtClean="0">
                <a:latin typeface="Arial" panose="020B0604020202020204" pitchFamily="34" charset="0"/>
                <a:cs typeface="Arial" panose="020B0604020202020204" pitchFamily="34" charset="0"/>
              </a:rPr>
              <a:t>National consensus in the Hemophilia community is 5 – 10% of those eligible will receive the gene therapy within 3 years of approval</a:t>
            </a:r>
          </a:p>
          <a:p>
            <a:pPr lvl="1"/>
            <a:r>
              <a:rPr lang="en-US" dirty="0" err="1" smtClean="0">
                <a:latin typeface="Arial" panose="020B0604020202020204" pitchFamily="34" charset="0"/>
                <a:cs typeface="Arial" panose="020B0604020202020204" pitchFamily="34" charset="0"/>
              </a:rPr>
              <a:t>Roctavian</a:t>
            </a:r>
            <a:r>
              <a:rPr lang="en-US" dirty="0" smtClean="0">
                <a:latin typeface="Arial" panose="020B0604020202020204" pitchFamily="34" charset="0"/>
                <a:cs typeface="Arial" panose="020B0604020202020204" pitchFamily="34" charset="0"/>
              </a:rPr>
              <a:t> price estimates were $3 million per gene therapy</a:t>
            </a:r>
          </a:p>
          <a:p>
            <a:pPr lvl="1"/>
            <a:r>
              <a:rPr lang="en-US" dirty="0" smtClean="0">
                <a:latin typeface="Arial" panose="020B0604020202020204" pitchFamily="34" charset="0"/>
                <a:cs typeface="Arial" panose="020B0604020202020204" pitchFamily="34" charset="0"/>
              </a:rPr>
              <a:t>Predicted range of participants who would utilize </a:t>
            </a:r>
            <a:r>
              <a:rPr lang="en-US" dirty="0" err="1" smtClean="0">
                <a:latin typeface="Arial" panose="020B0604020202020204" pitchFamily="34" charset="0"/>
                <a:cs typeface="Arial" panose="020B0604020202020204" pitchFamily="34" charset="0"/>
              </a:rPr>
              <a:t>Roctavian</a:t>
            </a:r>
            <a:r>
              <a:rPr lang="en-US" dirty="0" smtClean="0">
                <a:latin typeface="Arial" panose="020B0604020202020204" pitchFamily="34" charset="0"/>
                <a:cs typeface="Arial" panose="020B0604020202020204" pitchFamily="34" charset="0"/>
              </a:rPr>
              <a:t> was 3 - 7</a:t>
            </a:r>
          </a:p>
          <a:p>
            <a:pPr lvl="1"/>
            <a:r>
              <a:rPr lang="en-US" dirty="0" smtClean="0">
                <a:latin typeface="Arial" panose="020B0604020202020204" pitchFamily="34" charset="0"/>
                <a:cs typeface="Arial" panose="020B0604020202020204" pitchFamily="34" charset="0"/>
              </a:rPr>
              <a:t>Estimated reimbursement amount for these participants would be $9 – 21 million</a:t>
            </a:r>
          </a:p>
          <a:p>
            <a:pPr lvl="1"/>
            <a:r>
              <a:rPr lang="en-US" dirty="0" err="1" smtClean="0">
                <a:latin typeface="Arial" panose="020B0604020202020204" pitchFamily="34" charset="0"/>
                <a:cs typeface="Arial" panose="020B0604020202020204" pitchFamily="34" charset="0"/>
              </a:rPr>
              <a:t>Roctavian</a:t>
            </a:r>
            <a:r>
              <a:rPr lang="en-US" dirty="0" smtClean="0">
                <a:latin typeface="Arial" panose="020B0604020202020204" pitchFamily="34" charset="0"/>
                <a:cs typeface="Arial" panose="020B0604020202020204" pitchFamily="34" charset="0"/>
              </a:rPr>
              <a:t> was not approved by the FDA in August 2020 as anticipated</a:t>
            </a:r>
          </a:p>
        </p:txBody>
      </p:sp>
    </p:spTree>
    <p:extLst>
      <p:ext uri="{BB962C8B-B14F-4D97-AF65-F5344CB8AC3E}">
        <p14:creationId xmlns:p14="http://schemas.microsoft.com/office/powerpoint/2010/main" val="24735580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949483869"/>
              </p:ext>
            </p:extLst>
          </p:nvPr>
        </p:nvGraphicFramePr>
        <p:xfrm>
          <a:off x="1676400" y="228600"/>
          <a:ext cx="8991600" cy="533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070739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nvPr>
        </p:nvGraphicFramePr>
        <p:xfrm>
          <a:off x="1828800" y="304800"/>
          <a:ext cx="8686800" cy="5486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247383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normAutofit fontScale="90000"/>
          </a:bodyPr>
          <a:lstStyle/>
          <a:p>
            <a:pPr algn="ctr"/>
            <a:r>
              <a:rPr lang="en-US" b="1" dirty="0" smtClean="0">
                <a:solidFill>
                  <a:srgbClr val="1B587C"/>
                </a:solidFill>
                <a:latin typeface="+mj-lt"/>
              </a:rPr>
              <a:t>State Share of Medicaid Drug Expenditures</a:t>
            </a:r>
            <a:endParaRPr lang="en-US" b="1" dirty="0">
              <a:solidFill>
                <a:srgbClr val="1B587C"/>
              </a:solidFill>
              <a:latin typeface="+mj-lt"/>
            </a:endParaRPr>
          </a:p>
        </p:txBody>
      </p:sp>
      <p:graphicFrame>
        <p:nvGraphicFramePr>
          <p:cNvPr id="8" name="Content Placeholder 7"/>
          <p:cNvGraphicFramePr>
            <a:graphicFrameLocks noGrp="1"/>
          </p:cNvGraphicFramePr>
          <p:nvPr>
            <p:ph sz="quarter" idx="13"/>
            <p:extLst/>
          </p:nvPr>
        </p:nvGraphicFramePr>
        <p:xfrm>
          <a:off x="2209800" y="1536701"/>
          <a:ext cx="3657600" cy="3876675"/>
        </p:xfrm>
        <a:graphic>
          <a:graphicData uri="http://schemas.openxmlformats.org/drawingml/2006/chart">
            <c:chart xmlns:c="http://schemas.openxmlformats.org/drawingml/2006/chart" xmlns:r="http://schemas.openxmlformats.org/officeDocument/2006/relationships" r:id="rId3"/>
          </a:graphicData>
        </a:graphic>
      </p:graphicFrame>
      <p:sp>
        <p:nvSpPr>
          <p:cNvPr id="4" name="Content Placeholder 3"/>
          <p:cNvSpPr>
            <a:spLocks noGrp="1"/>
          </p:cNvSpPr>
          <p:nvPr>
            <p:ph sz="quarter" idx="14"/>
          </p:nvPr>
        </p:nvSpPr>
        <p:spPr/>
        <p:txBody>
          <a:bodyPr>
            <a:normAutofit/>
          </a:bodyPr>
          <a:lstStyle/>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Average Ingredient Cost: $93.34</a:t>
            </a:r>
          </a:p>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Federal Rebate consists of statutory rebate, best price adjustments and CPI penalty. Statutory minimums are:</a:t>
            </a:r>
          </a:p>
          <a:p>
            <a:pPr lvl="1"/>
            <a:r>
              <a:rPr lang="en-US" dirty="0" smtClean="0">
                <a:latin typeface="Arial" panose="020B0604020202020204" pitchFamily="34" charset="0"/>
                <a:cs typeface="Arial" panose="020B0604020202020204" pitchFamily="34" charset="0"/>
              </a:rPr>
              <a:t>13% for generics</a:t>
            </a:r>
          </a:p>
          <a:p>
            <a:pPr lvl="1"/>
            <a:r>
              <a:rPr lang="en-US" dirty="0" smtClean="0">
                <a:latin typeface="Arial" panose="020B0604020202020204" pitchFamily="34" charset="0"/>
                <a:cs typeface="Arial" panose="020B0604020202020204" pitchFamily="34" charset="0"/>
              </a:rPr>
              <a:t>17.1% for pediatric and clotting agents</a:t>
            </a:r>
          </a:p>
          <a:p>
            <a:pPr lvl="1"/>
            <a:r>
              <a:rPr lang="en-US" dirty="0" smtClean="0">
                <a:latin typeface="Arial" panose="020B0604020202020204" pitchFamily="34" charset="0"/>
                <a:cs typeface="Arial" panose="020B0604020202020204" pitchFamily="34" charset="0"/>
              </a:rPr>
              <a:t>23.1% for brand names</a:t>
            </a:r>
          </a:p>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Supplemental rebates are negotiated at the state level generally when there is market competition</a:t>
            </a:r>
          </a:p>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Cost to GR: $13.34</a:t>
            </a:r>
            <a:endParaRPr lang="en-US" dirty="0">
              <a:latin typeface="Arial" panose="020B0604020202020204" pitchFamily="34" charset="0"/>
              <a:cs typeface="Arial" panose="020B0604020202020204" pitchFamily="34" charset="0"/>
            </a:endParaRPr>
          </a:p>
        </p:txBody>
      </p:sp>
      <p:sp>
        <p:nvSpPr>
          <p:cNvPr id="6" name="TextBox 5"/>
          <p:cNvSpPr txBox="1"/>
          <p:nvPr/>
        </p:nvSpPr>
        <p:spPr>
          <a:xfrm>
            <a:off x="2057401" y="6172200"/>
            <a:ext cx="4095993"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Federal State Split is blended at 65/35</a:t>
            </a:r>
          </a:p>
        </p:txBody>
      </p:sp>
    </p:spTree>
    <p:extLst>
      <p:ext uri="{BB962C8B-B14F-4D97-AF65-F5344CB8AC3E}">
        <p14:creationId xmlns:p14="http://schemas.microsoft.com/office/powerpoint/2010/main" val="9008234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normAutofit fontScale="90000"/>
          </a:bodyPr>
          <a:lstStyle/>
          <a:p>
            <a:pPr algn="ctr"/>
            <a:r>
              <a:rPr lang="en-US" b="1" dirty="0" smtClean="0">
                <a:solidFill>
                  <a:srgbClr val="1B587C"/>
                </a:solidFill>
                <a:latin typeface="+mj-lt"/>
              </a:rPr>
              <a:t>State Share of Medicaid Drug Expenditures</a:t>
            </a:r>
            <a:endParaRPr lang="en-US" b="1" dirty="0">
              <a:solidFill>
                <a:srgbClr val="1B587C"/>
              </a:solidFill>
              <a:latin typeface="+mj-lt"/>
            </a:endParaRPr>
          </a:p>
        </p:txBody>
      </p:sp>
      <p:graphicFrame>
        <p:nvGraphicFramePr>
          <p:cNvPr id="10" name="Content Placeholder 9"/>
          <p:cNvGraphicFramePr>
            <a:graphicFrameLocks noGrp="1"/>
          </p:cNvGraphicFramePr>
          <p:nvPr>
            <p:ph sz="quarter" idx="13"/>
            <p:extLst/>
          </p:nvPr>
        </p:nvGraphicFramePr>
        <p:xfrm>
          <a:off x="2209800" y="1536701"/>
          <a:ext cx="3657600" cy="3876675"/>
        </p:xfrm>
        <a:graphic>
          <a:graphicData uri="http://schemas.openxmlformats.org/drawingml/2006/chart">
            <c:chart xmlns:c="http://schemas.openxmlformats.org/drawingml/2006/chart" xmlns:r="http://schemas.openxmlformats.org/officeDocument/2006/relationships" r:id="rId3"/>
          </a:graphicData>
        </a:graphic>
      </p:graphicFrame>
      <p:sp>
        <p:nvSpPr>
          <p:cNvPr id="4" name="Content Placeholder 3"/>
          <p:cNvSpPr>
            <a:spLocks noGrp="1"/>
          </p:cNvSpPr>
          <p:nvPr>
            <p:ph sz="quarter" idx="14"/>
          </p:nvPr>
        </p:nvSpPr>
        <p:spPr/>
        <p:txBody>
          <a:bodyPr>
            <a:normAutofit fontScale="92500" lnSpcReduction="10000"/>
          </a:bodyPr>
          <a:lstStyle/>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Example of a new rare disease drug for adults: $300,000</a:t>
            </a:r>
          </a:p>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Federal Rebate consists of statutory rebate, best price adjustments and CPI penalty. Statutory minimums are:</a:t>
            </a:r>
          </a:p>
          <a:p>
            <a:pPr lvl="1"/>
            <a:r>
              <a:rPr lang="en-US" dirty="0" smtClean="0">
                <a:latin typeface="Arial" panose="020B0604020202020204" pitchFamily="34" charset="0"/>
                <a:cs typeface="Arial" panose="020B0604020202020204" pitchFamily="34" charset="0"/>
              </a:rPr>
              <a:t>13% for generics</a:t>
            </a:r>
          </a:p>
          <a:p>
            <a:pPr lvl="1"/>
            <a:r>
              <a:rPr lang="en-US" dirty="0" smtClean="0">
                <a:latin typeface="Arial" panose="020B0604020202020204" pitchFamily="34" charset="0"/>
                <a:cs typeface="Arial" panose="020B0604020202020204" pitchFamily="34" charset="0"/>
              </a:rPr>
              <a:t>17.1% for pediatric and clotting agents</a:t>
            </a:r>
          </a:p>
          <a:p>
            <a:pPr lvl="1"/>
            <a:r>
              <a:rPr lang="en-US" dirty="0" smtClean="0">
                <a:latin typeface="Arial" panose="020B0604020202020204" pitchFamily="34" charset="0"/>
                <a:cs typeface="Arial" panose="020B0604020202020204" pitchFamily="34" charset="0"/>
              </a:rPr>
              <a:t>23.1% for brand names</a:t>
            </a:r>
          </a:p>
          <a:p>
            <a:pPr>
              <a:buFont typeface="Wingdings" panose="05000000000000000000" pitchFamily="2" charset="2"/>
              <a:buChar char="v"/>
            </a:pPr>
            <a:r>
              <a:rPr lang="en-US" dirty="0" smtClean="0">
                <a:latin typeface="Arial" panose="020B0604020202020204" pitchFamily="34" charset="0"/>
                <a:cs typeface="Arial" panose="020B0604020202020204" pitchFamily="34" charset="0"/>
              </a:rPr>
              <a:t>Supplemental rebates are negotiated at the state level generally when there is market competition</a:t>
            </a:r>
          </a:p>
          <a:p>
            <a:pPr>
              <a:buFont typeface="Wingdings" panose="05000000000000000000" pitchFamily="2" charset="2"/>
              <a:buChar char="v"/>
            </a:pPr>
            <a:r>
              <a:rPr lang="en-US" dirty="0">
                <a:latin typeface="Arial" panose="020B0604020202020204" pitchFamily="34" charset="0"/>
                <a:cs typeface="Arial" panose="020B0604020202020204" pitchFamily="34" charset="0"/>
              </a:rPr>
              <a:t>Cost to GR:  $80,745.00 </a:t>
            </a:r>
          </a:p>
          <a:p>
            <a:endParaRPr lang="en-US" dirty="0"/>
          </a:p>
        </p:txBody>
      </p:sp>
      <p:sp>
        <p:nvSpPr>
          <p:cNvPr id="6" name="TextBox 5"/>
          <p:cNvSpPr txBox="1"/>
          <p:nvPr/>
        </p:nvSpPr>
        <p:spPr>
          <a:xfrm>
            <a:off x="2057401" y="6172200"/>
            <a:ext cx="4095993"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Federal State Split is blended at 65/35</a:t>
            </a:r>
          </a:p>
        </p:txBody>
      </p:sp>
    </p:spTree>
    <p:extLst>
      <p:ext uri="{BB962C8B-B14F-4D97-AF65-F5344CB8AC3E}">
        <p14:creationId xmlns:p14="http://schemas.microsoft.com/office/powerpoint/2010/main" val="38117421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Legislative update</a:t>
            </a:r>
            <a:endParaRPr lang="en-US" dirty="0"/>
          </a:p>
        </p:txBody>
      </p:sp>
    </p:spTree>
    <p:extLst>
      <p:ext uri="{BB962C8B-B14F-4D97-AF65-F5344CB8AC3E}">
        <p14:creationId xmlns:p14="http://schemas.microsoft.com/office/powerpoint/2010/main" val="673898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smtClean="0"/>
              <a:t>budget update</a:t>
            </a:r>
            <a:endParaRPr lang="en-US" dirty="0"/>
          </a:p>
        </p:txBody>
      </p:sp>
    </p:spTree>
    <p:extLst>
      <p:ext uri="{BB962C8B-B14F-4D97-AF65-F5344CB8AC3E}">
        <p14:creationId xmlns:p14="http://schemas.microsoft.com/office/powerpoint/2010/main" val="4111256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00" y="243098"/>
            <a:ext cx="2743200" cy="616417"/>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1000" y="243098"/>
            <a:ext cx="2362200" cy="802861"/>
          </a:xfrm>
          <a:prstGeom prst="rect">
            <a:avLst/>
          </a:prstGeom>
        </p:spPr>
      </p:pic>
      <p:sp>
        <p:nvSpPr>
          <p:cNvPr id="8" name="Title 1"/>
          <p:cNvSpPr>
            <a:spLocks noGrp="1"/>
          </p:cNvSpPr>
          <p:nvPr>
            <p:ph type="ctrTitle"/>
          </p:nvPr>
        </p:nvSpPr>
        <p:spPr>
          <a:xfrm>
            <a:off x="1828800" y="1371601"/>
            <a:ext cx="8534400" cy="2971799"/>
          </a:xfrm>
        </p:spPr>
        <p:txBody>
          <a:bodyPr>
            <a:noAutofit/>
          </a:bodyPr>
          <a:lstStyle/>
          <a:p>
            <a:pPr algn="ctr"/>
            <a:r>
              <a:rPr lang="en-US" sz="4000" b="1" cap="none" dirty="0">
                <a:solidFill>
                  <a:schemeClr val="accent3"/>
                </a:solidFill>
                <a:latin typeface="Century Gothic" panose="020B0502020202020204" pitchFamily="34" charset="0"/>
              </a:rPr>
              <a:t>MO HealthNet Budget Request</a:t>
            </a:r>
            <a:r>
              <a:rPr lang="en-US" sz="4400" b="1" cap="none" dirty="0">
                <a:solidFill>
                  <a:schemeClr val="accent3"/>
                </a:solidFill>
                <a:latin typeface="Century Gothic" panose="020B0502020202020204" pitchFamily="34" charset="0"/>
              </a:rPr>
              <a:t/>
            </a:r>
            <a:br>
              <a:rPr lang="en-US" sz="44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1000" b="1" cap="none" dirty="0">
                <a:solidFill>
                  <a:schemeClr val="accent3"/>
                </a:solidFill>
                <a:latin typeface="Century Gothic" panose="020B0502020202020204" pitchFamily="34" charset="0"/>
              </a:rPr>
              <a:t/>
            </a:r>
            <a:br>
              <a:rPr lang="en-US" sz="1000" b="1" cap="none" dirty="0">
                <a:solidFill>
                  <a:schemeClr val="accent3"/>
                </a:solidFill>
                <a:latin typeface="Century Gothic" panose="020B0502020202020204" pitchFamily="34" charset="0"/>
              </a:rPr>
            </a:br>
            <a:r>
              <a:rPr lang="en-US" sz="2800" b="1" cap="none" dirty="0">
                <a:solidFill>
                  <a:schemeClr val="accent3"/>
                </a:solidFill>
                <a:latin typeface="Century Gothic" panose="020B0502020202020204" pitchFamily="34" charset="0"/>
              </a:rPr>
              <a:t>State Fiscal Year (SFY) 2022</a:t>
            </a:r>
            <a:r>
              <a:rPr lang="en-US" sz="900" b="1" cap="none" dirty="0">
                <a:solidFill>
                  <a:schemeClr val="accent3"/>
                </a:solidFill>
                <a:latin typeface="Century Gothic" panose="020B0502020202020204" pitchFamily="34" charset="0"/>
              </a:rPr>
              <a:t/>
            </a:r>
            <a:br>
              <a:rPr lang="en-US" sz="900" b="1" cap="none" dirty="0">
                <a:solidFill>
                  <a:schemeClr val="accent3"/>
                </a:solidFill>
                <a:latin typeface="Century Gothic" panose="020B0502020202020204" pitchFamily="34" charset="0"/>
              </a:rPr>
            </a:br>
            <a:r>
              <a:rPr lang="en-US" sz="3200" b="1" cap="none" dirty="0">
                <a:solidFill>
                  <a:schemeClr val="accent3"/>
                </a:solidFill>
                <a:latin typeface="Century Gothic" panose="020B0502020202020204" pitchFamily="34" charset="0"/>
              </a:rPr>
              <a:t/>
            </a:r>
            <a:br>
              <a:rPr lang="en-US" sz="3200" b="1" cap="none" dirty="0">
                <a:solidFill>
                  <a:schemeClr val="accent3"/>
                </a:solidFill>
                <a:latin typeface="Century Gothic" panose="020B0502020202020204" pitchFamily="34" charset="0"/>
              </a:rPr>
            </a:br>
            <a:r>
              <a:rPr lang="en-US" sz="2400" b="1" cap="none" dirty="0">
                <a:solidFill>
                  <a:schemeClr val="accent3"/>
                </a:solidFill>
                <a:latin typeface="Century Gothic" panose="020B0502020202020204" pitchFamily="34" charset="0"/>
              </a:rPr>
              <a:t>February 4, 2021</a:t>
            </a:r>
            <a:endParaRPr lang="en-US" sz="2400" b="1" i="1" cap="small" dirty="0">
              <a:solidFill>
                <a:schemeClr val="accent3"/>
              </a:solidFill>
            </a:endParaRPr>
          </a:p>
        </p:txBody>
      </p:sp>
    </p:spTree>
    <p:extLst>
      <p:ext uri="{BB962C8B-B14F-4D97-AF65-F5344CB8AC3E}">
        <p14:creationId xmlns:p14="http://schemas.microsoft.com/office/powerpoint/2010/main" val="7543332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524000"/>
          </a:xfrm>
        </p:spPr>
        <p:txBody>
          <a:bodyPr/>
          <a:lstStyle/>
          <a:p>
            <a:pPr algn="ctr"/>
            <a:r>
              <a:rPr lang="en-US" dirty="0" err="1" smtClean="0"/>
              <a:t>COVID</a:t>
            </a:r>
            <a:r>
              <a:rPr lang="en-US" dirty="0" smtClean="0"/>
              <a:t> UPDATE</a:t>
            </a:r>
            <a:endParaRPr lang="en-US" dirty="0"/>
          </a:p>
        </p:txBody>
      </p:sp>
    </p:spTree>
    <p:extLst>
      <p:ext uri="{BB962C8B-B14F-4D97-AF65-F5344CB8AC3E}">
        <p14:creationId xmlns:p14="http://schemas.microsoft.com/office/powerpoint/2010/main" val="35259883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50</a:t>
            </a:fld>
            <a:endParaRPr lang="en-US" dirty="0">
              <a:latin typeface="Palatino Linotype"/>
            </a:endParaRPr>
          </a:p>
        </p:txBody>
      </p:sp>
      <p:sp>
        <p:nvSpPr>
          <p:cNvPr id="6" name="Title 3"/>
          <p:cNvSpPr txBox="1">
            <a:spLocks/>
          </p:cNvSpPr>
          <p:nvPr/>
        </p:nvSpPr>
        <p:spPr>
          <a:xfrm>
            <a:off x="1906464" y="418154"/>
            <a:ext cx="7886700" cy="679262"/>
          </a:xfrm>
          <a:prstGeom prst="rect">
            <a:avLst/>
          </a:prstGeom>
        </p:spPr>
        <p:txBody>
          <a:bodyPr vert="horz" lIns="0" tIns="45720" rIns="0" bIns="45720" rtlCol="0" anchor="ctr">
            <a:normAutofit fontScale="77500" lnSpcReduction="2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solidFill>
                  <a:srgbClr val="1B587C"/>
                </a:solidFill>
                <a:latin typeface="+mj-lt"/>
              </a:rPr>
              <a:t>MO HealthNet (MHD) Supplemental Request </a:t>
            </a:r>
          </a:p>
          <a:p>
            <a:pPr algn="ctr">
              <a:defRPr/>
            </a:pPr>
            <a:r>
              <a:rPr lang="en-US" sz="2200" b="1" dirty="0">
                <a:solidFill>
                  <a:srgbClr val="1B587C"/>
                </a:solidFill>
                <a:latin typeface="+mj-lt"/>
              </a:rPr>
              <a:t>State Fiscal Year (SFY) 2021</a:t>
            </a:r>
          </a:p>
        </p:txBody>
      </p:sp>
      <p:graphicFrame>
        <p:nvGraphicFramePr>
          <p:cNvPr id="3" name="Table 2"/>
          <p:cNvGraphicFramePr>
            <a:graphicFrameLocks noGrp="1"/>
          </p:cNvGraphicFramePr>
          <p:nvPr>
            <p:extLst/>
          </p:nvPr>
        </p:nvGraphicFramePr>
        <p:xfrm>
          <a:off x="1676401" y="1317331"/>
          <a:ext cx="8762998" cy="3691620"/>
        </p:xfrm>
        <a:graphic>
          <a:graphicData uri="http://schemas.openxmlformats.org/drawingml/2006/table">
            <a:tbl>
              <a:tblPr firstRow="1" bandRow="1">
                <a:tableStyleId>{5C22544A-7EE6-4342-B048-85BDC9FD1C3A}</a:tableStyleId>
              </a:tblPr>
              <a:tblGrid>
                <a:gridCol w="4710030">
                  <a:extLst>
                    <a:ext uri="{9D8B030D-6E8A-4147-A177-3AD203B41FA5}">
                      <a16:colId xmlns:a16="http://schemas.microsoft.com/office/drawing/2014/main" val="2254087457"/>
                    </a:ext>
                  </a:extLst>
                </a:gridCol>
                <a:gridCol w="243388">
                  <a:extLst>
                    <a:ext uri="{9D8B030D-6E8A-4147-A177-3AD203B41FA5}">
                      <a16:colId xmlns:a16="http://schemas.microsoft.com/office/drawing/2014/main" val="1525212573"/>
                    </a:ext>
                  </a:extLst>
                </a:gridCol>
                <a:gridCol w="900447">
                  <a:extLst>
                    <a:ext uri="{9D8B030D-6E8A-4147-A177-3AD203B41FA5}">
                      <a16:colId xmlns:a16="http://schemas.microsoft.com/office/drawing/2014/main" val="2781833281"/>
                    </a:ext>
                  </a:extLst>
                </a:gridCol>
                <a:gridCol w="969711">
                  <a:extLst>
                    <a:ext uri="{9D8B030D-6E8A-4147-A177-3AD203B41FA5}">
                      <a16:colId xmlns:a16="http://schemas.microsoft.com/office/drawing/2014/main" val="1036983455"/>
                    </a:ext>
                  </a:extLst>
                </a:gridCol>
                <a:gridCol w="969711">
                  <a:extLst>
                    <a:ext uri="{9D8B030D-6E8A-4147-A177-3AD203B41FA5}">
                      <a16:colId xmlns:a16="http://schemas.microsoft.com/office/drawing/2014/main" val="1947252596"/>
                    </a:ext>
                  </a:extLst>
                </a:gridCol>
                <a:gridCol w="969711">
                  <a:extLst>
                    <a:ext uri="{9D8B030D-6E8A-4147-A177-3AD203B41FA5}">
                      <a16:colId xmlns:a16="http://schemas.microsoft.com/office/drawing/2014/main" val="2686606896"/>
                    </a:ext>
                  </a:extLst>
                </a:gridCol>
              </a:tblGrid>
              <a:tr h="359069">
                <a:tc gridSpan="6">
                  <a:txBody>
                    <a:bodyPr/>
                    <a:lstStyle/>
                    <a:p>
                      <a:pPr algn="ctr"/>
                      <a:r>
                        <a:rPr lang="en-US" sz="1800" dirty="0">
                          <a:latin typeface="Calibri" panose="020F0502020204030204" pitchFamily="34" charset="0"/>
                          <a:cs typeface="Calibri" panose="020F0502020204030204" pitchFamily="34" charset="0"/>
                        </a:rPr>
                        <a:t>SFY</a:t>
                      </a:r>
                      <a:r>
                        <a:rPr lang="en-US" sz="1800" baseline="0" dirty="0">
                          <a:latin typeface="Calibri" panose="020F0502020204030204" pitchFamily="34" charset="0"/>
                          <a:cs typeface="Calibri" panose="020F0502020204030204" pitchFamily="34" charset="0"/>
                        </a:rPr>
                        <a:t> 2021 Supplemental Department Request</a:t>
                      </a:r>
                      <a:endParaRPr lang="en-US" sz="1800" dirty="0">
                        <a:latin typeface="Calibri" panose="020F0502020204030204" pitchFamily="34" charset="0"/>
                        <a:cs typeface="Calibri" panose="020F0502020204030204" pitchFamily="34" charset="0"/>
                      </a:endParaRP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213566347"/>
                  </a:ext>
                </a:extLst>
              </a:tr>
              <a:tr h="298109">
                <a:tc>
                  <a:txBody>
                    <a:bodyPr/>
                    <a:lstStyle/>
                    <a:p>
                      <a:pPr algn="l"/>
                      <a:endParaRPr lang="en-US" sz="1600" b="1" dirty="0">
                        <a:latin typeface="Calibri" panose="020F0502020204030204" pitchFamily="34" charset="0"/>
                        <a:cs typeface="Calibri" panose="020F0502020204030204" pitchFamily="34" charset="0"/>
                      </a:endParaRP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Dept Req</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ov Rec</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1462249222"/>
                  </a:ext>
                </a:extLst>
              </a:tr>
              <a:tr h="313349">
                <a:tc>
                  <a:txBody>
                    <a:bodyPr/>
                    <a:lstStyle/>
                    <a:p>
                      <a:pPr algn="l"/>
                      <a:r>
                        <a:rPr lang="en-US" sz="1600" b="1" dirty="0">
                          <a:latin typeface="Calibri" panose="020F0502020204030204" pitchFamily="34" charset="0"/>
                          <a:cs typeface="Calibri" panose="020F0502020204030204" pitchFamily="34" charset="0"/>
                        </a:rPr>
                        <a:t>Requests</a:t>
                      </a: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extLst>
                  <a:ext uri="{0D108BD9-81ED-4DB2-BD59-A6C34878D82A}">
                    <a16:rowId xmlns:a16="http://schemas.microsoft.com/office/drawing/2014/main" val="3508809717"/>
                  </a:ext>
                </a:extLst>
              </a:tr>
              <a:tr h="415236">
                <a:tc>
                  <a:txBody>
                    <a:bodyPr/>
                    <a:lstStyle/>
                    <a:p>
                      <a:r>
                        <a:rPr lang="en-US" sz="1600" dirty="0">
                          <a:latin typeface="Calibri" panose="020F0502020204030204" pitchFamily="34" charset="0"/>
                          <a:cs typeface="Calibri" panose="020F0502020204030204" pitchFamily="34" charset="0"/>
                        </a:rPr>
                        <a:t>MHD SFY</a:t>
                      </a:r>
                      <a:r>
                        <a:rPr lang="en-US" sz="1600" baseline="0" dirty="0">
                          <a:latin typeface="Calibri" panose="020F0502020204030204" pitchFamily="34" charset="0"/>
                          <a:cs typeface="Calibri" panose="020F0502020204030204" pitchFamily="34" charset="0"/>
                        </a:rPr>
                        <a:t> 2020 Supplemental</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400" dirty="0">
                          <a:latin typeface="Calibri" panose="020F0502020204030204" pitchFamily="34" charset="0"/>
                          <a:cs typeface="Calibri" panose="020F0502020204030204" pitchFamily="34" charset="0"/>
                        </a:rPr>
                        <a:t>$227.7</a:t>
                      </a:r>
                      <a:r>
                        <a:rPr lang="en-US" sz="1400" baseline="0" dirty="0">
                          <a:latin typeface="Calibri" panose="020F0502020204030204" pitchFamily="34" charset="0"/>
                          <a:cs typeface="Calibri" panose="020F0502020204030204" pitchFamily="34" charset="0"/>
                        </a:rPr>
                        <a:t>M</a:t>
                      </a:r>
                      <a:endParaRPr lang="en-US" sz="1400" dirty="0">
                        <a:latin typeface="Calibri" panose="020F0502020204030204" pitchFamily="34" charset="0"/>
                        <a:cs typeface="Calibri" panose="020F0502020204030204" pitchFamily="34" charset="0"/>
                      </a:endParaRPr>
                    </a:p>
                  </a:txBody>
                  <a:tcPr/>
                </a:tc>
                <a:tc>
                  <a:txBody>
                    <a:bodyPr/>
                    <a:lstStyle/>
                    <a:p>
                      <a:pPr algn="r"/>
                      <a:r>
                        <a:rPr lang="en-US" sz="1400" dirty="0">
                          <a:latin typeface="Calibri" panose="020F0502020204030204" pitchFamily="34" charset="0"/>
                          <a:cs typeface="Calibri" panose="020F0502020204030204" pitchFamily="34" charset="0"/>
                        </a:rPr>
                        <a:t>$721.1M</a:t>
                      </a:r>
                    </a:p>
                  </a:txBody>
                  <a:tcPr/>
                </a:tc>
                <a:tc>
                  <a:txBody>
                    <a:bodyPr/>
                    <a:lstStyle/>
                    <a:p>
                      <a:pPr algn="r"/>
                      <a:r>
                        <a:rPr lang="en-US" sz="1400" dirty="0" smtClean="0">
                          <a:latin typeface="Calibri" panose="020F0502020204030204" pitchFamily="34" charset="0"/>
                          <a:cs typeface="Calibri" panose="020F0502020204030204" pitchFamily="34" charset="0"/>
                        </a:rPr>
                        <a:t>$222.5M</a:t>
                      </a:r>
                      <a:endParaRPr lang="en-US" sz="1400" dirty="0">
                        <a:latin typeface="Calibri" panose="020F0502020204030204" pitchFamily="34" charset="0"/>
                        <a:cs typeface="Calibri" panose="020F0502020204030204" pitchFamily="34" charset="0"/>
                      </a:endParaRPr>
                    </a:p>
                  </a:txBody>
                  <a:tcPr/>
                </a:tc>
                <a:tc>
                  <a:txBody>
                    <a:bodyPr/>
                    <a:lstStyle/>
                    <a:p>
                      <a:pPr algn="r"/>
                      <a:r>
                        <a:rPr lang="en-US" sz="1400" dirty="0" smtClean="0">
                          <a:latin typeface="Calibri" panose="020F0502020204030204" pitchFamily="34" charset="0"/>
                          <a:cs typeface="Calibri" panose="020F0502020204030204" pitchFamily="34" charset="0"/>
                        </a:rPr>
                        <a:t>$700.6M</a:t>
                      </a:r>
                      <a:endParaRPr lang="en-US" sz="14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669514653"/>
                  </a:ext>
                </a:extLst>
              </a:tr>
              <a:tr h="415236">
                <a:tc>
                  <a:txBody>
                    <a:bodyPr/>
                    <a:lstStyle/>
                    <a:p>
                      <a:r>
                        <a:rPr lang="en-US" sz="1600" i="1" dirty="0">
                          <a:latin typeface="Calibri" panose="020F0502020204030204" pitchFamily="34" charset="0"/>
                          <a:cs typeface="Calibri" panose="020F0502020204030204" pitchFamily="34" charset="0"/>
                        </a:rPr>
                        <a:t>Amount related to Public Health Emergency Requirements (included in total above)</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400" i="1" dirty="0">
                          <a:latin typeface="Calibri" panose="020F0502020204030204" pitchFamily="34" charset="0"/>
                          <a:cs typeface="Calibri" panose="020F0502020204030204" pitchFamily="34" charset="0"/>
                        </a:rPr>
                        <a:t>$198.5M</a:t>
                      </a:r>
                    </a:p>
                  </a:txBody>
                  <a:tcPr/>
                </a:tc>
                <a:tc>
                  <a:txBody>
                    <a:bodyPr/>
                    <a:lstStyle/>
                    <a:p>
                      <a:pPr algn="r"/>
                      <a:r>
                        <a:rPr lang="en-US" sz="1400" i="1" dirty="0">
                          <a:latin typeface="Calibri" panose="020F0502020204030204" pitchFamily="34" charset="0"/>
                          <a:cs typeface="Calibri" panose="020F0502020204030204" pitchFamily="34" charset="0"/>
                        </a:rPr>
                        <a:t>$582.4M</a:t>
                      </a:r>
                    </a:p>
                  </a:txBody>
                  <a:tcPr/>
                </a:tc>
                <a:tc>
                  <a:txBody>
                    <a:bodyPr/>
                    <a:lstStyle/>
                    <a:p>
                      <a:pPr algn="r"/>
                      <a:r>
                        <a:rPr lang="en-US" sz="1400" i="1" dirty="0" smtClean="0">
                          <a:latin typeface="Calibri" panose="020F0502020204030204" pitchFamily="34" charset="0"/>
                          <a:cs typeface="Calibri" panose="020F0502020204030204" pitchFamily="34" charset="0"/>
                        </a:rPr>
                        <a:t>$199.0M</a:t>
                      </a:r>
                      <a:endParaRPr lang="en-US" sz="1400" i="1" dirty="0">
                        <a:latin typeface="Calibri" panose="020F0502020204030204" pitchFamily="34" charset="0"/>
                        <a:cs typeface="Calibri" panose="020F0502020204030204" pitchFamily="34" charset="0"/>
                      </a:endParaRPr>
                    </a:p>
                  </a:txBody>
                  <a:tcPr/>
                </a:tc>
                <a:tc>
                  <a:txBody>
                    <a:bodyPr/>
                    <a:lstStyle/>
                    <a:p>
                      <a:pPr algn="r"/>
                      <a:r>
                        <a:rPr lang="en-US" sz="1400" i="1" dirty="0" smtClean="0">
                          <a:latin typeface="Calibri" panose="020F0502020204030204" pitchFamily="34" charset="0"/>
                          <a:cs typeface="Calibri" panose="020F0502020204030204" pitchFamily="34" charset="0"/>
                        </a:rPr>
                        <a:t>$598.1M</a:t>
                      </a:r>
                      <a:endParaRPr lang="en-US" sz="1400" i="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2135348"/>
                  </a:ext>
                </a:extLst>
              </a:tr>
              <a:tr h="415236">
                <a:tc>
                  <a:txBody>
                    <a:bodyPr/>
                    <a:lstStyle/>
                    <a:p>
                      <a:r>
                        <a:rPr lang="en-US" sz="1600" dirty="0">
                          <a:latin typeface="Calibri" panose="020F0502020204030204" pitchFamily="34" charset="0"/>
                          <a:cs typeface="Calibri" panose="020F0502020204030204" pitchFamily="34" charset="0"/>
                        </a:rPr>
                        <a:t>AFRA Fund Authority (Ambulance Rate Increase)</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400" dirty="0">
                          <a:latin typeface="Calibri" panose="020F0502020204030204" pitchFamily="34" charset="0"/>
                          <a:cs typeface="Calibri" panose="020F0502020204030204" pitchFamily="34" charset="0"/>
                        </a:rPr>
                        <a:t>$0.0M</a:t>
                      </a:r>
                    </a:p>
                  </a:txBody>
                  <a:tcPr/>
                </a:tc>
                <a:tc>
                  <a:txBody>
                    <a:bodyPr/>
                    <a:lstStyle/>
                    <a:p>
                      <a:pPr algn="r"/>
                      <a:r>
                        <a:rPr lang="en-US" sz="1400" dirty="0">
                          <a:latin typeface="Calibri" panose="020F0502020204030204" pitchFamily="34" charset="0"/>
                          <a:cs typeface="Calibri" panose="020F0502020204030204" pitchFamily="34" charset="0"/>
                        </a:rPr>
                        <a:t>$1.5M</a:t>
                      </a:r>
                    </a:p>
                  </a:txBody>
                  <a:tcPr/>
                </a:tc>
                <a:tc>
                  <a:txBody>
                    <a:bodyPr/>
                    <a:lstStyle/>
                    <a:p>
                      <a:pPr algn="r"/>
                      <a:r>
                        <a:rPr lang="en-US" sz="1400" dirty="0">
                          <a:latin typeface="Calibri" panose="020F0502020204030204" pitchFamily="34" charset="0"/>
                          <a:cs typeface="Calibri" panose="020F0502020204030204" pitchFamily="34" charset="0"/>
                        </a:rPr>
                        <a:t>$0.0M</a:t>
                      </a:r>
                    </a:p>
                  </a:txBody>
                  <a:tcPr/>
                </a:tc>
                <a:tc>
                  <a:txBody>
                    <a:bodyPr/>
                    <a:lstStyle/>
                    <a:p>
                      <a:pPr algn="r"/>
                      <a:r>
                        <a:rPr lang="en-US" sz="1400" dirty="0">
                          <a:latin typeface="Calibri" panose="020F0502020204030204" pitchFamily="34" charset="0"/>
                          <a:cs typeface="Calibri" panose="020F0502020204030204" pitchFamily="34" charset="0"/>
                        </a:rPr>
                        <a:t>$1.5M</a:t>
                      </a:r>
                    </a:p>
                  </a:txBody>
                  <a:tcPr/>
                </a:tc>
                <a:extLst>
                  <a:ext uri="{0D108BD9-81ED-4DB2-BD59-A6C34878D82A}">
                    <a16:rowId xmlns:a16="http://schemas.microsoft.com/office/drawing/2014/main" val="3315909834"/>
                  </a:ext>
                </a:extLst>
              </a:tr>
              <a:tr h="415236">
                <a:tc>
                  <a:txBody>
                    <a:bodyPr/>
                    <a:lstStyle/>
                    <a:p>
                      <a:r>
                        <a:rPr lang="en-US" sz="1600" dirty="0">
                          <a:latin typeface="Calibri" panose="020F0502020204030204" pitchFamily="34" charset="0"/>
                          <a:cs typeface="Calibri" panose="020F0502020204030204" pitchFamily="34" charset="0"/>
                        </a:rPr>
                        <a:t>Tobacco Shortfall GR Pickup</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400" dirty="0">
                          <a:latin typeface="Calibri" panose="020F0502020204030204" pitchFamily="34" charset="0"/>
                          <a:cs typeface="Calibri" panose="020F0502020204030204" pitchFamily="34" charset="0"/>
                        </a:rPr>
                        <a:t>$16.8M</a:t>
                      </a:r>
                    </a:p>
                  </a:txBody>
                  <a:tcPr/>
                </a:tc>
                <a:tc>
                  <a:txBody>
                    <a:bodyPr/>
                    <a:lstStyle/>
                    <a:p>
                      <a:pPr algn="r"/>
                      <a:r>
                        <a:rPr lang="en-US" sz="1400" dirty="0">
                          <a:latin typeface="Calibri" panose="020F0502020204030204" pitchFamily="34" charset="0"/>
                          <a:cs typeface="Calibri" panose="020F0502020204030204" pitchFamily="34" charset="0"/>
                        </a:rPr>
                        <a:t>$16.8M</a:t>
                      </a:r>
                    </a:p>
                  </a:txBody>
                  <a:tcPr/>
                </a:tc>
                <a:tc>
                  <a:txBody>
                    <a:bodyPr/>
                    <a:lstStyle/>
                    <a:p>
                      <a:pPr algn="r"/>
                      <a:r>
                        <a:rPr lang="en-US" sz="1400" dirty="0">
                          <a:latin typeface="Calibri" panose="020F0502020204030204" pitchFamily="34" charset="0"/>
                          <a:cs typeface="Calibri" panose="020F0502020204030204" pitchFamily="34" charset="0"/>
                        </a:rPr>
                        <a:t>$16.8M</a:t>
                      </a:r>
                    </a:p>
                  </a:txBody>
                  <a:tcPr/>
                </a:tc>
                <a:tc>
                  <a:txBody>
                    <a:bodyPr/>
                    <a:lstStyle/>
                    <a:p>
                      <a:pPr algn="r"/>
                      <a:r>
                        <a:rPr lang="en-US" sz="1400" dirty="0">
                          <a:latin typeface="Calibri" panose="020F0502020204030204" pitchFamily="34" charset="0"/>
                          <a:cs typeface="Calibri" panose="020F0502020204030204" pitchFamily="34" charset="0"/>
                        </a:rPr>
                        <a:t>$16.8M</a:t>
                      </a:r>
                    </a:p>
                  </a:txBody>
                  <a:tcPr/>
                </a:tc>
                <a:extLst>
                  <a:ext uri="{0D108BD9-81ED-4DB2-BD59-A6C34878D82A}">
                    <a16:rowId xmlns:a16="http://schemas.microsoft.com/office/drawing/2014/main" val="2780961863"/>
                  </a:ext>
                </a:extLst>
              </a:tr>
              <a:tr h="415236">
                <a:tc>
                  <a:txBody>
                    <a:bodyPr/>
                    <a:lstStyle/>
                    <a:p>
                      <a:r>
                        <a:rPr lang="en-US" sz="1600" dirty="0">
                          <a:latin typeface="Calibri" panose="020F0502020204030204" pitchFamily="34" charset="0"/>
                          <a:cs typeface="Calibri" panose="020F0502020204030204" pitchFamily="34" charset="0"/>
                        </a:rPr>
                        <a:t>PFRA Fund </a:t>
                      </a:r>
                      <a:r>
                        <a:rPr lang="en-US" sz="1600" dirty="0" smtClean="0">
                          <a:latin typeface="Calibri" panose="020F0502020204030204" pitchFamily="34" charset="0"/>
                          <a:cs typeface="Calibri" panose="020F0502020204030204" pitchFamily="34" charset="0"/>
                        </a:rPr>
                        <a:t>Authority*</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400" dirty="0">
                          <a:latin typeface="Calibri" panose="020F0502020204030204" pitchFamily="34" charset="0"/>
                          <a:cs typeface="Calibri" panose="020F0502020204030204" pitchFamily="34" charset="0"/>
                        </a:rPr>
                        <a:t>$0.0M</a:t>
                      </a:r>
                    </a:p>
                  </a:txBody>
                  <a:tcPr/>
                </a:tc>
                <a:tc>
                  <a:txBody>
                    <a:bodyPr/>
                    <a:lstStyle/>
                    <a:p>
                      <a:pPr algn="r"/>
                      <a:r>
                        <a:rPr lang="en-US" sz="1400" dirty="0">
                          <a:latin typeface="Calibri" panose="020F0502020204030204" pitchFamily="34" charset="0"/>
                          <a:cs typeface="Calibri" panose="020F0502020204030204" pitchFamily="34" charset="0"/>
                        </a:rPr>
                        <a:t>$93.0M</a:t>
                      </a:r>
                    </a:p>
                  </a:txBody>
                  <a:tcPr/>
                </a:tc>
                <a:tc>
                  <a:txBody>
                    <a:bodyPr/>
                    <a:lstStyle/>
                    <a:p>
                      <a:pPr algn="r"/>
                      <a:r>
                        <a:rPr lang="en-US" sz="1400" dirty="0">
                          <a:latin typeface="Calibri" panose="020F0502020204030204" pitchFamily="34" charset="0"/>
                          <a:cs typeface="Calibri" panose="020F0502020204030204" pitchFamily="34" charset="0"/>
                        </a:rPr>
                        <a:t>$0.0M</a:t>
                      </a:r>
                    </a:p>
                  </a:txBody>
                  <a:tcPr/>
                </a:tc>
                <a:tc>
                  <a:txBody>
                    <a:bodyPr/>
                    <a:lstStyle/>
                    <a:p>
                      <a:pPr algn="r"/>
                      <a:r>
                        <a:rPr lang="en-US" sz="1400" dirty="0">
                          <a:latin typeface="Calibri" panose="020F0502020204030204" pitchFamily="34" charset="0"/>
                          <a:cs typeface="Calibri" panose="020F0502020204030204" pitchFamily="34" charset="0"/>
                        </a:rPr>
                        <a:t>$93.0M</a:t>
                      </a:r>
                    </a:p>
                  </a:txBody>
                  <a:tcPr/>
                </a:tc>
                <a:extLst>
                  <a:ext uri="{0D108BD9-81ED-4DB2-BD59-A6C34878D82A}">
                    <a16:rowId xmlns:a16="http://schemas.microsoft.com/office/drawing/2014/main" val="1800645877"/>
                  </a:ext>
                </a:extLst>
              </a:tr>
              <a:tr h="4152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latin typeface="Calibri" panose="020F0502020204030204" pitchFamily="34" charset="0"/>
                          <a:cs typeface="Calibri" panose="020F0502020204030204" pitchFamily="34" charset="0"/>
                        </a:rPr>
                        <a:t>Total</a:t>
                      </a:r>
                    </a:p>
                  </a:txBody>
                  <a:tcPr/>
                </a:tc>
                <a:tc>
                  <a:txBody>
                    <a:bodyPr/>
                    <a:lstStyle/>
                    <a:p>
                      <a:pPr algn="ctr"/>
                      <a:endParaRPr lang="en-US" sz="1600" kern="1200" dirty="0">
                        <a:solidFill>
                          <a:schemeClr val="dk1"/>
                        </a:solidFill>
                        <a:latin typeface="Calibri" panose="020F0502020204030204" pitchFamily="34" charset="0"/>
                        <a:ea typeface="+mn-ea"/>
                        <a:cs typeface="Calibri" panose="020F0502020204030204" pitchFamily="34" charset="0"/>
                      </a:endParaRPr>
                    </a:p>
                  </a:txBody>
                  <a:tcPr/>
                </a:tc>
                <a:tc>
                  <a:txBody>
                    <a:bodyPr/>
                    <a:lstStyle/>
                    <a:p>
                      <a:pPr algn="r"/>
                      <a:r>
                        <a:rPr lang="en-US" sz="1400" kern="1200" dirty="0">
                          <a:solidFill>
                            <a:schemeClr val="dk1"/>
                          </a:solidFill>
                          <a:latin typeface="Calibri" panose="020F0502020204030204" pitchFamily="34" charset="0"/>
                          <a:ea typeface="+mn-ea"/>
                          <a:cs typeface="Calibri" panose="020F0502020204030204" pitchFamily="34" charset="0"/>
                        </a:rPr>
                        <a:t>$244.5M</a:t>
                      </a:r>
                    </a:p>
                  </a:txBody>
                  <a:tcPr/>
                </a:tc>
                <a:tc>
                  <a:txBody>
                    <a:bodyPr/>
                    <a:lstStyle/>
                    <a:p>
                      <a:pPr algn="r"/>
                      <a:r>
                        <a:rPr lang="en-US" sz="1400" kern="1200" dirty="0" smtClean="0">
                          <a:solidFill>
                            <a:schemeClr val="dk1"/>
                          </a:solidFill>
                          <a:latin typeface="Calibri" panose="020F0502020204030204" pitchFamily="34" charset="0"/>
                          <a:ea typeface="+mn-ea"/>
                          <a:cs typeface="Calibri" panose="020F0502020204030204" pitchFamily="34" charset="0"/>
                        </a:rPr>
                        <a:t>$832.4M</a:t>
                      </a:r>
                      <a:endParaRPr lang="en-US" sz="1400" kern="1200" dirty="0">
                        <a:solidFill>
                          <a:schemeClr val="dk1"/>
                        </a:solidFill>
                        <a:latin typeface="Calibri" panose="020F0502020204030204" pitchFamily="34" charset="0"/>
                        <a:ea typeface="+mn-ea"/>
                        <a:cs typeface="Calibri" panose="020F0502020204030204" pitchFamily="34" charset="0"/>
                      </a:endParaRPr>
                    </a:p>
                  </a:txBody>
                  <a:tcPr/>
                </a:tc>
                <a:tc>
                  <a:txBody>
                    <a:bodyPr/>
                    <a:lstStyle/>
                    <a:p>
                      <a:pPr algn="r"/>
                      <a:r>
                        <a:rPr lang="en-US" sz="1400" kern="1200" dirty="0" smtClean="0">
                          <a:solidFill>
                            <a:schemeClr val="dk1"/>
                          </a:solidFill>
                          <a:latin typeface="Calibri" panose="020F0502020204030204" pitchFamily="34" charset="0"/>
                          <a:ea typeface="+mn-ea"/>
                          <a:cs typeface="Calibri" panose="020F0502020204030204" pitchFamily="34" charset="0"/>
                        </a:rPr>
                        <a:t>$239.3M</a:t>
                      </a:r>
                      <a:endParaRPr lang="en-US" sz="1400" kern="1200" dirty="0">
                        <a:solidFill>
                          <a:schemeClr val="dk1"/>
                        </a:solidFill>
                        <a:latin typeface="Calibri" panose="020F0502020204030204" pitchFamily="34" charset="0"/>
                        <a:ea typeface="+mn-ea"/>
                        <a:cs typeface="Calibri" panose="020F0502020204030204" pitchFamily="34" charset="0"/>
                      </a:endParaRPr>
                    </a:p>
                  </a:txBody>
                  <a:tcPr/>
                </a:tc>
                <a:tc>
                  <a:txBody>
                    <a:bodyPr/>
                    <a:lstStyle/>
                    <a:p>
                      <a:pPr algn="r"/>
                      <a:r>
                        <a:rPr lang="en-US" sz="1400" kern="1200" dirty="0" smtClean="0">
                          <a:solidFill>
                            <a:schemeClr val="dk1"/>
                          </a:solidFill>
                          <a:latin typeface="Calibri" panose="020F0502020204030204" pitchFamily="34" charset="0"/>
                          <a:ea typeface="+mn-ea"/>
                          <a:cs typeface="Calibri" panose="020F0502020204030204" pitchFamily="34" charset="0"/>
                        </a:rPr>
                        <a:t>$811.9M</a:t>
                      </a:r>
                      <a:endParaRPr lang="en-US" sz="1400"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3487427387"/>
                  </a:ext>
                </a:extLst>
              </a:tr>
            </a:tbl>
          </a:graphicData>
        </a:graphic>
      </p:graphicFrame>
      <p:sp>
        <p:nvSpPr>
          <p:cNvPr id="11" name="TextBox 10"/>
          <p:cNvSpPr txBox="1"/>
          <p:nvPr/>
        </p:nvSpPr>
        <p:spPr>
          <a:xfrm>
            <a:off x="1676400" y="6255305"/>
            <a:ext cx="51816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Source: </a:t>
            </a:r>
            <a:r>
              <a:rPr lang="en-US" dirty="0">
                <a:solidFill>
                  <a:srgbClr val="000000"/>
                </a:solidFill>
                <a:latin typeface="Calibri" panose="020F0502020204030204" pitchFamily="34" charset="0"/>
              </a:rPr>
              <a:t>https://oa.mo.gov/budget-planning</a:t>
            </a:r>
            <a:endParaRPr lang="en-US" dirty="0">
              <a:latin typeface="Calibri" panose="020F0502020204030204" pitchFamily="34" charset="0"/>
              <a:cs typeface="Calibri" panose="020F0502020204030204" pitchFamily="34" charset="0"/>
            </a:endParaRPr>
          </a:p>
        </p:txBody>
      </p:sp>
      <p:sp>
        <p:nvSpPr>
          <p:cNvPr id="2" name="TextBox 1"/>
          <p:cNvSpPr txBox="1"/>
          <p:nvPr/>
        </p:nvSpPr>
        <p:spPr>
          <a:xfrm>
            <a:off x="1676400" y="5089779"/>
            <a:ext cx="6781800" cy="307777"/>
          </a:xfrm>
          <a:prstGeom prst="rect">
            <a:avLst/>
          </a:prstGeom>
          <a:noFill/>
        </p:spPr>
        <p:txBody>
          <a:bodyPr wrap="square" rtlCol="0">
            <a:spAutoFit/>
          </a:bodyPr>
          <a:lstStyle/>
          <a:p>
            <a:r>
              <a:rPr lang="en-US" sz="1400" dirty="0"/>
              <a:t>*Request was approved in Special Session on Supplemental Appropriations</a:t>
            </a:r>
          </a:p>
        </p:txBody>
      </p:sp>
    </p:spTree>
    <p:extLst>
      <p:ext uri="{BB962C8B-B14F-4D97-AF65-F5344CB8AC3E}">
        <p14:creationId xmlns:p14="http://schemas.microsoft.com/office/powerpoint/2010/main" val="20729286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51</a:t>
            </a:fld>
            <a:endParaRPr lang="en-US" dirty="0">
              <a:latin typeface="Palatino Linotype"/>
            </a:endParaRPr>
          </a:p>
        </p:txBody>
      </p:sp>
      <p:sp>
        <p:nvSpPr>
          <p:cNvPr id="6" name="Title 3"/>
          <p:cNvSpPr txBox="1">
            <a:spLocks/>
          </p:cNvSpPr>
          <p:nvPr/>
        </p:nvSpPr>
        <p:spPr>
          <a:xfrm>
            <a:off x="1906464" y="418154"/>
            <a:ext cx="7886700" cy="679262"/>
          </a:xfrm>
          <a:prstGeom prst="rect">
            <a:avLst/>
          </a:prstGeom>
        </p:spPr>
        <p:txBody>
          <a:bodyPr vert="horz" lIns="0" tIns="45720" rIns="0" bIns="45720" rtlCol="0" anchor="ctr">
            <a:normAutofit fontScale="77500" lnSpcReduction="2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solidFill>
                  <a:srgbClr val="1B587C"/>
                </a:solidFill>
                <a:latin typeface="+mj-lt"/>
              </a:rPr>
              <a:t>MO HealthNet (MHD) Budget Request </a:t>
            </a:r>
          </a:p>
          <a:p>
            <a:pPr algn="ctr">
              <a:defRPr/>
            </a:pPr>
            <a:r>
              <a:rPr lang="en-US" sz="2200" b="1" dirty="0">
                <a:solidFill>
                  <a:srgbClr val="1B587C"/>
                </a:solidFill>
                <a:latin typeface="+mj-lt"/>
              </a:rPr>
              <a:t>State Fiscal Year (SFY) 2022</a:t>
            </a:r>
          </a:p>
        </p:txBody>
      </p:sp>
      <p:graphicFrame>
        <p:nvGraphicFramePr>
          <p:cNvPr id="3" name="Table 2"/>
          <p:cNvGraphicFramePr>
            <a:graphicFrameLocks noGrp="1"/>
          </p:cNvGraphicFramePr>
          <p:nvPr>
            <p:extLst>
              <p:ext uri="{D42A27DB-BD31-4B8C-83A1-F6EECF244321}">
                <p14:modId xmlns:p14="http://schemas.microsoft.com/office/powerpoint/2010/main" val="3625393395"/>
              </p:ext>
            </p:extLst>
          </p:nvPr>
        </p:nvGraphicFramePr>
        <p:xfrm>
          <a:off x="1928236" y="1409701"/>
          <a:ext cx="8393369" cy="4178112"/>
        </p:xfrm>
        <a:graphic>
          <a:graphicData uri="http://schemas.openxmlformats.org/drawingml/2006/table">
            <a:tbl>
              <a:tblPr firstRow="1" bandRow="1">
                <a:tableStyleId>{5C22544A-7EE6-4342-B048-85BDC9FD1C3A}</a:tableStyleId>
              </a:tblPr>
              <a:tblGrid>
                <a:gridCol w="3862965">
                  <a:extLst>
                    <a:ext uri="{9D8B030D-6E8A-4147-A177-3AD203B41FA5}">
                      <a16:colId xmlns:a16="http://schemas.microsoft.com/office/drawing/2014/main" val="2254087457"/>
                    </a:ext>
                  </a:extLst>
                </a:gridCol>
                <a:gridCol w="228600">
                  <a:extLst>
                    <a:ext uri="{9D8B030D-6E8A-4147-A177-3AD203B41FA5}">
                      <a16:colId xmlns:a16="http://schemas.microsoft.com/office/drawing/2014/main" val="1525212573"/>
                    </a:ext>
                  </a:extLst>
                </a:gridCol>
                <a:gridCol w="1066800">
                  <a:extLst>
                    <a:ext uri="{9D8B030D-6E8A-4147-A177-3AD203B41FA5}">
                      <a16:colId xmlns:a16="http://schemas.microsoft.com/office/drawing/2014/main" val="2781833281"/>
                    </a:ext>
                  </a:extLst>
                </a:gridCol>
                <a:gridCol w="1066800">
                  <a:extLst>
                    <a:ext uri="{9D8B030D-6E8A-4147-A177-3AD203B41FA5}">
                      <a16:colId xmlns:a16="http://schemas.microsoft.com/office/drawing/2014/main" val="1036983455"/>
                    </a:ext>
                  </a:extLst>
                </a:gridCol>
                <a:gridCol w="1066800">
                  <a:extLst>
                    <a:ext uri="{9D8B030D-6E8A-4147-A177-3AD203B41FA5}">
                      <a16:colId xmlns:a16="http://schemas.microsoft.com/office/drawing/2014/main" val="1151004133"/>
                    </a:ext>
                  </a:extLst>
                </a:gridCol>
                <a:gridCol w="1101404">
                  <a:extLst>
                    <a:ext uri="{9D8B030D-6E8A-4147-A177-3AD203B41FA5}">
                      <a16:colId xmlns:a16="http://schemas.microsoft.com/office/drawing/2014/main" val="3281524647"/>
                    </a:ext>
                  </a:extLst>
                </a:gridCol>
              </a:tblGrid>
              <a:tr h="355999">
                <a:tc gridSpan="6">
                  <a:txBody>
                    <a:bodyPr/>
                    <a:lstStyle/>
                    <a:p>
                      <a:pPr algn="ctr"/>
                      <a:r>
                        <a:rPr lang="en-US" sz="1800" dirty="0">
                          <a:latin typeface="Calibri" panose="020F0502020204030204" pitchFamily="34" charset="0"/>
                          <a:cs typeface="Calibri" panose="020F0502020204030204" pitchFamily="34" charset="0"/>
                        </a:rPr>
                        <a:t>SFY</a:t>
                      </a:r>
                      <a:r>
                        <a:rPr lang="en-US" sz="1800" baseline="0" dirty="0">
                          <a:latin typeface="Calibri" panose="020F0502020204030204" pitchFamily="34" charset="0"/>
                          <a:cs typeface="Calibri" panose="020F0502020204030204" pitchFamily="34" charset="0"/>
                        </a:rPr>
                        <a:t> 2022 </a:t>
                      </a:r>
                      <a:r>
                        <a:rPr lang="en-US" sz="1800" baseline="0" dirty="0" smtClean="0">
                          <a:latin typeface="Calibri" panose="020F0502020204030204" pitchFamily="34" charset="0"/>
                          <a:cs typeface="Calibri" panose="020F0502020204030204" pitchFamily="34" charset="0"/>
                        </a:rPr>
                        <a:t>Request</a:t>
                      </a:r>
                      <a:endParaRPr lang="en-US" sz="1800" dirty="0">
                        <a:latin typeface="Calibri" panose="020F0502020204030204" pitchFamily="34" charset="0"/>
                        <a:cs typeface="Calibri" panose="020F0502020204030204" pitchFamily="34" charset="0"/>
                      </a:endParaRP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213566347"/>
                  </a:ext>
                </a:extLst>
              </a:tr>
              <a:tr h="404154">
                <a:tc>
                  <a:txBody>
                    <a:bodyPr/>
                    <a:lstStyle/>
                    <a:p>
                      <a:pPr algn="l"/>
                      <a:endParaRPr lang="en-US" sz="1600" b="1" dirty="0">
                        <a:latin typeface="Calibri" panose="020F0502020204030204" pitchFamily="34" charset="0"/>
                        <a:cs typeface="Calibri" panose="020F0502020204030204" pitchFamily="34" charset="0"/>
                      </a:endParaRP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Dept Req</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lnR w="12700" cap="flat" cmpd="sng" algn="ctr">
                      <a:solidFill>
                        <a:schemeClr val="tx1"/>
                      </a:solidFill>
                      <a:prstDash val="solid"/>
                      <a:round/>
                      <a:headEnd type="none" w="med" len="med"/>
                      <a:tailEnd type="none" w="med" len="med"/>
                    </a:lnR>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ov Rec</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2010415419"/>
                  </a:ext>
                </a:extLst>
              </a:tr>
              <a:tr h="404154">
                <a:tc>
                  <a:txBody>
                    <a:bodyPr/>
                    <a:lstStyle/>
                    <a:p>
                      <a:pPr algn="l"/>
                      <a:r>
                        <a:rPr lang="en-US" sz="1600" b="1" dirty="0">
                          <a:latin typeface="Calibri" panose="020F0502020204030204" pitchFamily="34" charset="0"/>
                          <a:cs typeface="Calibri" panose="020F0502020204030204" pitchFamily="34" charset="0"/>
                        </a:rPr>
                        <a:t>Requests</a:t>
                      </a: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lnR w="12700" cap="flat" cmpd="sng" algn="ctr">
                      <a:solidFill>
                        <a:schemeClr val="tx1"/>
                      </a:solidFill>
                      <a:prstDash val="solid"/>
                      <a:round/>
                      <a:headEnd type="none" w="med" len="med"/>
                      <a:tailEnd type="none" w="med" len="med"/>
                    </a:lnR>
                  </a:tcPr>
                </a:tc>
                <a:tc>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R</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Total</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3508809717"/>
                  </a:ext>
                </a:extLst>
              </a:tr>
              <a:tr h="404154">
                <a:tc>
                  <a:txBody>
                    <a:bodyPr/>
                    <a:lstStyle/>
                    <a:p>
                      <a:r>
                        <a:rPr lang="en-US" sz="1600" dirty="0">
                          <a:latin typeface="Calibri" panose="020F0502020204030204" pitchFamily="34" charset="0"/>
                          <a:cs typeface="Calibri" panose="020F0502020204030204" pitchFamily="34" charset="0"/>
                        </a:rPr>
                        <a:t>MHD SFY</a:t>
                      </a:r>
                      <a:r>
                        <a:rPr lang="en-US" sz="1600" baseline="0" dirty="0">
                          <a:latin typeface="Calibri" panose="020F0502020204030204" pitchFamily="34" charset="0"/>
                          <a:cs typeface="Calibri" panose="020F0502020204030204" pitchFamily="34" charset="0"/>
                        </a:rPr>
                        <a:t> 2022 Cost to Continue (CTC)</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124.8</a:t>
                      </a:r>
                      <a:r>
                        <a:rPr lang="en-US" sz="1600" baseline="0" dirty="0">
                          <a:latin typeface="Calibri" panose="020F0502020204030204" pitchFamily="34" charset="0"/>
                          <a:cs typeface="Calibri" panose="020F0502020204030204" pitchFamily="34" charset="0"/>
                        </a:rPr>
                        <a:t>M</a:t>
                      </a: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396.1M</a:t>
                      </a:r>
                    </a:p>
                  </a:txBody>
                  <a:tcPr>
                    <a:lnR w="12700" cap="flat" cmpd="sng" algn="ctr">
                      <a:solidFill>
                        <a:schemeClr val="tx1"/>
                      </a:solidFill>
                      <a:prstDash val="solid"/>
                      <a:round/>
                      <a:headEnd type="none" w="med" len="med"/>
                      <a:tailEnd type="none" w="med" len="med"/>
                    </a:lnR>
                  </a:tcPr>
                </a:tc>
                <a:tc>
                  <a:txBody>
                    <a:bodyPr/>
                    <a:lstStyle/>
                    <a:p>
                      <a:pPr algn="r"/>
                      <a:r>
                        <a:rPr lang="en-US" sz="1600" dirty="0" smtClean="0">
                          <a:latin typeface="Calibri" panose="020F0502020204030204" pitchFamily="34" charset="0"/>
                          <a:cs typeface="Calibri" panose="020F0502020204030204" pitchFamily="34" charset="0"/>
                        </a:rPr>
                        <a:t>$145.3M</a:t>
                      </a:r>
                      <a:endParaRPr lang="en-US" sz="16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algn="r"/>
                      <a:r>
                        <a:rPr lang="en-US" sz="1600" dirty="0" smtClean="0">
                          <a:latin typeface="Calibri" panose="020F0502020204030204" pitchFamily="34" charset="0"/>
                          <a:cs typeface="Calibri" panose="020F0502020204030204" pitchFamily="34" charset="0"/>
                        </a:rPr>
                        <a:t>$403.4M</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669514653"/>
                  </a:ext>
                </a:extLst>
              </a:tr>
              <a:tr h="563665">
                <a:tc>
                  <a:txBody>
                    <a:bodyPr/>
                    <a:lstStyle/>
                    <a:p>
                      <a:r>
                        <a:rPr lang="en-US" sz="1600" i="1" dirty="0">
                          <a:latin typeface="Calibri" panose="020F0502020204030204" pitchFamily="34" charset="0"/>
                          <a:cs typeface="Calibri" panose="020F0502020204030204" pitchFamily="34" charset="0"/>
                        </a:rPr>
                        <a:t>Amount related to Public Health Emergency Requirements (included in total above)</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i="1" dirty="0">
                          <a:latin typeface="Calibri" panose="020F0502020204030204" pitchFamily="34" charset="0"/>
                          <a:cs typeface="Calibri" panose="020F0502020204030204" pitchFamily="34" charset="0"/>
                        </a:rPr>
                        <a:t>$119.6M</a:t>
                      </a:r>
                    </a:p>
                  </a:txBody>
                  <a:tcPr/>
                </a:tc>
                <a:tc>
                  <a:txBody>
                    <a:bodyPr/>
                    <a:lstStyle/>
                    <a:p>
                      <a:pPr algn="r"/>
                      <a:r>
                        <a:rPr lang="en-US" sz="1600" i="1" dirty="0">
                          <a:latin typeface="Calibri" panose="020F0502020204030204" pitchFamily="34" charset="0"/>
                          <a:cs typeface="Calibri" panose="020F0502020204030204" pitchFamily="34" charset="0"/>
                        </a:rPr>
                        <a:t>$350.0M</a:t>
                      </a:r>
                    </a:p>
                  </a:txBody>
                  <a:tcPr>
                    <a:lnR w="12700" cap="flat" cmpd="sng" algn="ctr">
                      <a:solidFill>
                        <a:schemeClr val="tx1"/>
                      </a:solidFill>
                      <a:prstDash val="solid"/>
                      <a:round/>
                      <a:headEnd type="none" w="med" len="med"/>
                      <a:tailEnd type="none" w="med" len="med"/>
                    </a:lnR>
                  </a:tcPr>
                </a:tc>
                <a:tc>
                  <a:txBody>
                    <a:bodyPr/>
                    <a:lstStyle/>
                    <a:p>
                      <a:pPr algn="r"/>
                      <a:r>
                        <a:rPr lang="en-US" sz="1600" i="1" dirty="0" smtClean="0">
                          <a:latin typeface="Calibri" panose="020F0502020204030204" pitchFamily="34" charset="0"/>
                          <a:cs typeface="Calibri" panose="020F0502020204030204" pitchFamily="34" charset="0"/>
                        </a:rPr>
                        <a:t>$121.8M</a:t>
                      </a:r>
                      <a:endParaRPr lang="en-US" sz="1600" i="1"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algn="r"/>
                      <a:r>
                        <a:rPr lang="en-US" sz="1600" i="1" dirty="0" smtClean="0">
                          <a:latin typeface="Calibri" panose="020F0502020204030204" pitchFamily="34" charset="0"/>
                          <a:cs typeface="Calibri" panose="020F0502020204030204" pitchFamily="34" charset="0"/>
                        </a:rPr>
                        <a:t>$359.5M</a:t>
                      </a:r>
                      <a:endParaRPr lang="en-US" sz="1600" i="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2135348"/>
                  </a:ext>
                </a:extLst>
              </a:tr>
              <a:tr h="404154">
                <a:tc>
                  <a:txBody>
                    <a:bodyPr/>
                    <a:lstStyle/>
                    <a:p>
                      <a:r>
                        <a:rPr lang="en-US" sz="1600" dirty="0">
                          <a:latin typeface="Calibri" panose="020F0502020204030204" pitchFamily="34" charset="0"/>
                          <a:cs typeface="Calibri" panose="020F0502020204030204" pitchFamily="34" charset="0"/>
                        </a:rPr>
                        <a:t>Managed</a:t>
                      </a:r>
                      <a:r>
                        <a:rPr lang="en-US" sz="1600" baseline="0" dirty="0">
                          <a:latin typeface="Calibri" panose="020F0502020204030204" pitchFamily="34" charset="0"/>
                          <a:cs typeface="Calibri" panose="020F0502020204030204" pitchFamily="34" charset="0"/>
                        </a:rPr>
                        <a:t> Care Actuarial Increase </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37.7M</a:t>
                      </a:r>
                    </a:p>
                  </a:txBody>
                  <a:tcPr/>
                </a:tc>
                <a:tc>
                  <a:txBody>
                    <a:bodyPr/>
                    <a:lstStyle/>
                    <a:p>
                      <a:pPr algn="r"/>
                      <a:r>
                        <a:rPr lang="en-US" sz="1600" dirty="0" smtClean="0">
                          <a:latin typeface="Calibri" panose="020F0502020204030204" pitchFamily="34" charset="0"/>
                          <a:cs typeface="Calibri" panose="020F0502020204030204" pitchFamily="34" charset="0"/>
                        </a:rPr>
                        <a:t>$109.8M</a:t>
                      </a:r>
                      <a:endParaRPr lang="en-US" sz="1600" dirty="0">
                        <a:latin typeface="Calibri" panose="020F0502020204030204" pitchFamily="34" charset="0"/>
                        <a:cs typeface="Calibri" panose="020F0502020204030204" pitchFamily="34" charset="0"/>
                      </a:endParaRPr>
                    </a:p>
                  </a:txBody>
                  <a:tcPr>
                    <a:lnR w="12700" cap="flat" cmpd="sng" algn="ctr">
                      <a:solidFill>
                        <a:schemeClr val="tx1"/>
                      </a:solidFill>
                      <a:prstDash val="solid"/>
                      <a:round/>
                      <a:headEnd type="none" w="med" len="med"/>
                      <a:tailEnd type="none" w="med" len="med"/>
                    </a:lnR>
                  </a:tcPr>
                </a:tc>
                <a:tc>
                  <a:txBody>
                    <a:bodyPr/>
                    <a:lstStyle/>
                    <a:p>
                      <a:pPr algn="r"/>
                      <a:r>
                        <a:rPr lang="en-US" sz="1600" dirty="0" smtClean="0">
                          <a:latin typeface="Calibri" panose="020F0502020204030204" pitchFamily="34" charset="0"/>
                          <a:cs typeface="Calibri" panose="020F0502020204030204" pitchFamily="34" charset="0"/>
                        </a:rPr>
                        <a:t>$36.6M</a:t>
                      </a:r>
                      <a:endParaRPr lang="en-US" sz="16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algn="r"/>
                      <a:r>
                        <a:rPr lang="en-US" sz="1600" dirty="0" smtClean="0">
                          <a:latin typeface="Calibri" panose="020F0502020204030204" pitchFamily="34" charset="0"/>
                          <a:cs typeface="Calibri" panose="020F0502020204030204" pitchFamily="34" charset="0"/>
                        </a:rPr>
                        <a:t>$109.8M</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315909834"/>
                  </a:ext>
                </a:extLst>
              </a:tr>
              <a:tr h="404154">
                <a:tc>
                  <a:txBody>
                    <a:bodyPr/>
                    <a:lstStyle/>
                    <a:p>
                      <a:r>
                        <a:rPr lang="en-US" sz="1600" dirty="0">
                          <a:latin typeface="Calibri" panose="020F0502020204030204" pitchFamily="34" charset="0"/>
                          <a:cs typeface="Calibri" panose="020F0502020204030204" pitchFamily="34" charset="0"/>
                        </a:rPr>
                        <a:t>Tobacco Shortfall GR Pickup</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27.0M</a:t>
                      </a:r>
                    </a:p>
                  </a:txBody>
                  <a:tcPr/>
                </a:tc>
                <a:tc>
                  <a:txBody>
                    <a:bodyPr/>
                    <a:lstStyle/>
                    <a:p>
                      <a:pPr algn="r"/>
                      <a:r>
                        <a:rPr lang="en-US" sz="1600" dirty="0">
                          <a:latin typeface="Calibri" panose="020F0502020204030204" pitchFamily="34" charset="0"/>
                          <a:cs typeface="Calibri" panose="020F0502020204030204" pitchFamily="34" charset="0"/>
                        </a:rPr>
                        <a:t>$27.0M</a:t>
                      </a:r>
                    </a:p>
                  </a:txBody>
                  <a:tcPr>
                    <a:lnR w="12700" cap="flat" cmpd="sng" algn="ctr">
                      <a:solidFill>
                        <a:schemeClr val="tx1"/>
                      </a:solidFill>
                      <a:prstDash val="solid"/>
                      <a:round/>
                      <a:headEnd type="none" w="med" len="med"/>
                      <a:tailEnd type="none" w="med" len="med"/>
                    </a:lnR>
                  </a:tcPr>
                </a:tc>
                <a:tc>
                  <a:txBody>
                    <a:bodyPr/>
                    <a:lstStyle/>
                    <a:p>
                      <a:pPr algn="r"/>
                      <a:r>
                        <a:rPr lang="en-US" sz="1600" dirty="0" smtClean="0">
                          <a:latin typeface="Calibri" panose="020F0502020204030204" pitchFamily="34" charset="0"/>
                          <a:cs typeface="Calibri" panose="020F0502020204030204" pitchFamily="34" charset="0"/>
                        </a:rPr>
                        <a:t>$29.2M</a:t>
                      </a:r>
                      <a:endParaRPr lang="en-US" sz="16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algn="r"/>
                      <a:r>
                        <a:rPr lang="en-US" sz="1600" dirty="0" smtClean="0">
                          <a:latin typeface="Calibri" panose="020F0502020204030204" pitchFamily="34" charset="0"/>
                          <a:cs typeface="Calibri" panose="020F0502020204030204" pitchFamily="34" charset="0"/>
                        </a:rPr>
                        <a:t>$29.2M</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800645877"/>
                  </a:ext>
                </a:extLst>
              </a:tr>
              <a:tr h="404154">
                <a:tc>
                  <a:txBody>
                    <a:bodyPr/>
                    <a:lstStyle/>
                    <a:p>
                      <a:r>
                        <a:rPr lang="en-US" sz="1600" dirty="0">
                          <a:latin typeface="Calibri" panose="020F0502020204030204" pitchFamily="34" charset="0"/>
                          <a:cs typeface="Calibri" panose="020F0502020204030204" pitchFamily="34" charset="0"/>
                        </a:rPr>
                        <a:t>Asset</a:t>
                      </a:r>
                      <a:r>
                        <a:rPr lang="en-US" sz="1600" baseline="0" dirty="0">
                          <a:latin typeface="Calibri" panose="020F0502020204030204" pitchFamily="34" charset="0"/>
                          <a:cs typeface="Calibri" panose="020F0502020204030204" pitchFamily="34" charset="0"/>
                        </a:rPr>
                        <a:t> Limit FY20 CTC</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smtClean="0">
                          <a:latin typeface="Calibri" panose="020F0502020204030204" pitchFamily="34" charset="0"/>
                          <a:cs typeface="Calibri" panose="020F0502020204030204" pitchFamily="34" charset="0"/>
                        </a:rPr>
                        <a:t>$2.0M</a:t>
                      </a: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6.7M</a:t>
                      </a:r>
                    </a:p>
                  </a:txBody>
                  <a:tcPr>
                    <a:lnR w="12700" cap="flat" cmpd="sng" algn="ctr">
                      <a:solidFill>
                        <a:schemeClr val="tx1"/>
                      </a:solidFill>
                      <a:prstDash val="solid"/>
                      <a:round/>
                      <a:headEnd type="none" w="med" len="med"/>
                      <a:tailEnd type="none" w="med" len="med"/>
                    </a:lnR>
                  </a:tcPr>
                </a:tc>
                <a:tc>
                  <a:txBody>
                    <a:bodyPr/>
                    <a:lstStyle/>
                    <a:p>
                      <a:pPr algn="r"/>
                      <a:r>
                        <a:rPr lang="en-US" sz="1600" dirty="0" smtClean="0">
                          <a:latin typeface="Calibri" panose="020F0502020204030204" pitchFamily="34" charset="0"/>
                          <a:cs typeface="Calibri" panose="020F0502020204030204" pitchFamily="34" charset="0"/>
                        </a:rPr>
                        <a:t>$1.9M</a:t>
                      </a:r>
                      <a:endParaRPr lang="en-US" sz="1600" dirty="0">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tcPr>
                </a:tc>
                <a:tc>
                  <a:txBody>
                    <a:bodyPr/>
                    <a:lstStyle/>
                    <a:p>
                      <a:pPr algn="r"/>
                      <a:r>
                        <a:rPr lang="en-US" sz="1600" dirty="0" smtClean="0">
                          <a:latin typeface="Calibri" panose="020F0502020204030204" pitchFamily="34" charset="0"/>
                          <a:cs typeface="Calibri" panose="020F0502020204030204" pitchFamily="34" charset="0"/>
                        </a:rPr>
                        <a:t>$6.7M</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863942102"/>
                  </a:ext>
                </a:extLst>
              </a:tr>
              <a:tr h="404154">
                <a:tc>
                  <a:txBody>
                    <a:bodyPr/>
                    <a:lstStyle/>
                    <a:p>
                      <a:r>
                        <a:rPr lang="en-US" sz="1600" dirty="0">
                          <a:latin typeface="Calibri" panose="020F0502020204030204" pitchFamily="34" charset="0"/>
                          <a:cs typeface="Calibri" panose="020F0502020204030204" pitchFamily="34" charset="0"/>
                        </a:rPr>
                        <a:t>PFRA Fund Authority CTC</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0M</a:t>
                      </a:r>
                    </a:p>
                  </a:txBody>
                  <a:tcPr/>
                </a:tc>
                <a:tc>
                  <a:txBody>
                    <a:bodyPr/>
                    <a:lstStyle/>
                    <a:p>
                      <a:pPr algn="r"/>
                      <a:r>
                        <a:rPr lang="en-US" sz="1600" dirty="0">
                          <a:latin typeface="Calibri" panose="020F0502020204030204" pitchFamily="34" charset="0"/>
                          <a:cs typeface="Calibri" panose="020F0502020204030204" pitchFamily="34" charset="0"/>
                        </a:rPr>
                        <a:t>$43.0M</a:t>
                      </a:r>
                    </a:p>
                  </a:txBody>
                  <a:tcPr>
                    <a:lnR w="12700" cap="flat" cmpd="sng" algn="ctr">
                      <a:solidFill>
                        <a:schemeClr val="tx1"/>
                      </a:solidFill>
                      <a:prstDash val="solid"/>
                      <a:round/>
                      <a:headEnd type="none" w="med" len="med"/>
                      <a:tailEnd type="none" w="med" len="med"/>
                    </a:lnR>
                  </a:tcPr>
                </a:tc>
                <a:tc>
                  <a:txBody>
                    <a:bodyPr/>
                    <a:lstStyle/>
                    <a:p>
                      <a:pPr algn="r"/>
                      <a:r>
                        <a:rPr lang="en-US" sz="1600" dirty="0">
                          <a:latin typeface="Calibri" panose="020F0502020204030204" pitchFamily="34" charset="0"/>
                          <a:cs typeface="Calibri" panose="020F0502020204030204" pitchFamily="34" charset="0"/>
                        </a:rPr>
                        <a:t>$0.0M</a:t>
                      </a:r>
                    </a:p>
                  </a:txBody>
                  <a:tcPr>
                    <a:lnL w="12700" cap="flat" cmpd="sng" algn="ctr">
                      <a:solidFill>
                        <a:schemeClr val="tx1"/>
                      </a:solidFill>
                      <a:prstDash val="solid"/>
                      <a:round/>
                      <a:headEnd type="none" w="med" len="med"/>
                      <a:tailEnd type="none" w="med" len="med"/>
                    </a:lnL>
                  </a:tcPr>
                </a:tc>
                <a:tc>
                  <a:txBody>
                    <a:bodyPr/>
                    <a:lstStyle/>
                    <a:p>
                      <a:pPr algn="r"/>
                      <a:r>
                        <a:rPr lang="en-US" sz="1600" dirty="0">
                          <a:latin typeface="Calibri" panose="020F0502020204030204" pitchFamily="34" charset="0"/>
                          <a:cs typeface="Calibri" panose="020F0502020204030204" pitchFamily="34" charset="0"/>
                        </a:rPr>
                        <a:t>$43.0M</a:t>
                      </a:r>
                    </a:p>
                  </a:txBody>
                  <a:tcPr/>
                </a:tc>
                <a:extLst>
                  <a:ext uri="{0D108BD9-81ED-4DB2-BD59-A6C34878D82A}">
                    <a16:rowId xmlns:a16="http://schemas.microsoft.com/office/drawing/2014/main" val="2885966591"/>
                  </a:ext>
                </a:extLst>
              </a:tr>
              <a:tr h="404154">
                <a:tc>
                  <a:txBody>
                    <a:bodyPr/>
                    <a:lstStyle/>
                    <a:p>
                      <a:r>
                        <a:rPr lang="en-US" sz="1600" dirty="0">
                          <a:latin typeface="Calibri" panose="020F0502020204030204" pitchFamily="34" charset="0"/>
                          <a:cs typeface="Calibri" panose="020F0502020204030204" pitchFamily="34" charset="0"/>
                        </a:rPr>
                        <a:t>AFRA Fund Authority CTC</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0M</a:t>
                      </a:r>
                    </a:p>
                  </a:txBody>
                  <a:tcPr/>
                </a:tc>
                <a:tc>
                  <a:txBody>
                    <a:bodyPr/>
                    <a:lstStyle/>
                    <a:p>
                      <a:pPr algn="r"/>
                      <a:r>
                        <a:rPr lang="en-US" sz="1600" dirty="0">
                          <a:latin typeface="Calibri" panose="020F0502020204030204" pitchFamily="34" charset="0"/>
                          <a:cs typeface="Calibri" panose="020F0502020204030204" pitchFamily="34" charset="0"/>
                        </a:rPr>
                        <a:t>$1.5M</a:t>
                      </a:r>
                    </a:p>
                  </a:txBody>
                  <a:tcPr>
                    <a:lnR w="12700" cap="flat" cmpd="sng" algn="ctr">
                      <a:solidFill>
                        <a:schemeClr val="tx1"/>
                      </a:solidFill>
                      <a:prstDash val="solid"/>
                      <a:round/>
                      <a:headEnd type="none" w="med" len="med"/>
                      <a:tailEnd type="none" w="med" len="med"/>
                    </a:lnR>
                  </a:tcPr>
                </a:tc>
                <a:tc>
                  <a:txBody>
                    <a:bodyPr/>
                    <a:lstStyle/>
                    <a:p>
                      <a:pPr algn="r"/>
                      <a:r>
                        <a:rPr lang="en-US" sz="1600" dirty="0">
                          <a:latin typeface="Calibri" panose="020F0502020204030204" pitchFamily="34" charset="0"/>
                          <a:cs typeface="Calibri" panose="020F0502020204030204" pitchFamily="34" charset="0"/>
                        </a:rPr>
                        <a:t>$0.0M</a:t>
                      </a:r>
                    </a:p>
                  </a:txBody>
                  <a:tcPr>
                    <a:lnL w="12700" cap="flat" cmpd="sng" algn="ctr">
                      <a:solidFill>
                        <a:schemeClr val="tx1"/>
                      </a:solidFill>
                      <a:prstDash val="solid"/>
                      <a:round/>
                      <a:headEnd type="none" w="med" len="med"/>
                      <a:tailEnd type="none" w="med" len="med"/>
                    </a:lnL>
                  </a:tcPr>
                </a:tc>
                <a:tc>
                  <a:txBody>
                    <a:bodyPr/>
                    <a:lstStyle/>
                    <a:p>
                      <a:pPr algn="r"/>
                      <a:r>
                        <a:rPr lang="en-US" sz="1600" dirty="0">
                          <a:latin typeface="Calibri" panose="020F0502020204030204" pitchFamily="34" charset="0"/>
                          <a:cs typeface="Calibri" panose="020F0502020204030204" pitchFamily="34" charset="0"/>
                        </a:rPr>
                        <a:t>$1.5M</a:t>
                      </a:r>
                    </a:p>
                  </a:txBody>
                  <a:tcPr/>
                </a:tc>
                <a:extLst>
                  <a:ext uri="{0D108BD9-81ED-4DB2-BD59-A6C34878D82A}">
                    <a16:rowId xmlns:a16="http://schemas.microsoft.com/office/drawing/2014/main" val="3257194728"/>
                  </a:ext>
                </a:extLst>
              </a:tr>
            </a:tbl>
          </a:graphicData>
        </a:graphic>
      </p:graphicFrame>
      <p:sp>
        <p:nvSpPr>
          <p:cNvPr id="11" name="TextBox 10"/>
          <p:cNvSpPr txBox="1"/>
          <p:nvPr/>
        </p:nvSpPr>
        <p:spPr>
          <a:xfrm>
            <a:off x="1676400" y="6255305"/>
            <a:ext cx="51816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Source: </a:t>
            </a:r>
            <a:r>
              <a:rPr lang="en-US" dirty="0">
                <a:solidFill>
                  <a:srgbClr val="000000"/>
                </a:solidFill>
                <a:latin typeface="Calibri" panose="020F0502020204030204" pitchFamily="34" charset="0"/>
              </a:rPr>
              <a:t>https://oa.mo.gov/budget-planning</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06506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52</a:t>
            </a:fld>
            <a:endParaRPr lang="en-US" dirty="0">
              <a:latin typeface="Palatino Linotype"/>
            </a:endParaRPr>
          </a:p>
        </p:txBody>
      </p:sp>
      <p:sp>
        <p:nvSpPr>
          <p:cNvPr id="6" name="Title 3"/>
          <p:cNvSpPr txBox="1">
            <a:spLocks/>
          </p:cNvSpPr>
          <p:nvPr/>
        </p:nvSpPr>
        <p:spPr>
          <a:xfrm>
            <a:off x="1906464" y="228600"/>
            <a:ext cx="7886700" cy="656527"/>
          </a:xfrm>
          <a:prstGeom prst="rect">
            <a:avLst/>
          </a:prstGeom>
        </p:spPr>
        <p:txBody>
          <a:bodyPr vert="horz" lIns="0" tIns="45720" rIns="0" bIns="45720" rtlCol="0" anchor="ctr">
            <a:normAutofit fontScale="55000" lnSpcReduction="2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lgn="ctr">
              <a:defRPr/>
            </a:pPr>
            <a:r>
              <a:rPr lang="en-US" sz="6000" b="1" dirty="0">
                <a:solidFill>
                  <a:srgbClr val="1B587C"/>
                </a:solidFill>
              </a:rPr>
              <a:t>MO HealthNet (MHD) Budget Request </a:t>
            </a:r>
          </a:p>
          <a:p>
            <a:pPr algn="ctr">
              <a:defRPr/>
            </a:pPr>
            <a:r>
              <a:rPr lang="en-US" sz="2200" b="1" dirty="0">
                <a:solidFill>
                  <a:srgbClr val="1B587C"/>
                </a:solidFill>
                <a:latin typeface="+mj-lt"/>
              </a:rPr>
              <a:t>State Fiscal Year (SFY) 2022</a:t>
            </a:r>
          </a:p>
        </p:txBody>
      </p:sp>
      <p:graphicFrame>
        <p:nvGraphicFramePr>
          <p:cNvPr id="3" name="Table 2"/>
          <p:cNvGraphicFramePr>
            <a:graphicFrameLocks noGrp="1"/>
          </p:cNvGraphicFramePr>
          <p:nvPr>
            <p:extLst>
              <p:ext uri="{D42A27DB-BD31-4B8C-83A1-F6EECF244321}">
                <p14:modId xmlns:p14="http://schemas.microsoft.com/office/powerpoint/2010/main" val="2447572721"/>
              </p:ext>
            </p:extLst>
          </p:nvPr>
        </p:nvGraphicFramePr>
        <p:xfrm>
          <a:off x="1981200" y="990598"/>
          <a:ext cx="8255824" cy="4572005"/>
        </p:xfrm>
        <a:graphic>
          <a:graphicData uri="http://schemas.openxmlformats.org/drawingml/2006/table">
            <a:tbl>
              <a:tblPr firstRow="1" bandRow="1">
                <a:tableStyleId>{5C22544A-7EE6-4342-B048-85BDC9FD1C3A}</a:tableStyleId>
              </a:tblPr>
              <a:tblGrid>
                <a:gridCol w="4191000">
                  <a:extLst>
                    <a:ext uri="{9D8B030D-6E8A-4147-A177-3AD203B41FA5}">
                      <a16:colId xmlns:a16="http://schemas.microsoft.com/office/drawing/2014/main" val="2254087457"/>
                    </a:ext>
                  </a:extLst>
                </a:gridCol>
                <a:gridCol w="228600">
                  <a:extLst>
                    <a:ext uri="{9D8B030D-6E8A-4147-A177-3AD203B41FA5}">
                      <a16:colId xmlns:a16="http://schemas.microsoft.com/office/drawing/2014/main" val="1525212573"/>
                    </a:ext>
                  </a:extLst>
                </a:gridCol>
                <a:gridCol w="965044">
                  <a:extLst>
                    <a:ext uri="{9D8B030D-6E8A-4147-A177-3AD203B41FA5}">
                      <a16:colId xmlns:a16="http://schemas.microsoft.com/office/drawing/2014/main" val="2781833281"/>
                    </a:ext>
                  </a:extLst>
                </a:gridCol>
                <a:gridCol w="957060">
                  <a:extLst>
                    <a:ext uri="{9D8B030D-6E8A-4147-A177-3AD203B41FA5}">
                      <a16:colId xmlns:a16="http://schemas.microsoft.com/office/drawing/2014/main" val="1036983455"/>
                    </a:ext>
                  </a:extLst>
                </a:gridCol>
                <a:gridCol w="957060">
                  <a:extLst>
                    <a:ext uri="{9D8B030D-6E8A-4147-A177-3AD203B41FA5}">
                      <a16:colId xmlns:a16="http://schemas.microsoft.com/office/drawing/2014/main" val="1084467274"/>
                    </a:ext>
                  </a:extLst>
                </a:gridCol>
                <a:gridCol w="957060">
                  <a:extLst>
                    <a:ext uri="{9D8B030D-6E8A-4147-A177-3AD203B41FA5}">
                      <a16:colId xmlns:a16="http://schemas.microsoft.com/office/drawing/2014/main" val="2215443176"/>
                    </a:ext>
                  </a:extLst>
                </a:gridCol>
              </a:tblGrid>
              <a:tr h="388499">
                <a:tc gridSpan="6">
                  <a:txBody>
                    <a:bodyPr/>
                    <a:lstStyle/>
                    <a:p>
                      <a:pPr algn="ctr"/>
                      <a:r>
                        <a:rPr lang="en-US" sz="1900" b="1" kern="1200" dirty="0">
                          <a:solidFill>
                            <a:schemeClr val="lt1"/>
                          </a:solidFill>
                          <a:latin typeface="Calibri" panose="020F0502020204030204" pitchFamily="34" charset="0"/>
                          <a:ea typeface="+mn-ea"/>
                          <a:cs typeface="Calibri" panose="020F0502020204030204" pitchFamily="34" charset="0"/>
                        </a:rPr>
                        <a:t>SFY 2022 </a:t>
                      </a:r>
                      <a:r>
                        <a:rPr lang="en-US" sz="1900" b="1" kern="1200" dirty="0" smtClean="0">
                          <a:solidFill>
                            <a:schemeClr val="lt1"/>
                          </a:solidFill>
                          <a:latin typeface="Calibri" panose="020F0502020204030204" pitchFamily="34" charset="0"/>
                          <a:ea typeface="+mn-ea"/>
                          <a:cs typeface="Calibri" panose="020F0502020204030204" pitchFamily="34" charset="0"/>
                        </a:rPr>
                        <a:t>Request</a:t>
                      </a:r>
                      <a:endParaRPr lang="en-US" sz="1900" b="1" kern="1200" dirty="0">
                        <a:solidFill>
                          <a:schemeClr val="lt1"/>
                        </a:solidFill>
                        <a:latin typeface="Calibri" panose="020F0502020204030204" pitchFamily="34" charset="0"/>
                        <a:ea typeface="+mn-ea"/>
                        <a:cs typeface="Calibri" panose="020F0502020204030204" pitchFamily="34" charset="0"/>
                      </a:endParaRPr>
                    </a:p>
                  </a:txBody>
                  <a:tcPr marL="97038" marR="97038" marT="48519" marB="48519"/>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1900" b="1" kern="1200" dirty="0">
                        <a:solidFill>
                          <a:schemeClr val="lt1"/>
                        </a:solidFill>
                        <a:latin typeface="Calibri" panose="020F0502020204030204" pitchFamily="34" charset="0"/>
                        <a:ea typeface="+mn-ea"/>
                        <a:cs typeface="Calibri" panose="020F0502020204030204" pitchFamily="34" charset="0"/>
                      </a:endParaRPr>
                    </a:p>
                  </a:txBody>
                  <a:tcPr marL="97038" marR="97038" marT="48519" marB="48519"/>
                </a:tc>
                <a:tc hMerge="1">
                  <a:txBody>
                    <a:bodyPr/>
                    <a:lstStyle/>
                    <a:p>
                      <a:pPr algn="ctr"/>
                      <a:endParaRPr lang="en-US" sz="1900" b="1" kern="1200" dirty="0">
                        <a:solidFill>
                          <a:schemeClr val="lt1"/>
                        </a:solidFill>
                        <a:latin typeface="Calibri" panose="020F0502020204030204" pitchFamily="34" charset="0"/>
                        <a:ea typeface="+mn-ea"/>
                        <a:cs typeface="Calibri" panose="020F0502020204030204" pitchFamily="34" charset="0"/>
                      </a:endParaRPr>
                    </a:p>
                  </a:txBody>
                  <a:tcPr marL="97038" marR="97038" marT="48519" marB="48519"/>
                </a:tc>
                <a:extLst>
                  <a:ext uri="{0D108BD9-81ED-4DB2-BD59-A6C34878D82A}">
                    <a16:rowId xmlns:a16="http://schemas.microsoft.com/office/drawing/2014/main" val="2213566347"/>
                  </a:ext>
                </a:extLst>
              </a:tr>
              <a:tr h="460588">
                <a:tc>
                  <a:txBody>
                    <a:bodyPr/>
                    <a:lstStyle/>
                    <a:p>
                      <a:pPr algn="l"/>
                      <a:endParaRPr lang="en-US" sz="16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ctr"/>
                      <a:endParaRPr lang="en-US" sz="16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Dept Req</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lnR w="12700" cap="flat" cmpd="sng" algn="ctr">
                      <a:solidFill>
                        <a:schemeClr val="tx1"/>
                      </a:solidFill>
                      <a:prstDash val="solid"/>
                      <a:round/>
                      <a:headEnd type="none" w="med" len="med"/>
                      <a:tailEnd type="none" w="med" len="med"/>
                    </a:lnR>
                  </a:tcPr>
                </a:tc>
                <a:tc hMerge="1">
                  <a:txBody>
                    <a:bodyPr/>
                    <a:lstStyle/>
                    <a:p>
                      <a:pPr marL="0" algn="ctr" defTabSz="914400" rtl="0" eaLnBrk="1" latinLnBrk="0" hangingPunct="1"/>
                      <a:endParaRPr lang="en-US" sz="19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ov Rec</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lnL w="12700" cap="flat" cmpd="sng" algn="ctr">
                      <a:solidFill>
                        <a:schemeClr val="tx1"/>
                      </a:solidFill>
                      <a:prstDash val="solid"/>
                      <a:round/>
                      <a:headEnd type="none" w="med" len="med"/>
                      <a:tailEnd type="none" w="med" len="med"/>
                    </a:lnL>
                  </a:tcPr>
                </a:tc>
                <a:tc hMerge="1">
                  <a:txBody>
                    <a:bodyPr/>
                    <a:lstStyle/>
                    <a:p>
                      <a:pPr marL="0" algn="ctr" defTabSz="914400" rtl="0" eaLnBrk="1" latinLnBrk="0" hangingPunct="1"/>
                      <a:endParaRPr lang="en-US" sz="19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extLst>
                  <a:ext uri="{0D108BD9-81ED-4DB2-BD59-A6C34878D82A}">
                    <a16:rowId xmlns:a16="http://schemas.microsoft.com/office/drawing/2014/main" val="1893419006"/>
                  </a:ext>
                </a:extLst>
              </a:tr>
              <a:tr h="460588">
                <a:tc>
                  <a:txBody>
                    <a:bodyPr/>
                    <a:lstStyle/>
                    <a:p>
                      <a:pPr algn="l"/>
                      <a:r>
                        <a:rPr lang="en-US" sz="1600" b="1" kern="1200" dirty="0">
                          <a:solidFill>
                            <a:schemeClr val="dk1"/>
                          </a:solidFill>
                          <a:latin typeface="Calibri" panose="020F0502020204030204" pitchFamily="34" charset="0"/>
                          <a:ea typeface="+mn-ea"/>
                          <a:cs typeface="Calibri" panose="020F0502020204030204" pitchFamily="34" charset="0"/>
                        </a:rPr>
                        <a:t>Requests</a:t>
                      </a:r>
                    </a:p>
                  </a:txBody>
                  <a:tcPr marL="97038" marR="97038" marT="48519" marB="48519"/>
                </a:tc>
                <a:tc>
                  <a:txBody>
                    <a:bodyPr/>
                    <a:lstStyle/>
                    <a:p>
                      <a:pPr algn="ctr"/>
                      <a:endParaRPr lang="en-US" sz="1600" b="1" kern="120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marL="97038" marR="97038" marT="48519" marB="48519"/>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marL="97038" marR="97038" marT="48519" marB="48519">
                    <a:lnR w="12700" cap="flat" cmpd="sng" algn="ctr">
                      <a:solidFill>
                        <a:schemeClr val="tx1"/>
                      </a:solidFill>
                      <a:prstDash val="solid"/>
                      <a:round/>
                      <a:headEnd type="none" w="med" len="med"/>
                      <a:tailEnd type="none" w="med" len="med"/>
                    </a:lnR>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marL="97038" marR="97038" marT="48519" marB="48519">
                    <a:lnL w="12700" cap="flat" cmpd="sng" algn="ctr">
                      <a:solidFill>
                        <a:schemeClr val="tx1"/>
                      </a:solidFill>
                      <a:prstDash val="solid"/>
                      <a:round/>
                      <a:headEnd type="none" w="med" len="med"/>
                      <a:tailEnd type="none" w="med" len="med"/>
                    </a:lnL>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marL="97038" marR="97038" marT="48519" marB="48519"/>
                </a:tc>
                <a:extLst>
                  <a:ext uri="{0D108BD9-81ED-4DB2-BD59-A6C34878D82A}">
                    <a16:rowId xmlns:a16="http://schemas.microsoft.com/office/drawing/2014/main" val="3508809717"/>
                  </a:ext>
                </a:extLst>
              </a:tr>
              <a:tr h="709989">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Pharmacy Specialty Per Member Per Month (PMPM) Increase</a:t>
                      </a: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24.0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68.6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a:t>
                      </a:r>
                      <a:r>
                        <a:rPr lang="en-US" sz="1600" kern="1200" baseline="0" dirty="0" smtClean="0">
                          <a:solidFill>
                            <a:schemeClr val="dk1"/>
                          </a:solidFill>
                          <a:latin typeface="Calibri" panose="020F0502020204030204" pitchFamily="34" charset="0"/>
                          <a:ea typeface="+mn-ea"/>
                          <a:cs typeface="Calibri" panose="020F0502020204030204" pitchFamily="34" charset="0"/>
                        </a:rPr>
                        <a:t>23.3M</a:t>
                      </a: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68.6M</a:t>
                      </a:r>
                    </a:p>
                  </a:txBody>
                  <a:tcPr marL="97038" marR="97038" marT="48519" marB="48519"/>
                </a:tc>
                <a:extLst>
                  <a:ext uri="{0D108BD9-81ED-4DB2-BD59-A6C34878D82A}">
                    <a16:rowId xmlns:a16="http://schemas.microsoft.com/office/drawing/2014/main" val="3669514653"/>
                  </a:ext>
                </a:extLst>
              </a:tr>
              <a:tr h="460588">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Pharmacy Non-Specialty PMPM Increase</a:t>
                      </a: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6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4.6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6M</a:t>
                      </a: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4.6M</a:t>
                      </a:r>
                    </a:p>
                  </a:txBody>
                  <a:tcPr marL="97038" marR="97038" marT="48519" marB="48519"/>
                </a:tc>
                <a:extLst>
                  <a:ext uri="{0D108BD9-81ED-4DB2-BD59-A6C34878D82A}">
                    <a16:rowId xmlns:a16="http://schemas.microsoft.com/office/drawing/2014/main" val="382135348"/>
                  </a:ext>
                </a:extLst>
              </a:tr>
              <a:tr h="7099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Calibri" panose="020F0502020204030204" pitchFamily="34" charset="0"/>
                          <a:cs typeface="Calibri" panose="020F0502020204030204" pitchFamily="34" charset="0"/>
                        </a:rPr>
                        <a:t>Non-Emergency</a:t>
                      </a:r>
                      <a:r>
                        <a:rPr lang="en-US" sz="1600" baseline="0" dirty="0">
                          <a:latin typeface="Calibri" panose="020F0502020204030204" pitchFamily="34" charset="0"/>
                          <a:cs typeface="Calibri" panose="020F0502020204030204" pitchFamily="34" charset="0"/>
                        </a:rPr>
                        <a:t> Medical Transportation (NEMT) Rate Increase</a:t>
                      </a:r>
                      <a:endParaRPr lang="en-US" sz="1600" dirty="0">
                        <a:latin typeface="Calibri" panose="020F0502020204030204" pitchFamily="34" charset="0"/>
                        <a:cs typeface="Calibri" panose="020F0502020204030204" pitchFamily="34" charset="0"/>
                      </a:endParaRP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1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3.1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1M</a:t>
                      </a: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3.1M</a:t>
                      </a:r>
                    </a:p>
                  </a:txBody>
                  <a:tcPr marL="97038" marR="97038" marT="48519" marB="48519"/>
                </a:tc>
                <a:extLst>
                  <a:ext uri="{0D108BD9-81ED-4DB2-BD59-A6C34878D82A}">
                    <a16:rowId xmlns:a16="http://schemas.microsoft.com/office/drawing/2014/main" val="3315909834"/>
                  </a:ext>
                </a:extLst>
              </a:tr>
              <a:tr h="460588">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edicare Buy-In Premium Increase</a:t>
                      </a: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6.0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8.2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smtClean="0">
                          <a:solidFill>
                            <a:schemeClr val="dk1"/>
                          </a:solidFill>
                          <a:latin typeface="Calibri" panose="020F0502020204030204" pitchFamily="34" charset="0"/>
                          <a:ea typeface="+mn-ea"/>
                          <a:cs typeface="Calibri" panose="020F0502020204030204" pitchFamily="34" charset="0"/>
                        </a:rPr>
                        <a:t>$4.1M</a:t>
                      </a: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smtClean="0">
                          <a:solidFill>
                            <a:schemeClr val="dk1"/>
                          </a:solidFill>
                          <a:latin typeface="Calibri" panose="020F0502020204030204" pitchFamily="34" charset="0"/>
                          <a:ea typeface="+mn-ea"/>
                          <a:cs typeface="Calibri" panose="020F0502020204030204" pitchFamily="34" charset="0"/>
                        </a:rPr>
                        <a:t>$12.7M</a:t>
                      </a: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extLst>
                  <a:ext uri="{0D108BD9-81ED-4DB2-BD59-A6C34878D82A}">
                    <a16:rowId xmlns:a16="http://schemas.microsoft.com/office/drawing/2014/main" val="1800645877"/>
                  </a:ext>
                </a:extLst>
              </a:tr>
              <a:tr h="460588">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Hospice Rate Increase (Federal Mandate)</a:t>
                      </a: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0.1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0.4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0.1M</a:t>
                      </a: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0.4M</a:t>
                      </a:r>
                    </a:p>
                  </a:txBody>
                  <a:tcPr marL="97038" marR="97038" marT="48519" marB="48519"/>
                </a:tc>
                <a:extLst>
                  <a:ext uri="{0D108BD9-81ED-4DB2-BD59-A6C34878D82A}">
                    <a16:rowId xmlns:a16="http://schemas.microsoft.com/office/drawing/2014/main" val="1863942102"/>
                  </a:ext>
                </a:extLst>
              </a:tr>
              <a:tr h="460588">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CHIP Enhancement Fund GR Pickup</a:t>
                      </a:r>
                    </a:p>
                  </a:txBody>
                  <a:tcPr marL="97038" marR="97038" marT="48519" marB="48519"/>
                </a:tc>
                <a:tc>
                  <a:txBody>
                    <a:bodyPr/>
                    <a:lstStyle/>
                    <a:p>
                      <a:pPr algn="ctr"/>
                      <a:endParaRPr lang="en-US" sz="1600" kern="1200" baseline="0" dirty="0">
                        <a:solidFill>
                          <a:schemeClr val="dk1"/>
                        </a:solidFill>
                        <a:latin typeface="Calibri" panose="020F0502020204030204" pitchFamily="34" charset="0"/>
                        <a:ea typeface="+mn-ea"/>
                        <a:cs typeface="Calibri" panose="020F0502020204030204" pitchFamily="34" charset="0"/>
                      </a:endParaRP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8.8M</a:t>
                      </a:r>
                    </a:p>
                  </a:txBody>
                  <a:tcPr marL="97038" marR="97038" marT="48519" marB="48519"/>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8.8M</a:t>
                      </a:r>
                    </a:p>
                  </a:txBody>
                  <a:tcPr marL="97038" marR="97038" marT="48519" marB="48519">
                    <a:lnR w="12700" cap="flat" cmpd="sng" algn="ctr">
                      <a:solidFill>
                        <a:schemeClr val="tx1"/>
                      </a:solidFill>
                      <a:prstDash val="solid"/>
                      <a:round/>
                      <a:headEnd type="none" w="med" len="med"/>
                      <a:tailEnd type="none" w="med" len="med"/>
                    </a:lnR>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8.8M</a:t>
                      </a:r>
                    </a:p>
                  </a:txBody>
                  <a:tcPr marL="97038" marR="97038" marT="48519" marB="48519">
                    <a:lnL w="12700" cap="flat" cmpd="sng" algn="ctr">
                      <a:solidFill>
                        <a:schemeClr val="tx1"/>
                      </a:solidFill>
                      <a:prstDash val="solid"/>
                      <a:round/>
                      <a:headEnd type="none" w="med" len="med"/>
                      <a:tailEnd type="none" w="med" len="med"/>
                    </a:lnL>
                  </a:tcPr>
                </a:tc>
                <a:tc>
                  <a:txBody>
                    <a:bodyPr/>
                    <a:lstStyle/>
                    <a:p>
                      <a:pPr algn="r"/>
                      <a:r>
                        <a:rPr lang="en-US" sz="1600" kern="1200" baseline="0" dirty="0">
                          <a:solidFill>
                            <a:schemeClr val="dk1"/>
                          </a:solidFill>
                          <a:latin typeface="Calibri" panose="020F0502020204030204" pitchFamily="34" charset="0"/>
                          <a:ea typeface="+mn-ea"/>
                          <a:cs typeface="Calibri" panose="020F0502020204030204" pitchFamily="34" charset="0"/>
                        </a:rPr>
                        <a:t>$18.8M</a:t>
                      </a:r>
                    </a:p>
                  </a:txBody>
                  <a:tcPr marL="97038" marR="97038" marT="48519" marB="48519"/>
                </a:tc>
                <a:extLst>
                  <a:ext uri="{0D108BD9-81ED-4DB2-BD59-A6C34878D82A}">
                    <a16:rowId xmlns:a16="http://schemas.microsoft.com/office/drawing/2014/main" val="2885966591"/>
                  </a:ext>
                </a:extLst>
              </a:tr>
            </a:tbl>
          </a:graphicData>
        </a:graphic>
      </p:graphicFrame>
      <p:sp>
        <p:nvSpPr>
          <p:cNvPr id="11" name="TextBox 10"/>
          <p:cNvSpPr txBox="1"/>
          <p:nvPr/>
        </p:nvSpPr>
        <p:spPr>
          <a:xfrm>
            <a:off x="1676400" y="6255305"/>
            <a:ext cx="51816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Source: </a:t>
            </a:r>
            <a:r>
              <a:rPr lang="en-US" dirty="0">
                <a:solidFill>
                  <a:srgbClr val="000000"/>
                </a:solidFill>
                <a:latin typeface="Calibri" panose="020F0502020204030204" pitchFamily="34" charset="0"/>
              </a:rPr>
              <a:t>https://oa.mo.gov/budget-planning</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656130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53</a:t>
            </a:fld>
            <a:endParaRPr lang="en-US" dirty="0">
              <a:latin typeface="Palatino Linotype"/>
            </a:endParaRPr>
          </a:p>
        </p:txBody>
      </p:sp>
      <p:sp>
        <p:nvSpPr>
          <p:cNvPr id="6" name="Title 3"/>
          <p:cNvSpPr txBox="1">
            <a:spLocks/>
          </p:cNvSpPr>
          <p:nvPr/>
        </p:nvSpPr>
        <p:spPr>
          <a:xfrm>
            <a:off x="1906464" y="228600"/>
            <a:ext cx="7886700" cy="533400"/>
          </a:xfrm>
          <a:prstGeom prst="rect">
            <a:avLst/>
          </a:prstGeom>
        </p:spPr>
        <p:txBody>
          <a:bodyPr vert="horz" lIns="0" tIns="45720" rIns="0" bIns="45720" rtlCol="0" anchor="ctr">
            <a:normAutofit fontScale="40000" lnSpcReduction="2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lgn="ctr">
              <a:defRPr/>
            </a:pPr>
            <a:r>
              <a:rPr lang="en-US" sz="6000" b="1" dirty="0">
                <a:solidFill>
                  <a:srgbClr val="1B587C"/>
                </a:solidFill>
              </a:rPr>
              <a:t>MO HealthNet (MHD) Budget Request </a:t>
            </a:r>
          </a:p>
          <a:p>
            <a:pPr algn="ctr">
              <a:defRPr/>
            </a:pPr>
            <a:r>
              <a:rPr lang="en-US" sz="2200" b="1" dirty="0">
                <a:solidFill>
                  <a:srgbClr val="1B587C"/>
                </a:solidFill>
                <a:latin typeface="+mj-lt"/>
              </a:rPr>
              <a:t>State Fiscal Year (SFY) 2022</a:t>
            </a:r>
          </a:p>
        </p:txBody>
      </p:sp>
      <p:graphicFrame>
        <p:nvGraphicFramePr>
          <p:cNvPr id="3" name="Table 2"/>
          <p:cNvGraphicFramePr>
            <a:graphicFrameLocks noGrp="1"/>
          </p:cNvGraphicFramePr>
          <p:nvPr>
            <p:extLst>
              <p:ext uri="{D42A27DB-BD31-4B8C-83A1-F6EECF244321}">
                <p14:modId xmlns:p14="http://schemas.microsoft.com/office/powerpoint/2010/main" val="2098852489"/>
              </p:ext>
            </p:extLst>
          </p:nvPr>
        </p:nvGraphicFramePr>
        <p:xfrm>
          <a:off x="1676402" y="914401"/>
          <a:ext cx="8763001" cy="4693872"/>
        </p:xfrm>
        <a:graphic>
          <a:graphicData uri="http://schemas.openxmlformats.org/drawingml/2006/table">
            <a:tbl>
              <a:tblPr firstRow="1" bandRow="1">
                <a:tableStyleId>{5C22544A-7EE6-4342-B048-85BDC9FD1C3A}</a:tableStyleId>
              </a:tblPr>
              <a:tblGrid>
                <a:gridCol w="4645796">
                  <a:extLst>
                    <a:ext uri="{9D8B030D-6E8A-4147-A177-3AD203B41FA5}">
                      <a16:colId xmlns:a16="http://schemas.microsoft.com/office/drawing/2014/main" val="2254087457"/>
                    </a:ext>
                  </a:extLst>
                </a:gridCol>
                <a:gridCol w="243304">
                  <a:extLst>
                    <a:ext uri="{9D8B030D-6E8A-4147-A177-3AD203B41FA5}">
                      <a16:colId xmlns:a16="http://schemas.microsoft.com/office/drawing/2014/main" val="1525212573"/>
                    </a:ext>
                  </a:extLst>
                </a:gridCol>
                <a:gridCol w="830032">
                  <a:extLst>
                    <a:ext uri="{9D8B030D-6E8A-4147-A177-3AD203B41FA5}">
                      <a16:colId xmlns:a16="http://schemas.microsoft.com/office/drawing/2014/main" val="2781833281"/>
                    </a:ext>
                  </a:extLst>
                </a:gridCol>
                <a:gridCol w="1014623">
                  <a:extLst>
                    <a:ext uri="{9D8B030D-6E8A-4147-A177-3AD203B41FA5}">
                      <a16:colId xmlns:a16="http://schemas.microsoft.com/office/drawing/2014/main" val="1036983455"/>
                    </a:ext>
                  </a:extLst>
                </a:gridCol>
                <a:gridCol w="1014623">
                  <a:extLst>
                    <a:ext uri="{9D8B030D-6E8A-4147-A177-3AD203B41FA5}">
                      <a16:colId xmlns:a16="http://schemas.microsoft.com/office/drawing/2014/main" val="3934375316"/>
                    </a:ext>
                  </a:extLst>
                </a:gridCol>
                <a:gridCol w="1014623">
                  <a:extLst>
                    <a:ext uri="{9D8B030D-6E8A-4147-A177-3AD203B41FA5}">
                      <a16:colId xmlns:a16="http://schemas.microsoft.com/office/drawing/2014/main" val="2576756686"/>
                    </a:ext>
                  </a:extLst>
                </a:gridCol>
              </a:tblGrid>
              <a:tr h="358642">
                <a:tc gridSpan="6">
                  <a:txBody>
                    <a:bodyPr/>
                    <a:lstStyle/>
                    <a:p>
                      <a:pPr algn="ctr"/>
                      <a:r>
                        <a:rPr lang="en-US" sz="1800" dirty="0">
                          <a:latin typeface="Calibri" panose="020F0502020204030204" pitchFamily="34" charset="0"/>
                          <a:cs typeface="Calibri" panose="020F0502020204030204" pitchFamily="34" charset="0"/>
                        </a:rPr>
                        <a:t>SFY</a:t>
                      </a:r>
                      <a:r>
                        <a:rPr lang="en-US" sz="1800" baseline="0" dirty="0">
                          <a:latin typeface="Calibri" panose="020F0502020204030204" pitchFamily="34" charset="0"/>
                          <a:cs typeface="Calibri" panose="020F0502020204030204" pitchFamily="34" charset="0"/>
                        </a:rPr>
                        <a:t> </a:t>
                      </a:r>
                      <a:r>
                        <a:rPr lang="en-US" sz="1800" baseline="0" dirty="0" smtClean="0">
                          <a:latin typeface="Calibri" panose="020F0502020204030204" pitchFamily="34" charset="0"/>
                          <a:cs typeface="Calibri" panose="020F0502020204030204" pitchFamily="34" charset="0"/>
                        </a:rPr>
                        <a:t>2022 </a:t>
                      </a:r>
                      <a:r>
                        <a:rPr lang="en-US" sz="1800" baseline="0" dirty="0">
                          <a:latin typeface="Calibri" panose="020F0502020204030204" pitchFamily="34" charset="0"/>
                          <a:cs typeface="Calibri" panose="020F0502020204030204" pitchFamily="34" charset="0"/>
                        </a:rPr>
                        <a:t>Request</a:t>
                      </a:r>
                      <a:endParaRPr lang="en-US" sz="1800" dirty="0">
                        <a:latin typeface="Calibri" panose="020F0502020204030204" pitchFamily="34" charset="0"/>
                        <a:cs typeface="Calibri" panose="020F0502020204030204" pitchFamily="34" charset="0"/>
                      </a:endParaRP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213566347"/>
                  </a:ext>
                </a:extLst>
              </a:tr>
              <a:tr h="391152">
                <a:tc>
                  <a:txBody>
                    <a:bodyPr/>
                    <a:lstStyle/>
                    <a:p>
                      <a:pPr algn="l"/>
                      <a:endParaRPr lang="en-US" sz="1600" b="1" dirty="0">
                        <a:latin typeface="Calibri" panose="020F0502020204030204" pitchFamily="34" charset="0"/>
                        <a:cs typeface="Calibri" panose="020F0502020204030204" pitchFamily="34" charset="0"/>
                      </a:endParaRP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Dept Req</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ov Rec</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3136039361"/>
                  </a:ext>
                </a:extLst>
              </a:tr>
              <a:tr h="567850">
                <a:tc>
                  <a:txBody>
                    <a:bodyPr/>
                    <a:lstStyle/>
                    <a:p>
                      <a:pPr algn="l"/>
                      <a:r>
                        <a:rPr lang="en-US" sz="1600" b="1" dirty="0">
                          <a:latin typeface="Calibri" panose="020F0502020204030204" pitchFamily="34" charset="0"/>
                          <a:cs typeface="Calibri" panose="020F0502020204030204" pitchFamily="34" charset="0"/>
                        </a:rPr>
                        <a:t>Medicaid Management</a:t>
                      </a:r>
                      <a:r>
                        <a:rPr lang="en-US" sz="1600" b="1" baseline="0" dirty="0">
                          <a:latin typeface="Calibri" panose="020F0502020204030204" pitchFamily="34" charset="0"/>
                          <a:cs typeface="Calibri" panose="020F0502020204030204" pitchFamily="34" charset="0"/>
                        </a:rPr>
                        <a:t> </a:t>
                      </a:r>
                      <a:r>
                        <a:rPr lang="en-US" sz="1600" b="1" dirty="0">
                          <a:latin typeface="Calibri" panose="020F0502020204030204" pitchFamily="34" charset="0"/>
                          <a:cs typeface="Calibri" panose="020F0502020204030204" pitchFamily="34" charset="0"/>
                        </a:rPr>
                        <a:t>Information Systems</a:t>
                      </a:r>
                      <a:r>
                        <a:rPr lang="en-US" sz="1600" b="1" baseline="0" dirty="0">
                          <a:latin typeface="Calibri" panose="020F0502020204030204" pitchFamily="34" charset="0"/>
                          <a:cs typeface="Calibri" panose="020F0502020204030204" pitchFamily="34" charset="0"/>
                        </a:rPr>
                        <a:t> (MMIS) </a:t>
                      </a:r>
                      <a:r>
                        <a:rPr lang="en-US" sz="1600" b="1" dirty="0">
                          <a:latin typeface="Calibri" panose="020F0502020204030204" pitchFamily="34" charset="0"/>
                          <a:cs typeface="Calibri" panose="020F0502020204030204" pitchFamily="34" charset="0"/>
                        </a:rPr>
                        <a:t>Requests</a:t>
                      </a: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extLst>
                  <a:ext uri="{0D108BD9-81ED-4DB2-BD59-A6C34878D82A}">
                    <a16:rowId xmlns:a16="http://schemas.microsoft.com/office/drawing/2014/main" val="3508809717"/>
                  </a:ext>
                </a:extLst>
              </a:tr>
              <a:tr h="391152">
                <a:tc>
                  <a:txBody>
                    <a:bodyPr/>
                    <a:lstStyle/>
                    <a:p>
                      <a:r>
                        <a:rPr lang="en-US" sz="1600" dirty="0">
                          <a:latin typeface="Calibri" panose="020F0502020204030204" pitchFamily="34" charset="0"/>
                          <a:cs typeface="Calibri" panose="020F0502020204030204" pitchFamily="34" charset="0"/>
                        </a:rPr>
                        <a:t>MMIS Health Information Exchange (HIE)</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2.9M</a:t>
                      </a:r>
                    </a:p>
                  </a:txBody>
                  <a:tcPr/>
                </a:tc>
                <a:tc>
                  <a:txBody>
                    <a:bodyPr/>
                    <a:lstStyle/>
                    <a:p>
                      <a:pPr algn="r"/>
                      <a:r>
                        <a:rPr lang="en-US" sz="1600" dirty="0">
                          <a:latin typeface="Calibri" panose="020F0502020204030204" pitchFamily="34" charset="0"/>
                          <a:cs typeface="Calibri" panose="020F0502020204030204" pitchFamily="34" charset="0"/>
                        </a:rPr>
                        <a:t>$5.7M</a:t>
                      </a:r>
                    </a:p>
                  </a:txBody>
                  <a:tcPr/>
                </a:tc>
                <a:tc>
                  <a:txBody>
                    <a:bodyPr/>
                    <a:lstStyle/>
                    <a:p>
                      <a:pPr algn="r"/>
                      <a:r>
                        <a:rPr lang="en-US" sz="1600" dirty="0">
                          <a:latin typeface="Calibri" panose="020F0502020204030204" pitchFamily="34" charset="0"/>
                          <a:cs typeface="Calibri" panose="020F0502020204030204" pitchFamily="34" charset="0"/>
                        </a:rPr>
                        <a:t>$2.9M</a:t>
                      </a:r>
                    </a:p>
                  </a:txBody>
                  <a:tcPr/>
                </a:tc>
                <a:tc>
                  <a:txBody>
                    <a:bodyPr/>
                    <a:lstStyle/>
                    <a:p>
                      <a:pPr algn="r"/>
                      <a:r>
                        <a:rPr lang="en-US" sz="1600" dirty="0">
                          <a:latin typeface="Calibri" panose="020F0502020204030204" pitchFamily="34" charset="0"/>
                          <a:cs typeface="Calibri" panose="020F0502020204030204" pitchFamily="34" charset="0"/>
                        </a:rPr>
                        <a:t>$5.7M</a:t>
                      </a:r>
                    </a:p>
                  </a:txBody>
                  <a:tcPr/>
                </a:tc>
                <a:extLst>
                  <a:ext uri="{0D108BD9-81ED-4DB2-BD59-A6C34878D82A}">
                    <a16:rowId xmlns:a16="http://schemas.microsoft.com/office/drawing/2014/main" val="3669514653"/>
                  </a:ext>
                </a:extLst>
              </a:tr>
              <a:tr h="806945">
                <a:tc>
                  <a:txBody>
                    <a:bodyPr/>
                    <a:lstStyle/>
                    <a:p>
                      <a:r>
                        <a:rPr lang="en-US" sz="1600" dirty="0">
                          <a:latin typeface="Calibri" panose="020F0502020204030204" pitchFamily="34" charset="0"/>
                          <a:cs typeface="Calibri" panose="020F0502020204030204" pitchFamily="34" charset="0"/>
                        </a:rPr>
                        <a:t>Clinical Management</a:t>
                      </a:r>
                      <a:r>
                        <a:rPr lang="en-US" sz="1600" baseline="0" dirty="0">
                          <a:latin typeface="Calibri" panose="020F0502020204030204" pitchFamily="34" charset="0"/>
                          <a:cs typeface="Calibri" panose="020F0502020204030204" pitchFamily="34" charset="0"/>
                        </a:rPr>
                        <a:t> Services for Claims and System for Pharmacy Claims and Prior Authorizations (CMSP) Contractual Increases</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5M</a:t>
                      </a:r>
                    </a:p>
                  </a:txBody>
                  <a:tcPr/>
                </a:tc>
                <a:tc>
                  <a:txBody>
                    <a:bodyPr/>
                    <a:lstStyle/>
                    <a:p>
                      <a:pPr algn="r"/>
                      <a:r>
                        <a:rPr lang="en-US" sz="1600" dirty="0">
                          <a:latin typeface="Calibri" panose="020F0502020204030204" pitchFamily="34" charset="0"/>
                          <a:cs typeface="Calibri" panose="020F0502020204030204" pitchFamily="34" charset="0"/>
                        </a:rPr>
                        <a:t>$1.5M</a:t>
                      </a:r>
                    </a:p>
                  </a:txBody>
                  <a:tcPr/>
                </a:tc>
                <a:tc>
                  <a:txBody>
                    <a:bodyPr/>
                    <a:lstStyle/>
                    <a:p>
                      <a:pPr algn="r"/>
                      <a:r>
                        <a:rPr lang="en-US" sz="1600" dirty="0">
                          <a:latin typeface="Calibri" panose="020F0502020204030204" pitchFamily="34" charset="0"/>
                          <a:cs typeface="Calibri" panose="020F0502020204030204" pitchFamily="34" charset="0"/>
                        </a:rPr>
                        <a:t>$0.5M</a:t>
                      </a:r>
                    </a:p>
                  </a:txBody>
                  <a:tcPr/>
                </a:tc>
                <a:tc>
                  <a:txBody>
                    <a:bodyPr/>
                    <a:lstStyle/>
                    <a:p>
                      <a:pPr algn="r"/>
                      <a:r>
                        <a:rPr lang="en-US" sz="1600" dirty="0">
                          <a:latin typeface="Calibri" panose="020F0502020204030204" pitchFamily="34" charset="0"/>
                          <a:cs typeface="Calibri" panose="020F0502020204030204" pitchFamily="34" charset="0"/>
                        </a:rPr>
                        <a:t>$1.5M</a:t>
                      </a:r>
                    </a:p>
                  </a:txBody>
                  <a:tcPr/>
                </a:tc>
                <a:extLst>
                  <a:ext uri="{0D108BD9-81ED-4DB2-BD59-A6C34878D82A}">
                    <a16:rowId xmlns:a16="http://schemas.microsoft.com/office/drawing/2014/main" val="382135348"/>
                  </a:ext>
                </a:extLst>
              </a:tr>
              <a:tr h="391152">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MIS Security Risk Assessment (Existing System)</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8M</a:t>
                      </a:r>
                    </a:p>
                  </a:txBody>
                  <a:tcPr/>
                </a:tc>
                <a:tc>
                  <a:txBody>
                    <a:bodyPr/>
                    <a:lstStyle/>
                    <a:p>
                      <a:pPr algn="r"/>
                      <a:r>
                        <a:rPr lang="en-US" sz="1600" dirty="0">
                          <a:latin typeface="Calibri" panose="020F0502020204030204" pitchFamily="34" charset="0"/>
                          <a:cs typeface="Calibri" panose="020F0502020204030204" pitchFamily="34" charset="0"/>
                        </a:rPr>
                        <a:t>$1.7M</a:t>
                      </a:r>
                    </a:p>
                  </a:txBody>
                  <a:tcPr/>
                </a:tc>
                <a:tc>
                  <a:txBody>
                    <a:bodyPr/>
                    <a:lstStyle/>
                    <a:p>
                      <a:pPr algn="r"/>
                      <a:r>
                        <a:rPr lang="en-US" sz="1600" dirty="0">
                          <a:latin typeface="Calibri" panose="020F0502020204030204" pitchFamily="34" charset="0"/>
                          <a:cs typeface="Calibri" panose="020F0502020204030204" pitchFamily="34" charset="0"/>
                        </a:rPr>
                        <a:t>$0.8M</a:t>
                      </a:r>
                    </a:p>
                  </a:txBody>
                  <a:tcPr/>
                </a:tc>
                <a:tc>
                  <a:txBody>
                    <a:bodyPr/>
                    <a:lstStyle/>
                    <a:p>
                      <a:pPr algn="r"/>
                      <a:r>
                        <a:rPr lang="en-US" sz="1600" dirty="0">
                          <a:latin typeface="Calibri" panose="020F0502020204030204" pitchFamily="34" charset="0"/>
                          <a:cs typeface="Calibri" panose="020F0502020204030204" pitchFamily="34" charset="0"/>
                        </a:rPr>
                        <a:t>$1.7M</a:t>
                      </a:r>
                    </a:p>
                  </a:txBody>
                  <a:tcPr/>
                </a:tc>
                <a:extLst>
                  <a:ext uri="{0D108BD9-81ED-4DB2-BD59-A6C34878D82A}">
                    <a16:rowId xmlns:a16="http://schemas.microsoft.com/office/drawing/2014/main" val="3315909834"/>
                  </a:ext>
                </a:extLst>
              </a:tr>
              <a:tr h="391152">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MIS Pharmacy Solutions</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2.8M</a:t>
                      </a:r>
                    </a:p>
                  </a:txBody>
                  <a:tcPr/>
                </a:tc>
                <a:tc>
                  <a:txBody>
                    <a:bodyPr/>
                    <a:lstStyle/>
                    <a:p>
                      <a:pPr algn="r"/>
                      <a:r>
                        <a:rPr lang="en-US" sz="1600" dirty="0">
                          <a:latin typeface="Calibri" panose="020F0502020204030204" pitchFamily="34" charset="0"/>
                          <a:cs typeface="Calibri" panose="020F0502020204030204" pitchFamily="34" charset="0"/>
                        </a:rPr>
                        <a:t>$11.0M</a:t>
                      </a:r>
                    </a:p>
                  </a:txBody>
                  <a:tcPr/>
                </a:tc>
                <a:tc>
                  <a:txBody>
                    <a:bodyPr/>
                    <a:lstStyle/>
                    <a:p>
                      <a:pPr algn="r"/>
                      <a:r>
                        <a:rPr lang="en-US" sz="1600" dirty="0">
                          <a:latin typeface="Calibri" panose="020F0502020204030204" pitchFamily="34" charset="0"/>
                          <a:cs typeface="Calibri" panose="020F0502020204030204" pitchFamily="34" charset="0"/>
                        </a:rPr>
                        <a:t>$2.8M</a:t>
                      </a:r>
                    </a:p>
                  </a:txBody>
                  <a:tcPr/>
                </a:tc>
                <a:tc>
                  <a:txBody>
                    <a:bodyPr/>
                    <a:lstStyle/>
                    <a:p>
                      <a:pPr algn="r"/>
                      <a:r>
                        <a:rPr lang="en-US" sz="1600" dirty="0">
                          <a:latin typeface="Calibri" panose="020F0502020204030204" pitchFamily="34" charset="0"/>
                          <a:cs typeface="Calibri" panose="020F0502020204030204" pitchFamily="34" charset="0"/>
                        </a:rPr>
                        <a:t>$11.0M</a:t>
                      </a:r>
                    </a:p>
                  </a:txBody>
                  <a:tcPr/>
                </a:tc>
                <a:extLst>
                  <a:ext uri="{0D108BD9-81ED-4DB2-BD59-A6C34878D82A}">
                    <a16:rowId xmlns:a16="http://schemas.microsoft.com/office/drawing/2014/main" val="1800645877"/>
                  </a:ext>
                </a:extLst>
              </a:tr>
              <a:tr h="391152">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MIS Premium Collections (Enrollment Broker)</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3M</a:t>
                      </a:r>
                    </a:p>
                  </a:txBody>
                  <a:tcPr/>
                </a:tc>
                <a:tc>
                  <a:txBody>
                    <a:bodyPr/>
                    <a:lstStyle/>
                    <a:p>
                      <a:pPr algn="r"/>
                      <a:r>
                        <a:rPr lang="en-US" sz="1600" dirty="0">
                          <a:latin typeface="Calibri" panose="020F0502020204030204" pitchFamily="34" charset="0"/>
                          <a:cs typeface="Calibri" panose="020F0502020204030204" pitchFamily="34" charset="0"/>
                        </a:rPr>
                        <a:t>$1.3M</a:t>
                      </a:r>
                    </a:p>
                  </a:txBody>
                  <a:tcPr/>
                </a:tc>
                <a:tc>
                  <a:txBody>
                    <a:bodyPr/>
                    <a:lstStyle/>
                    <a:p>
                      <a:pPr algn="r"/>
                      <a:r>
                        <a:rPr lang="en-US" sz="1600" dirty="0">
                          <a:latin typeface="Calibri" panose="020F0502020204030204" pitchFamily="34" charset="0"/>
                          <a:cs typeface="Calibri" panose="020F0502020204030204" pitchFamily="34" charset="0"/>
                        </a:rPr>
                        <a:t>$0.3M</a:t>
                      </a:r>
                    </a:p>
                  </a:txBody>
                  <a:tcPr/>
                </a:tc>
                <a:tc>
                  <a:txBody>
                    <a:bodyPr/>
                    <a:lstStyle/>
                    <a:p>
                      <a:pPr algn="r"/>
                      <a:r>
                        <a:rPr lang="en-US" sz="1600" dirty="0">
                          <a:latin typeface="Calibri" panose="020F0502020204030204" pitchFamily="34" charset="0"/>
                          <a:cs typeface="Calibri" panose="020F0502020204030204" pitchFamily="34" charset="0"/>
                        </a:rPr>
                        <a:t>$1.3M</a:t>
                      </a:r>
                    </a:p>
                  </a:txBody>
                  <a:tcPr/>
                </a:tc>
                <a:extLst>
                  <a:ext uri="{0D108BD9-81ED-4DB2-BD59-A6C34878D82A}">
                    <a16:rowId xmlns:a16="http://schemas.microsoft.com/office/drawing/2014/main" val="1863942102"/>
                  </a:ext>
                </a:extLst>
              </a:tr>
              <a:tr h="567850">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MIS Business Intelligence Solution-Enterprise Data Warehouse (Operations)</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1.6M</a:t>
                      </a:r>
                    </a:p>
                  </a:txBody>
                  <a:tcPr/>
                </a:tc>
                <a:tc>
                  <a:txBody>
                    <a:bodyPr/>
                    <a:lstStyle/>
                    <a:p>
                      <a:pPr algn="r"/>
                      <a:r>
                        <a:rPr lang="en-US" sz="1600" dirty="0">
                          <a:latin typeface="Calibri" panose="020F0502020204030204" pitchFamily="34" charset="0"/>
                          <a:cs typeface="Calibri" panose="020F0502020204030204" pitchFamily="34" charset="0"/>
                        </a:rPr>
                        <a:t>$3.1M</a:t>
                      </a:r>
                    </a:p>
                  </a:txBody>
                  <a:tcPr/>
                </a:tc>
                <a:tc>
                  <a:txBody>
                    <a:bodyPr/>
                    <a:lstStyle/>
                    <a:p>
                      <a:pPr algn="r"/>
                      <a:r>
                        <a:rPr lang="en-US" sz="1600" dirty="0">
                          <a:latin typeface="Calibri" panose="020F0502020204030204" pitchFamily="34" charset="0"/>
                          <a:cs typeface="Calibri" panose="020F0502020204030204" pitchFamily="34" charset="0"/>
                        </a:rPr>
                        <a:t>$1.6M</a:t>
                      </a:r>
                    </a:p>
                  </a:txBody>
                  <a:tcPr/>
                </a:tc>
                <a:tc>
                  <a:txBody>
                    <a:bodyPr/>
                    <a:lstStyle/>
                    <a:p>
                      <a:pPr algn="r"/>
                      <a:r>
                        <a:rPr lang="en-US" sz="1600" dirty="0">
                          <a:latin typeface="Calibri" panose="020F0502020204030204" pitchFamily="34" charset="0"/>
                          <a:cs typeface="Calibri" panose="020F0502020204030204" pitchFamily="34" charset="0"/>
                        </a:rPr>
                        <a:t>$3.1M</a:t>
                      </a:r>
                    </a:p>
                  </a:txBody>
                  <a:tcPr/>
                </a:tc>
                <a:extLst>
                  <a:ext uri="{0D108BD9-81ED-4DB2-BD59-A6C34878D82A}">
                    <a16:rowId xmlns:a16="http://schemas.microsoft.com/office/drawing/2014/main" val="2885966591"/>
                  </a:ext>
                </a:extLst>
              </a:tr>
              <a:tr h="391152">
                <a:tc>
                  <a:txBody>
                    <a:bodyPr/>
                    <a:lstStyle/>
                    <a:p>
                      <a:r>
                        <a:rPr lang="en-US" sz="1600" kern="1200" baseline="0" dirty="0">
                          <a:solidFill>
                            <a:schemeClr val="dk1"/>
                          </a:solidFill>
                          <a:latin typeface="Calibri" panose="020F0502020204030204" pitchFamily="34" charset="0"/>
                          <a:ea typeface="+mn-ea"/>
                          <a:cs typeface="Calibri" panose="020F0502020204030204" pitchFamily="34" charset="0"/>
                        </a:rPr>
                        <a:t>MMIS Managed Care Contract Management Tool</a:t>
                      </a: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0.7M</a:t>
                      </a:r>
                    </a:p>
                  </a:txBody>
                  <a:tcPr/>
                </a:tc>
                <a:tc>
                  <a:txBody>
                    <a:bodyPr/>
                    <a:lstStyle/>
                    <a:p>
                      <a:pPr algn="r"/>
                      <a:r>
                        <a:rPr lang="en-US" sz="1600" dirty="0">
                          <a:latin typeface="Calibri" panose="020F0502020204030204" pitchFamily="34" charset="0"/>
                          <a:cs typeface="Calibri" panose="020F0502020204030204" pitchFamily="34" charset="0"/>
                        </a:rPr>
                        <a:t>$7.0M</a:t>
                      </a:r>
                    </a:p>
                  </a:txBody>
                  <a:tcPr/>
                </a:tc>
                <a:tc>
                  <a:txBody>
                    <a:bodyPr/>
                    <a:lstStyle/>
                    <a:p>
                      <a:pPr algn="r"/>
                      <a:r>
                        <a:rPr lang="en-US" sz="1600" dirty="0">
                          <a:latin typeface="Calibri" panose="020F0502020204030204" pitchFamily="34" charset="0"/>
                          <a:cs typeface="Calibri" panose="020F0502020204030204" pitchFamily="34" charset="0"/>
                        </a:rPr>
                        <a:t>$0.7M</a:t>
                      </a:r>
                    </a:p>
                  </a:txBody>
                  <a:tcPr/>
                </a:tc>
                <a:tc>
                  <a:txBody>
                    <a:bodyPr/>
                    <a:lstStyle/>
                    <a:p>
                      <a:pPr algn="r"/>
                      <a:r>
                        <a:rPr lang="en-US" sz="1600" dirty="0">
                          <a:latin typeface="Calibri" panose="020F0502020204030204" pitchFamily="34" charset="0"/>
                          <a:cs typeface="Calibri" panose="020F0502020204030204" pitchFamily="34" charset="0"/>
                        </a:rPr>
                        <a:t>$7.0M</a:t>
                      </a:r>
                    </a:p>
                  </a:txBody>
                  <a:tcPr/>
                </a:tc>
                <a:extLst>
                  <a:ext uri="{0D108BD9-81ED-4DB2-BD59-A6C34878D82A}">
                    <a16:rowId xmlns:a16="http://schemas.microsoft.com/office/drawing/2014/main" val="3113779401"/>
                  </a:ext>
                </a:extLst>
              </a:tr>
            </a:tbl>
          </a:graphicData>
        </a:graphic>
      </p:graphicFrame>
      <p:sp>
        <p:nvSpPr>
          <p:cNvPr id="11" name="TextBox 10"/>
          <p:cNvSpPr txBox="1"/>
          <p:nvPr/>
        </p:nvSpPr>
        <p:spPr>
          <a:xfrm>
            <a:off x="1676400" y="6255305"/>
            <a:ext cx="51816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Source: </a:t>
            </a:r>
            <a:r>
              <a:rPr lang="en-US" dirty="0">
                <a:solidFill>
                  <a:srgbClr val="000000"/>
                </a:solidFill>
                <a:latin typeface="Calibri" panose="020F0502020204030204" pitchFamily="34" charset="0"/>
              </a:rPr>
              <a:t>https://oa.mo.gov/budget-planning</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00245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001C670-DC88-4376-AA6B-FD9548DDC9F2}" type="slidenum">
              <a:rPr lang="en-US">
                <a:latin typeface="Palatino Linotype"/>
              </a:rPr>
              <a:pPr>
                <a:defRPr/>
              </a:pPr>
              <a:t>54</a:t>
            </a:fld>
            <a:endParaRPr lang="en-US" dirty="0">
              <a:latin typeface="Palatino Linotype"/>
            </a:endParaRPr>
          </a:p>
        </p:txBody>
      </p:sp>
      <p:sp>
        <p:nvSpPr>
          <p:cNvPr id="6" name="Title 3"/>
          <p:cNvSpPr txBox="1">
            <a:spLocks/>
          </p:cNvSpPr>
          <p:nvPr/>
        </p:nvSpPr>
        <p:spPr>
          <a:xfrm>
            <a:off x="1906464" y="418154"/>
            <a:ext cx="7886700" cy="679262"/>
          </a:xfrm>
          <a:prstGeom prst="rect">
            <a:avLst/>
          </a:prstGeom>
        </p:spPr>
        <p:txBody>
          <a:bodyPr vert="horz" lIns="0" tIns="45720" rIns="0" bIns="45720" rtlCol="0" anchor="ctr">
            <a:normAutofit fontScale="55000" lnSpcReduction="20000"/>
          </a:bodyPr>
          <a:lstStyle>
            <a:lvl1pPr algn="l" defTabSz="914400" rtl="0" eaLnBrk="1" latinLnBrk="0" hangingPunct="1">
              <a:spcBef>
                <a:spcPct val="0"/>
              </a:spcBef>
              <a:buNone/>
              <a:defRPr sz="3600" kern="1200" cap="none" baseline="0">
                <a:solidFill>
                  <a:schemeClr val="accent3"/>
                </a:solidFill>
                <a:latin typeface="Calibri" panose="020F050202020403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lgn="ctr">
              <a:defRPr/>
            </a:pPr>
            <a:r>
              <a:rPr lang="en-US" sz="6000" b="1" dirty="0">
                <a:solidFill>
                  <a:srgbClr val="1B587C"/>
                </a:solidFill>
              </a:rPr>
              <a:t>MO HealthNet (MHD) Budget Request </a:t>
            </a:r>
          </a:p>
          <a:p>
            <a:pPr algn="ctr">
              <a:defRPr/>
            </a:pPr>
            <a:r>
              <a:rPr lang="en-US" sz="2200" b="1" dirty="0">
                <a:solidFill>
                  <a:srgbClr val="1B587C"/>
                </a:solidFill>
                <a:latin typeface="+mj-lt"/>
              </a:rPr>
              <a:t>State Fiscal Year (SFY) 2022</a:t>
            </a:r>
          </a:p>
        </p:txBody>
      </p:sp>
      <p:graphicFrame>
        <p:nvGraphicFramePr>
          <p:cNvPr id="3" name="Table 2"/>
          <p:cNvGraphicFramePr>
            <a:graphicFrameLocks noGrp="1"/>
          </p:cNvGraphicFramePr>
          <p:nvPr>
            <p:extLst/>
          </p:nvPr>
        </p:nvGraphicFramePr>
        <p:xfrm>
          <a:off x="1676402" y="1317331"/>
          <a:ext cx="8763001" cy="2190588"/>
        </p:xfrm>
        <a:graphic>
          <a:graphicData uri="http://schemas.openxmlformats.org/drawingml/2006/table">
            <a:tbl>
              <a:tblPr firstRow="1" bandRow="1">
                <a:tableStyleId>{5C22544A-7EE6-4342-B048-85BDC9FD1C3A}</a:tableStyleId>
              </a:tblPr>
              <a:tblGrid>
                <a:gridCol w="4645796">
                  <a:extLst>
                    <a:ext uri="{9D8B030D-6E8A-4147-A177-3AD203B41FA5}">
                      <a16:colId xmlns:a16="http://schemas.microsoft.com/office/drawing/2014/main" val="2254087457"/>
                    </a:ext>
                  </a:extLst>
                </a:gridCol>
                <a:gridCol w="243304">
                  <a:extLst>
                    <a:ext uri="{9D8B030D-6E8A-4147-A177-3AD203B41FA5}">
                      <a16:colId xmlns:a16="http://schemas.microsoft.com/office/drawing/2014/main" val="1525212573"/>
                    </a:ext>
                  </a:extLst>
                </a:gridCol>
                <a:gridCol w="830032">
                  <a:extLst>
                    <a:ext uri="{9D8B030D-6E8A-4147-A177-3AD203B41FA5}">
                      <a16:colId xmlns:a16="http://schemas.microsoft.com/office/drawing/2014/main" val="2781833281"/>
                    </a:ext>
                  </a:extLst>
                </a:gridCol>
                <a:gridCol w="1014623">
                  <a:extLst>
                    <a:ext uri="{9D8B030D-6E8A-4147-A177-3AD203B41FA5}">
                      <a16:colId xmlns:a16="http://schemas.microsoft.com/office/drawing/2014/main" val="1036983455"/>
                    </a:ext>
                  </a:extLst>
                </a:gridCol>
                <a:gridCol w="1014623">
                  <a:extLst>
                    <a:ext uri="{9D8B030D-6E8A-4147-A177-3AD203B41FA5}">
                      <a16:colId xmlns:a16="http://schemas.microsoft.com/office/drawing/2014/main" val="3934375316"/>
                    </a:ext>
                  </a:extLst>
                </a:gridCol>
                <a:gridCol w="1014623">
                  <a:extLst>
                    <a:ext uri="{9D8B030D-6E8A-4147-A177-3AD203B41FA5}">
                      <a16:colId xmlns:a16="http://schemas.microsoft.com/office/drawing/2014/main" val="2576756686"/>
                    </a:ext>
                  </a:extLst>
                </a:gridCol>
              </a:tblGrid>
              <a:tr h="359069">
                <a:tc gridSpan="6">
                  <a:txBody>
                    <a:bodyPr/>
                    <a:lstStyle/>
                    <a:p>
                      <a:pPr algn="ctr"/>
                      <a:r>
                        <a:rPr lang="en-US" sz="1800" dirty="0">
                          <a:latin typeface="Calibri" panose="020F0502020204030204" pitchFamily="34" charset="0"/>
                          <a:cs typeface="Calibri" panose="020F0502020204030204" pitchFamily="34" charset="0"/>
                        </a:rPr>
                        <a:t>SFY</a:t>
                      </a:r>
                      <a:r>
                        <a:rPr lang="en-US" sz="1800" baseline="0" dirty="0">
                          <a:latin typeface="Calibri" panose="020F0502020204030204" pitchFamily="34" charset="0"/>
                          <a:cs typeface="Calibri" panose="020F0502020204030204" pitchFamily="34" charset="0"/>
                        </a:rPr>
                        <a:t> </a:t>
                      </a:r>
                      <a:r>
                        <a:rPr lang="en-US" sz="1800" baseline="0" dirty="0" smtClean="0">
                          <a:latin typeface="Calibri" panose="020F0502020204030204" pitchFamily="34" charset="0"/>
                          <a:cs typeface="Calibri" panose="020F0502020204030204" pitchFamily="34" charset="0"/>
                        </a:rPr>
                        <a:t>2022 </a:t>
                      </a:r>
                      <a:r>
                        <a:rPr lang="en-US" sz="1800" baseline="0" dirty="0">
                          <a:latin typeface="Calibri" panose="020F0502020204030204" pitchFamily="34" charset="0"/>
                          <a:cs typeface="Calibri" panose="020F0502020204030204" pitchFamily="34" charset="0"/>
                        </a:rPr>
                        <a:t>Request</a:t>
                      </a:r>
                      <a:endParaRPr lang="en-US" sz="1800" dirty="0">
                        <a:latin typeface="Calibri" panose="020F0502020204030204" pitchFamily="34" charset="0"/>
                        <a:cs typeface="Calibri" panose="020F0502020204030204" pitchFamily="34" charset="0"/>
                      </a:endParaRP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tc hMerge="1">
                  <a:txBody>
                    <a:bodyPr/>
                    <a:lstStyle/>
                    <a:p>
                      <a:pPr algn="ctr"/>
                      <a:endParaRPr lang="en-US" sz="18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213566347"/>
                  </a:ext>
                </a:extLst>
              </a:tr>
              <a:tr h="415236">
                <a:tc>
                  <a:txBody>
                    <a:bodyPr/>
                    <a:lstStyle/>
                    <a:p>
                      <a:pPr algn="l"/>
                      <a:endParaRPr lang="en-US" sz="1600" b="1" dirty="0">
                        <a:latin typeface="Calibri" panose="020F0502020204030204" pitchFamily="34" charset="0"/>
                        <a:cs typeface="Calibri" panose="020F0502020204030204" pitchFamily="34" charset="0"/>
                      </a:endParaRP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Dept Req</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tc gridSpan="2">
                  <a:txBody>
                    <a:bodyPr/>
                    <a:lstStyle/>
                    <a:p>
                      <a:pPr marL="0" algn="ctr" defTabSz="914400" rtl="0" eaLnBrk="1" latinLnBrk="0" hangingPunct="1"/>
                      <a:r>
                        <a:rPr lang="en-US" sz="1600" b="1" kern="1200" dirty="0" smtClean="0">
                          <a:solidFill>
                            <a:schemeClr val="dk1"/>
                          </a:solidFill>
                          <a:latin typeface="Calibri" panose="020F0502020204030204" pitchFamily="34" charset="0"/>
                          <a:ea typeface="+mn-ea"/>
                          <a:cs typeface="Calibri" panose="020F0502020204030204" pitchFamily="34" charset="0"/>
                        </a:rPr>
                        <a:t>Gov Rec</a:t>
                      </a:r>
                      <a:endParaRPr lang="en-US" sz="1600" b="1" kern="1200" dirty="0">
                        <a:solidFill>
                          <a:schemeClr val="dk1"/>
                        </a:solidFill>
                        <a:latin typeface="Calibri" panose="020F0502020204030204" pitchFamily="34" charset="0"/>
                        <a:ea typeface="+mn-ea"/>
                        <a:cs typeface="Calibri" panose="020F0502020204030204" pitchFamily="34" charset="0"/>
                      </a:endParaRPr>
                    </a:p>
                  </a:txBody>
                  <a:tcPr/>
                </a:tc>
                <a:tc hMerge="1">
                  <a:txBody>
                    <a:bodyPr/>
                    <a:lstStyle/>
                    <a:p>
                      <a:pPr marL="0" algn="ctr" defTabSz="914400" rtl="0" eaLnBrk="1" latinLnBrk="0" hangingPunct="1"/>
                      <a:endParaRPr lang="en-US" sz="1800" b="1" kern="1200" dirty="0">
                        <a:solidFill>
                          <a:schemeClr val="dk1"/>
                        </a:solidFill>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3136039361"/>
                  </a:ext>
                </a:extLst>
              </a:tr>
              <a:tr h="415236">
                <a:tc>
                  <a:txBody>
                    <a:bodyPr/>
                    <a:lstStyle/>
                    <a:p>
                      <a:pPr algn="l"/>
                      <a:r>
                        <a:rPr lang="en-US" sz="1600" b="1" dirty="0" smtClean="0">
                          <a:latin typeface="Calibri" panose="020F0502020204030204" pitchFamily="34" charset="0"/>
                          <a:cs typeface="Calibri" panose="020F0502020204030204" pitchFamily="34" charset="0"/>
                        </a:rPr>
                        <a:t>New Items in Gov Rec</a:t>
                      </a:r>
                      <a:endParaRPr lang="en-US" sz="1600" b="1" dirty="0">
                        <a:latin typeface="Calibri" panose="020F0502020204030204" pitchFamily="34" charset="0"/>
                        <a:cs typeface="Calibri" panose="020F0502020204030204" pitchFamily="34" charset="0"/>
                      </a:endParaRPr>
                    </a:p>
                  </a:txBody>
                  <a:tcPr/>
                </a:tc>
                <a:tc>
                  <a:txBody>
                    <a:bodyPr/>
                    <a:lstStyle/>
                    <a:p>
                      <a:pPr algn="ctr"/>
                      <a:endParaRPr lang="en-US" sz="1600" b="1" dirty="0">
                        <a:latin typeface="Calibri" panose="020F0502020204030204" pitchFamily="34" charset="0"/>
                        <a:cs typeface="Calibri" panose="020F0502020204030204" pitchFamily="34" charset="0"/>
                      </a:endParaRP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GR</a:t>
                      </a:r>
                    </a:p>
                  </a:txBody>
                  <a:tcPr/>
                </a:tc>
                <a:tc>
                  <a:txBody>
                    <a:bodyPr/>
                    <a:lstStyle/>
                    <a:p>
                      <a:pPr marL="0" algn="ctr" defTabSz="914400" rtl="0" eaLnBrk="1" latinLnBrk="0" hangingPunct="1"/>
                      <a:r>
                        <a:rPr lang="en-US" sz="1600" b="1" kern="1200" dirty="0">
                          <a:solidFill>
                            <a:schemeClr val="dk1"/>
                          </a:solidFill>
                          <a:latin typeface="Calibri" panose="020F0502020204030204" pitchFamily="34" charset="0"/>
                          <a:ea typeface="+mn-ea"/>
                          <a:cs typeface="Calibri" panose="020F0502020204030204" pitchFamily="34" charset="0"/>
                        </a:rPr>
                        <a:t>Total</a:t>
                      </a:r>
                    </a:p>
                  </a:txBody>
                  <a:tcPr/>
                </a:tc>
                <a:extLst>
                  <a:ext uri="{0D108BD9-81ED-4DB2-BD59-A6C34878D82A}">
                    <a16:rowId xmlns:a16="http://schemas.microsoft.com/office/drawing/2014/main" val="3508809717"/>
                  </a:ext>
                </a:extLst>
              </a:tr>
              <a:tr h="415236">
                <a:tc>
                  <a:txBody>
                    <a:bodyPr/>
                    <a:lstStyle/>
                    <a:p>
                      <a:r>
                        <a:rPr lang="en-US" sz="1600" dirty="0" smtClean="0">
                          <a:latin typeface="Calibri" panose="020F0502020204030204" pitchFamily="34" charset="0"/>
                          <a:cs typeface="Calibri" panose="020F0502020204030204" pitchFamily="34" charset="0"/>
                        </a:rPr>
                        <a:t>Medicaid Expansion (Statewide</a:t>
                      </a:r>
                      <a:r>
                        <a:rPr lang="en-US" sz="1600" baseline="0" dirty="0" smtClean="0">
                          <a:latin typeface="Calibri" panose="020F0502020204030204" pitchFamily="34" charset="0"/>
                          <a:cs typeface="Calibri" panose="020F0502020204030204" pitchFamily="34" charset="0"/>
                        </a:rPr>
                        <a:t> Item includes cost for DMH and Admin)</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endParaRPr lang="en-US" sz="1600" dirty="0">
                        <a:latin typeface="Calibri" panose="020F0502020204030204" pitchFamily="34" charset="0"/>
                        <a:cs typeface="Calibri" panose="020F0502020204030204" pitchFamily="34" charset="0"/>
                      </a:endParaRPr>
                    </a:p>
                  </a:txBody>
                  <a:tcPr/>
                </a:tc>
                <a:tc>
                  <a:txBody>
                    <a:bodyPr/>
                    <a:lstStyle/>
                    <a:p>
                      <a:pPr algn="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smtClean="0">
                          <a:latin typeface="Calibri" panose="020F0502020204030204" pitchFamily="34" charset="0"/>
                          <a:cs typeface="Calibri" panose="020F0502020204030204" pitchFamily="34" charset="0"/>
                        </a:rPr>
                        <a:t>$129.4M</a:t>
                      </a: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smtClean="0">
                          <a:latin typeface="Calibri" panose="020F0502020204030204" pitchFamily="34" charset="0"/>
                          <a:cs typeface="Calibri" panose="020F0502020204030204" pitchFamily="34" charset="0"/>
                        </a:rPr>
                        <a:t>$1.89B</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669514653"/>
                  </a:ext>
                </a:extLst>
              </a:tr>
              <a:tr h="415236">
                <a:tc>
                  <a:txBody>
                    <a:bodyPr/>
                    <a:lstStyle/>
                    <a:p>
                      <a:r>
                        <a:rPr lang="en-US" sz="1600" dirty="0" smtClean="0">
                          <a:latin typeface="Calibri" panose="020F0502020204030204" pitchFamily="34" charset="0"/>
                          <a:cs typeface="Calibri" panose="020F0502020204030204" pitchFamily="34" charset="0"/>
                        </a:rPr>
                        <a:t>Health</a:t>
                      </a:r>
                      <a:r>
                        <a:rPr lang="en-US" sz="1600" baseline="0" dirty="0" smtClean="0">
                          <a:latin typeface="Calibri" panose="020F0502020204030204" pitchFamily="34" charset="0"/>
                          <a:cs typeface="Calibri" panose="020F0502020204030204" pitchFamily="34" charset="0"/>
                        </a:rPr>
                        <a:t> Home Expansion</a:t>
                      </a:r>
                      <a:endParaRPr lang="en-US" sz="1600" dirty="0">
                        <a:latin typeface="Calibri" panose="020F0502020204030204" pitchFamily="34" charset="0"/>
                        <a:cs typeface="Calibri" panose="020F0502020204030204" pitchFamily="34" charset="0"/>
                      </a:endParaRPr>
                    </a:p>
                  </a:txBody>
                  <a:tcPr/>
                </a:tc>
                <a:tc>
                  <a:txBody>
                    <a:bodyPr/>
                    <a:lstStyle/>
                    <a:p>
                      <a:pPr algn="ctr"/>
                      <a:endParaRPr lang="en-US" sz="1600" dirty="0">
                        <a:latin typeface="Calibri" panose="020F0502020204030204" pitchFamily="34" charset="0"/>
                        <a:cs typeface="Calibri" panose="020F0502020204030204" pitchFamily="34" charset="0"/>
                      </a:endParaRPr>
                    </a:p>
                  </a:txBody>
                  <a:tcPr/>
                </a:tc>
                <a:tc>
                  <a:txBody>
                    <a:bodyPr/>
                    <a:lstStyle/>
                    <a:p>
                      <a:pPr algn="r"/>
                      <a:endParaRPr lang="en-US" sz="1600" dirty="0">
                        <a:latin typeface="Calibri" panose="020F0502020204030204" pitchFamily="34" charset="0"/>
                        <a:cs typeface="Calibri" panose="020F0502020204030204" pitchFamily="34" charset="0"/>
                      </a:endParaRPr>
                    </a:p>
                  </a:txBody>
                  <a:tcPr/>
                </a:tc>
                <a:tc>
                  <a:txBody>
                    <a:bodyPr/>
                    <a:lstStyle/>
                    <a:p>
                      <a:pPr algn="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a:t>
                      </a:r>
                      <a:r>
                        <a:rPr lang="en-US" sz="1600" dirty="0" smtClean="0">
                          <a:latin typeface="Calibri" panose="020F0502020204030204" pitchFamily="34" charset="0"/>
                          <a:cs typeface="Calibri" panose="020F0502020204030204" pitchFamily="34" charset="0"/>
                        </a:rPr>
                        <a:t>0.3M</a:t>
                      </a:r>
                      <a:endParaRPr lang="en-US" sz="1600" dirty="0">
                        <a:latin typeface="Calibri" panose="020F0502020204030204" pitchFamily="34" charset="0"/>
                        <a:cs typeface="Calibri" panose="020F0502020204030204" pitchFamily="34" charset="0"/>
                      </a:endParaRPr>
                    </a:p>
                  </a:txBody>
                  <a:tcPr/>
                </a:tc>
                <a:tc>
                  <a:txBody>
                    <a:bodyPr/>
                    <a:lstStyle/>
                    <a:p>
                      <a:pPr algn="r"/>
                      <a:r>
                        <a:rPr lang="en-US" sz="1600" dirty="0">
                          <a:latin typeface="Calibri" panose="020F0502020204030204" pitchFamily="34" charset="0"/>
                          <a:cs typeface="Calibri" panose="020F0502020204030204" pitchFamily="34" charset="0"/>
                        </a:rPr>
                        <a:t>$</a:t>
                      </a:r>
                      <a:r>
                        <a:rPr lang="en-US" sz="1600" dirty="0" smtClean="0">
                          <a:latin typeface="Calibri" panose="020F0502020204030204" pitchFamily="34" charset="0"/>
                          <a:cs typeface="Calibri" panose="020F0502020204030204" pitchFamily="34" charset="0"/>
                        </a:rPr>
                        <a:t>1.6M</a:t>
                      </a: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2135348"/>
                  </a:ext>
                </a:extLst>
              </a:tr>
            </a:tbl>
          </a:graphicData>
        </a:graphic>
      </p:graphicFrame>
      <p:sp>
        <p:nvSpPr>
          <p:cNvPr id="11" name="TextBox 10"/>
          <p:cNvSpPr txBox="1"/>
          <p:nvPr/>
        </p:nvSpPr>
        <p:spPr>
          <a:xfrm>
            <a:off x="1676400" y="6255305"/>
            <a:ext cx="5181600" cy="369332"/>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Source: </a:t>
            </a:r>
            <a:r>
              <a:rPr lang="en-US" dirty="0">
                <a:solidFill>
                  <a:srgbClr val="000000"/>
                </a:solidFill>
                <a:latin typeface="Calibri" panose="020F0502020204030204" pitchFamily="34" charset="0"/>
              </a:rPr>
              <a:t>https://oa.mo.gov/budget-planning</a:t>
            </a: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558790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143000"/>
          </a:xfrm>
        </p:spPr>
        <p:txBody>
          <a:bodyPr/>
          <a:lstStyle/>
          <a:p>
            <a:pPr algn="ctr"/>
            <a:r>
              <a:rPr lang="en-US" dirty="0" smtClean="0"/>
              <a:t>Public comment</a:t>
            </a:r>
            <a:endParaRPr lang="en-US" dirty="0"/>
          </a:p>
        </p:txBody>
      </p:sp>
    </p:spTree>
    <p:extLst>
      <p:ext uri="{BB962C8B-B14F-4D97-AF65-F5344CB8AC3E}">
        <p14:creationId xmlns:p14="http://schemas.microsoft.com/office/powerpoint/2010/main" val="15891609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676400"/>
            <a:ext cx="7620000" cy="1295400"/>
          </a:xfrm>
        </p:spPr>
        <p:txBody>
          <a:bodyPr/>
          <a:lstStyle/>
          <a:p>
            <a:pPr algn="ctr"/>
            <a:r>
              <a:rPr lang="en-US" dirty="0" err="1" smtClean="0"/>
              <a:t>Fsd</a:t>
            </a:r>
            <a:r>
              <a:rPr lang="en-US" dirty="0" smtClean="0"/>
              <a:t> update</a:t>
            </a:r>
            <a:endParaRPr lang="en-US" dirty="0"/>
          </a:p>
        </p:txBody>
      </p:sp>
    </p:spTree>
    <p:extLst>
      <p:ext uri="{BB962C8B-B14F-4D97-AF65-F5344CB8AC3E}">
        <p14:creationId xmlns:p14="http://schemas.microsoft.com/office/powerpoint/2010/main" val="15833103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2209800" y="304800"/>
            <a:ext cx="7772400" cy="5181600"/>
          </a:xfrm>
        </p:spPr>
        <p:txBody>
          <a:bodyPr>
            <a:noAutofit/>
          </a:bodyPr>
          <a:lstStyle/>
          <a:p>
            <a:pPr algn="ctr"/>
            <a:r>
              <a:rPr lang="en-US" sz="4000" b="1" cap="small" dirty="0">
                <a:latin typeface="Century Gothic" panose="020B0502020202020204" pitchFamily="34" charset="0"/>
              </a:rPr>
              <a:t/>
            </a:r>
            <a:br>
              <a:rPr lang="en-US" sz="4000" b="1" cap="small" dirty="0">
                <a:latin typeface="Century Gothic" panose="020B0502020202020204" pitchFamily="34" charset="0"/>
              </a:rPr>
            </a:br>
            <a:endParaRPr lang="en-US" sz="3200" b="1" cap="small"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57</a:t>
            </a:fld>
            <a:endParaRPr lang="en-US" dirty="0"/>
          </a:p>
        </p:txBody>
      </p:sp>
      <p:sp>
        <p:nvSpPr>
          <p:cNvPr id="5" name="object 2"/>
          <p:cNvSpPr/>
          <p:nvPr/>
        </p:nvSpPr>
        <p:spPr>
          <a:xfrm>
            <a:off x="1079090" y="533400"/>
            <a:ext cx="8915400" cy="5029200"/>
          </a:xfrm>
          <a:prstGeom prst="rect">
            <a:avLst/>
          </a:prstGeom>
          <a:blipFill>
            <a:blip r:embed="rId2" cstate="print"/>
            <a:stretch>
              <a:fillRect/>
            </a:stretch>
          </a:blipFill>
        </p:spPr>
        <p:txBody>
          <a:bodyPr wrap="square" lIns="0" tIns="0" rIns="0" bIns="0" rtlCol="0"/>
          <a:lstStyle/>
          <a:p>
            <a:endParaRPr sz="1588"/>
          </a:p>
        </p:txBody>
      </p:sp>
    </p:spTree>
    <p:extLst>
      <p:ext uri="{BB962C8B-B14F-4D97-AF65-F5344CB8AC3E}">
        <p14:creationId xmlns:p14="http://schemas.microsoft.com/office/powerpoint/2010/main" val="31267759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2209800" y="304800"/>
            <a:ext cx="7772400" cy="5181600"/>
          </a:xfrm>
        </p:spPr>
        <p:txBody>
          <a:bodyPr>
            <a:noAutofit/>
          </a:bodyPr>
          <a:lstStyle/>
          <a:p>
            <a:pPr algn="ctr"/>
            <a:r>
              <a:rPr lang="en-US" sz="4000" b="1" cap="small" dirty="0">
                <a:latin typeface="Century Gothic" panose="020B0502020202020204" pitchFamily="34" charset="0"/>
              </a:rPr>
              <a:t/>
            </a:r>
            <a:br>
              <a:rPr lang="en-US" sz="4000" b="1" cap="small" dirty="0">
                <a:latin typeface="Century Gothic" panose="020B0502020202020204" pitchFamily="34" charset="0"/>
              </a:rPr>
            </a:br>
            <a:endParaRPr lang="en-US" sz="3200" b="1" cap="small"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58</a:t>
            </a:fld>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76201"/>
            <a:ext cx="11582400" cy="5715000"/>
          </a:xfrm>
          <a:prstGeom prst="rect">
            <a:avLst/>
          </a:prstGeom>
        </p:spPr>
      </p:pic>
    </p:spTree>
    <p:extLst>
      <p:ext uri="{BB962C8B-B14F-4D97-AF65-F5344CB8AC3E}">
        <p14:creationId xmlns:p14="http://schemas.microsoft.com/office/powerpoint/2010/main" val="932268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2209800" y="304800"/>
            <a:ext cx="7772400" cy="5181600"/>
          </a:xfrm>
        </p:spPr>
        <p:txBody>
          <a:bodyPr>
            <a:noAutofit/>
          </a:bodyPr>
          <a:lstStyle/>
          <a:p>
            <a:pPr algn="ctr"/>
            <a:r>
              <a:rPr lang="en-US" sz="4000" b="1" cap="small" dirty="0">
                <a:latin typeface="Century Gothic" panose="020B0502020202020204" pitchFamily="34" charset="0"/>
              </a:rPr>
              <a:t/>
            </a:r>
            <a:br>
              <a:rPr lang="en-US" sz="4000" b="1" cap="small" dirty="0">
                <a:latin typeface="Century Gothic" panose="020B0502020202020204" pitchFamily="34" charset="0"/>
              </a:rPr>
            </a:br>
            <a:endParaRPr lang="en-US" sz="3200" b="1" cap="small" dirty="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001C670-DC88-4376-AA6B-FD9548DDC9F2}" type="slidenum">
              <a:rPr lang="en-US" smtClean="0"/>
              <a:pPr/>
              <a:t>59</a:t>
            </a:fld>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0"/>
            <a:ext cx="11734800" cy="5791200"/>
          </a:xfrm>
          <a:prstGeom prst="rect">
            <a:avLst/>
          </a:prstGeom>
        </p:spPr>
      </p:pic>
    </p:spTree>
    <p:extLst>
      <p:ext uri="{BB962C8B-B14F-4D97-AF65-F5344CB8AC3E}">
        <p14:creationId xmlns:p14="http://schemas.microsoft.com/office/powerpoint/2010/main" val="343008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378" imgH="379" progId="TCLayout.ActiveDocument.1">
                  <p:embed/>
                </p:oleObj>
              </mc:Choice>
              <mc:Fallback>
                <p:oleObj name="think-cell Slide" r:id="rId5" imgW="378" imgH="379"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 name="Title 1"/>
          <p:cNvSpPr>
            <a:spLocks noGrp="1"/>
          </p:cNvSpPr>
          <p:nvPr>
            <p:ph type="title"/>
          </p:nvPr>
        </p:nvSpPr>
        <p:spPr/>
        <p:txBody>
          <a:bodyPr vert="horz">
            <a:noAutofit/>
          </a:bodyPr>
          <a:lstStyle/>
          <a:p>
            <a:r>
              <a:rPr lang="en-US" dirty="0" smtClean="0"/>
              <a:t>Public dashboard – 2/4</a:t>
            </a:r>
            <a:endParaRPr lang="en-US" dirty="0"/>
          </a:p>
        </p:txBody>
      </p:sp>
      <p:sp>
        <p:nvSpPr>
          <p:cNvPr id="12" name="TextBox 11"/>
          <p:cNvSpPr txBox="1"/>
          <p:nvPr/>
        </p:nvSpPr>
        <p:spPr>
          <a:xfrm>
            <a:off x="594214" y="6504465"/>
            <a:ext cx="105563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Verdana" panose="020B0604030504040204"/>
                <a:ea typeface="+mn-ea"/>
                <a:cs typeface="+mn-cs"/>
              </a:rPr>
              <a:t>Source: Data are from DHSS and HHS via </a:t>
            </a:r>
            <a:r>
              <a:rPr kumimoji="0" lang="en-US" sz="1000" b="0" i="0" u="none" strike="noStrike" kern="1200" cap="none" spc="0" normalizeH="0" baseline="0" noProof="0" dirty="0" err="1" smtClean="0">
                <a:ln>
                  <a:noFill/>
                </a:ln>
                <a:solidFill>
                  <a:srgbClr val="000000"/>
                </a:solidFill>
                <a:effectLst/>
                <a:uLnTx/>
                <a:uFillTx/>
                <a:latin typeface="Verdana" panose="020B0604030504040204"/>
                <a:ea typeface="+mn-ea"/>
                <a:cs typeface="+mn-cs"/>
              </a:rPr>
              <a:t>TeleTracking</a:t>
            </a:r>
            <a:endParaRPr kumimoji="0" lang="en-US" sz="10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pic>
        <p:nvPicPr>
          <p:cNvPr id="10" name="Picture 9"/>
          <p:cNvPicPr>
            <a:picLocks noChangeAspect="1"/>
          </p:cNvPicPr>
          <p:nvPr/>
        </p:nvPicPr>
        <p:blipFill>
          <a:blip r:embed="rId7"/>
          <a:stretch>
            <a:fillRect/>
          </a:stretch>
        </p:blipFill>
        <p:spPr>
          <a:xfrm>
            <a:off x="2593115" y="963827"/>
            <a:ext cx="7005770" cy="5362021"/>
          </a:xfrm>
          <a:prstGeom prst="rect">
            <a:avLst/>
          </a:prstGeom>
        </p:spPr>
      </p:pic>
    </p:spTree>
    <p:extLst>
      <p:ext uri="{BB962C8B-B14F-4D97-AF65-F5344CB8AC3E}">
        <p14:creationId xmlns:p14="http://schemas.microsoft.com/office/powerpoint/2010/main" val="181241373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232856" y="77651"/>
            <a:ext cx="1486460" cy="1121574"/>
          </a:xfrm>
          <a:prstGeom prst="rect">
            <a:avLst/>
          </a:prstGeom>
        </p:spPr>
        <p:txBody>
          <a:bodyPr vert="horz" wrap="square" lIns="0" tIns="13447" rIns="0" bIns="0" rtlCol="0" anchor="ctr">
            <a:spAutoFit/>
          </a:bodyPr>
          <a:lstStyle/>
          <a:p>
            <a:pPr marL="11206">
              <a:spcBef>
                <a:spcPts val="106"/>
              </a:spcBef>
            </a:pPr>
            <a:r>
              <a:rPr spc="-463" dirty="0">
                <a:latin typeface="Times New Roman"/>
                <a:cs typeface="Times New Roman"/>
              </a:rPr>
              <a:t> </a:t>
            </a:r>
            <a:r>
              <a:rPr spc="4" dirty="0"/>
              <a:t>Charts</a:t>
            </a:r>
            <a:r>
              <a:rPr spc="-44" dirty="0"/>
              <a:t> </a:t>
            </a:r>
            <a:r>
              <a:rPr spc="4" dirty="0"/>
              <a:t>Legend</a:t>
            </a:r>
          </a:p>
        </p:txBody>
      </p:sp>
      <p:sp>
        <p:nvSpPr>
          <p:cNvPr id="3" name="object 3"/>
          <p:cNvSpPr txBox="1"/>
          <p:nvPr/>
        </p:nvSpPr>
        <p:spPr>
          <a:xfrm>
            <a:off x="2319418" y="2236019"/>
            <a:ext cx="7288866" cy="2968799"/>
          </a:xfrm>
          <a:prstGeom prst="rect">
            <a:avLst/>
          </a:prstGeom>
        </p:spPr>
        <p:txBody>
          <a:bodyPr vert="horz" wrap="square" lIns="0" tIns="14007" rIns="0" bIns="0" rtlCol="0">
            <a:spAutoFit/>
          </a:bodyPr>
          <a:lstStyle/>
          <a:p>
            <a:pPr marL="11206">
              <a:spcBef>
                <a:spcPts val="110"/>
              </a:spcBef>
            </a:pPr>
            <a:r>
              <a:rPr sz="1600" b="1" spc="9" dirty="0">
                <a:latin typeface="Calibri"/>
                <a:cs typeface="Calibri"/>
              </a:rPr>
              <a:t>DSS: </a:t>
            </a:r>
            <a:r>
              <a:rPr sz="1600" spc="13" dirty="0">
                <a:latin typeface="Calibri"/>
                <a:cs typeface="Calibri"/>
              </a:rPr>
              <a:t>MO </a:t>
            </a:r>
            <a:r>
              <a:rPr sz="1600" spc="4" dirty="0">
                <a:latin typeface="Calibri"/>
                <a:cs typeface="Calibri"/>
              </a:rPr>
              <a:t>Department </a:t>
            </a:r>
            <a:r>
              <a:rPr sz="1600" spc="9" dirty="0">
                <a:latin typeface="Calibri"/>
                <a:cs typeface="Calibri"/>
              </a:rPr>
              <a:t>of </a:t>
            </a:r>
            <a:r>
              <a:rPr sz="1600" spc="4" dirty="0">
                <a:latin typeface="Calibri"/>
                <a:cs typeface="Calibri"/>
              </a:rPr>
              <a:t>Social Services </a:t>
            </a:r>
            <a:r>
              <a:rPr sz="1600" dirty="0">
                <a:latin typeface="Calibri"/>
                <a:cs typeface="Calibri"/>
              </a:rPr>
              <a:t>(i.e. </a:t>
            </a:r>
            <a:r>
              <a:rPr sz="1600" spc="4" dirty="0">
                <a:latin typeface="Calibri"/>
                <a:cs typeface="Calibri"/>
              </a:rPr>
              <a:t>General </a:t>
            </a:r>
            <a:r>
              <a:rPr sz="1600" spc="9" dirty="0">
                <a:latin typeface="Calibri"/>
                <a:cs typeface="Calibri"/>
              </a:rPr>
              <a:t>MAGI</a:t>
            </a:r>
            <a:r>
              <a:rPr sz="1600" spc="-44" dirty="0">
                <a:latin typeface="Calibri"/>
                <a:cs typeface="Calibri"/>
              </a:rPr>
              <a:t> </a:t>
            </a:r>
            <a:r>
              <a:rPr sz="1600" spc="4" dirty="0">
                <a:latin typeface="Calibri"/>
                <a:cs typeface="Calibri"/>
              </a:rPr>
              <a:t>applications)</a:t>
            </a:r>
            <a:endParaRPr sz="1600" dirty="0">
              <a:latin typeface="Calibri"/>
              <a:cs typeface="Calibri"/>
            </a:endParaRPr>
          </a:p>
          <a:p>
            <a:pPr>
              <a:spcBef>
                <a:spcPts val="44"/>
              </a:spcBef>
            </a:pPr>
            <a:endParaRPr sz="1600" dirty="0">
              <a:latin typeface="Calibri"/>
              <a:cs typeface="Calibri"/>
            </a:endParaRPr>
          </a:p>
          <a:p>
            <a:pPr marL="11206"/>
            <a:r>
              <a:rPr sz="1600" b="1" spc="4" dirty="0">
                <a:latin typeface="Calibri"/>
                <a:cs typeface="Calibri"/>
              </a:rPr>
              <a:t>FAMIS: </a:t>
            </a:r>
            <a:r>
              <a:rPr sz="1600" spc="4" dirty="0">
                <a:latin typeface="Calibri"/>
                <a:cs typeface="Calibri"/>
              </a:rPr>
              <a:t>Family Assistance Information </a:t>
            </a:r>
            <a:r>
              <a:rPr sz="1600" spc="9" dirty="0">
                <a:latin typeface="Calibri"/>
                <a:cs typeface="Calibri"/>
              </a:rPr>
              <a:t>Management</a:t>
            </a:r>
            <a:r>
              <a:rPr sz="1600" spc="-4" dirty="0">
                <a:latin typeface="Calibri"/>
                <a:cs typeface="Calibri"/>
              </a:rPr>
              <a:t> </a:t>
            </a:r>
            <a:r>
              <a:rPr sz="1600" spc="4" dirty="0">
                <a:latin typeface="Calibri"/>
                <a:cs typeface="Calibri"/>
              </a:rPr>
              <a:t>Systems</a:t>
            </a:r>
            <a:endParaRPr sz="1600" dirty="0">
              <a:latin typeface="Calibri"/>
              <a:cs typeface="Calibri"/>
            </a:endParaRPr>
          </a:p>
          <a:p>
            <a:pPr>
              <a:spcBef>
                <a:spcPts val="49"/>
              </a:spcBef>
            </a:pPr>
            <a:endParaRPr sz="1600" dirty="0">
              <a:latin typeface="Calibri"/>
              <a:cs typeface="Calibri"/>
            </a:endParaRPr>
          </a:p>
          <a:p>
            <a:pPr marL="11206">
              <a:spcBef>
                <a:spcPts val="4"/>
              </a:spcBef>
            </a:pPr>
            <a:r>
              <a:rPr sz="1600" b="1" spc="9" dirty="0">
                <a:latin typeface="Calibri"/>
                <a:cs typeface="Calibri"/>
              </a:rPr>
              <a:t>FFM: </a:t>
            </a:r>
            <a:r>
              <a:rPr sz="1600" spc="4" dirty="0">
                <a:latin typeface="Calibri"/>
                <a:cs typeface="Calibri"/>
              </a:rPr>
              <a:t>Federally </a:t>
            </a:r>
            <a:r>
              <a:rPr sz="1600" dirty="0">
                <a:latin typeface="Calibri"/>
                <a:cs typeface="Calibri"/>
              </a:rPr>
              <a:t>Facilitated</a:t>
            </a:r>
            <a:r>
              <a:rPr sz="1600" spc="-9" dirty="0">
                <a:latin typeface="Calibri"/>
                <a:cs typeface="Calibri"/>
              </a:rPr>
              <a:t> </a:t>
            </a:r>
            <a:r>
              <a:rPr sz="1600" spc="4" dirty="0">
                <a:latin typeface="Calibri"/>
                <a:cs typeface="Calibri"/>
              </a:rPr>
              <a:t>Marketplace</a:t>
            </a:r>
            <a:endParaRPr sz="1600" dirty="0">
              <a:latin typeface="Calibri"/>
              <a:cs typeface="Calibri"/>
            </a:endParaRPr>
          </a:p>
          <a:p>
            <a:pPr>
              <a:spcBef>
                <a:spcPts val="49"/>
              </a:spcBef>
            </a:pPr>
            <a:endParaRPr sz="1600" dirty="0">
              <a:latin typeface="Calibri"/>
              <a:cs typeface="Calibri"/>
            </a:endParaRPr>
          </a:p>
          <a:p>
            <a:pPr marL="11206"/>
            <a:r>
              <a:rPr sz="1600" b="1" spc="4" dirty="0">
                <a:latin typeface="Calibri"/>
                <a:cs typeface="Calibri"/>
              </a:rPr>
              <a:t>MAGI: </a:t>
            </a:r>
            <a:r>
              <a:rPr sz="1600" spc="9" dirty="0">
                <a:latin typeface="Calibri"/>
                <a:cs typeface="Calibri"/>
              </a:rPr>
              <a:t>Modiﬁed </a:t>
            </a:r>
            <a:r>
              <a:rPr sz="1600" spc="4" dirty="0">
                <a:latin typeface="Calibri"/>
                <a:cs typeface="Calibri"/>
              </a:rPr>
              <a:t>Adjusted Gross</a:t>
            </a:r>
            <a:r>
              <a:rPr sz="1600" spc="-13" dirty="0">
                <a:latin typeface="Calibri"/>
                <a:cs typeface="Calibri"/>
              </a:rPr>
              <a:t> </a:t>
            </a:r>
            <a:r>
              <a:rPr sz="1600" spc="9" dirty="0">
                <a:latin typeface="Calibri"/>
                <a:cs typeface="Calibri"/>
              </a:rPr>
              <a:t>Income</a:t>
            </a:r>
            <a:endParaRPr sz="1600" dirty="0">
              <a:latin typeface="Calibri"/>
              <a:cs typeface="Calibri"/>
            </a:endParaRPr>
          </a:p>
          <a:p>
            <a:pPr>
              <a:spcBef>
                <a:spcPts val="44"/>
              </a:spcBef>
            </a:pPr>
            <a:endParaRPr sz="1600" dirty="0">
              <a:latin typeface="Calibri"/>
              <a:cs typeface="Calibri"/>
            </a:endParaRPr>
          </a:p>
          <a:p>
            <a:pPr marL="11206">
              <a:spcBef>
                <a:spcPts val="4"/>
              </a:spcBef>
            </a:pPr>
            <a:r>
              <a:rPr sz="1600" b="1" spc="9" dirty="0">
                <a:latin typeface="Calibri"/>
                <a:cs typeface="Calibri"/>
              </a:rPr>
              <a:t>MEDES: </a:t>
            </a:r>
            <a:r>
              <a:rPr sz="1600" spc="4" dirty="0">
                <a:latin typeface="Calibri"/>
                <a:cs typeface="Calibri"/>
              </a:rPr>
              <a:t>Missouri Eligibility Determination </a:t>
            </a:r>
            <a:r>
              <a:rPr sz="1600" spc="9" dirty="0">
                <a:latin typeface="Calibri"/>
                <a:cs typeface="Calibri"/>
              </a:rPr>
              <a:t>and </a:t>
            </a:r>
            <a:r>
              <a:rPr sz="1600" spc="4" dirty="0">
                <a:latin typeface="Calibri"/>
                <a:cs typeface="Calibri"/>
              </a:rPr>
              <a:t>Enrollment</a:t>
            </a:r>
            <a:r>
              <a:rPr sz="1600" spc="-22" dirty="0">
                <a:latin typeface="Calibri"/>
                <a:cs typeface="Calibri"/>
              </a:rPr>
              <a:t> </a:t>
            </a:r>
            <a:r>
              <a:rPr sz="1600" spc="4" dirty="0">
                <a:latin typeface="Calibri"/>
                <a:cs typeface="Calibri"/>
              </a:rPr>
              <a:t>System</a:t>
            </a:r>
            <a:endParaRPr sz="1600" dirty="0">
              <a:latin typeface="Calibri"/>
              <a:cs typeface="Calibri"/>
            </a:endParaRPr>
          </a:p>
          <a:p>
            <a:pPr>
              <a:spcBef>
                <a:spcPts val="49"/>
              </a:spcBef>
            </a:pPr>
            <a:endParaRPr sz="1600" dirty="0">
              <a:latin typeface="Calibri"/>
              <a:cs typeface="Calibri"/>
            </a:endParaRPr>
          </a:p>
          <a:p>
            <a:pPr marL="11206"/>
            <a:r>
              <a:rPr sz="1600" b="1" spc="9" dirty="0">
                <a:latin typeface="Calibri"/>
                <a:cs typeface="Calibri"/>
              </a:rPr>
              <a:t>MHABD </a:t>
            </a:r>
            <a:r>
              <a:rPr sz="1600" b="1" spc="4" dirty="0">
                <a:latin typeface="Calibri"/>
                <a:cs typeface="Calibri"/>
              </a:rPr>
              <a:t>(ADM): </a:t>
            </a:r>
            <a:r>
              <a:rPr sz="1600" spc="13" dirty="0">
                <a:latin typeface="Calibri"/>
                <a:cs typeface="Calibri"/>
              </a:rPr>
              <a:t>MO </a:t>
            </a:r>
            <a:r>
              <a:rPr sz="1600" spc="4" dirty="0">
                <a:latin typeface="Calibri"/>
                <a:cs typeface="Calibri"/>
              </a:rPr>
              <a:t>HealthNet Eligibility for Persons </a:t>
            </a:r>
            <a:r>
              <a:rPr sz="1600" spc="9" dirty="0">
                <a:latin typeface="Calibri"/>
                <a:cs typeface="Calibri"/>
              </a:rPr>
              <a:t>Who </a:t>
            </a:r>
            <a:r>
              <a:rPr sz="1600" spc="4" dirty="0">
                <a:latin typeface="Calibri"/>
                <a:cs typeface="Calibri"/>
              </a:rPr>
              <a:t>are </a:t>
            </a:r>
            <a:r>
              <a:rPr sz="1600" spc="9" dirty="0">
                <a:latin typeface="Calibri"/>
                <a:cs typeface="Calibri"/>
              </a:rPr>
              <a:t>Aged </a:t>
            </a:r>
            <a:r>
              <a:rPr sz="1600" spc="4" dirty="0">
                <a:latin typeface="Calibri"/>
                <a:cs typeface="Calibri"/>
              </a:rPr>
              <a:t>(age </a:t>
            </a:r>
            <a:r>
              <a:rPr sz="1600" spc="9" dirty="0">
                <a:latin typeface="Calibri"/>
                <a:cs typeface="Calibri"/>
              </a:rPr>
              <a:t>65 and </a:t>
            </a:r>
            <a:r>
              <a:rPr sz="1600" spc="4" dirty="0">
                <a:latin typeface="Calibri"/>
                <a:cs typeface="Calibri"/>
              </a:rPr>
              <a:t>over), Blind, </a:t>
            </a:r>
            <a:r>
              <a:rPr sz="1600" spc="9" dirty="0">
                <a:latin typeface="Calibri"/>
                <a:cs typeface="Calibri"/>
              </a:rPr>
              <a:t>or</a:t>
            </a:r>
            <a:r>
              <a:rPr sz="1600" spc="18" dirty="0">
                <a:latin typeface="Calibri"/>
                <a:cs typeface="Calibri"/>
              </a:rPr>
              <a:t> </a:t>
            </a:r>
            <a:r>
              <a:rPr sz="1600" spc="4" dirty="0">
                <a:latin typeface="Calibri"/>
                <a:cs typeface="Calibri"/>
              </a:rPr>
              <a:t>Disabled</a:t>
            </a:r>
            <a:endParaRPr sz="1600" dirty="0">
              <a:latin typeface="Calibri"/>
              <a:cs typeface="Calibri"/>
            </a:endParaRPr>
          </a:p>
        </p:txBody>
      </p:sp>
    </p:spTree>
    <p:extLst>
      <p:ext uri="{BB962C8B-B14F-4D97-AF65-F5344CB8AC3E}">
        <p14:creationId xmlns:p14="http://schemas.microsoft.com/office/powerpoint/2010/main" val="3615514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2200" y="1219200"/>
            <a:ext cx="7620000" cy="2590800"/>
          </a:xfrm>
        </p:spPr>
        <p:txBody>
          <a:bodyPr>
            <a:normAutofit fontScale="90000"/>
          </a:bodyPr>
          <a:lstStyle/>
          <a:p>
            <a:pPr algn="ctr"/>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smtClean="0"/>
              <a:t/>
            </a:r>
            <a:br>
              <a:rPr lang="en-US" dirty="0" smtClean="0"/>
            </a:br>
            <a:r>
              <a:rPr lang="en-US" dirty="0" smtClean="0"/>
              <a:t/>
            </a:r>
            <a:br>
              <a:rPr lang="en-US" dirty="0" smtClean="0"/>
            </a:br>
            <a:r>
              <a:rPr lang="en-US" sz="4000" b="1" u="sng" dirty="0" smtClean="0"/>
              <a:t>Next meeting</a:t>
            </a:r>
            <a:r>
              <a:rPr lang="en-US" sz="4000" dirty="0"/>
              <a:t/>
            </a:r>
            <a:br>
              <a:rPr lang="en-US" sz="4000" dirty="0"/>
            </a:br>
            <a:r>
              <a:rPr lang="en-US" sz="4000" dirty="0" smtClean="0"/>
              <a:t> May 25, 2021</a:t>
            </a:r>
            <a:r>
              <a:rPr lang="en-US" sz="4000" dirty="0"/>
              <a:t/>
            </a:r>
            <a:br>
              <a:rPr lang="en-US" sz="4000" dirty="0"/>
            </a:br>
            <a:endParaRPr lang="en-US" sz="4000" dirty="0"/>
          </a:p>
        </p:txBody>
      </p:sp>
    </p:spTree>
    <p:extLst>
      <p:ext uri="{BB962C8B-B14F-4D97-AF65-F5344CB8AC3E}">
        <p14:creationId xmlns:p14="http://schemas.microsoft.com/office/powerpoint/2010/main" val="739674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5"/>
          <a:stretch>
            <a:fillRect/>
          </a:stretch>
        </p:blipFill>
        <p:spPr>
          <a:xfrm>
            <a:off x="594213" y="2027482"/>
            <a:ext cx="8986471" cy="4220918"/>
          </a:xfrm>
          <a:prstGeom prst="rect">
            <a:avLst/>
          </a:prstGeom>
        </p:spPr>
      </p:pic>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6" imgW="378" imgH="379" progId="TCLayout.ActiveDocument.1">
                  <p:embed/>
                </p:oleObj>
              </mc:Choice>
              <mc:Fallback>
                <p:oleObj name="think-cell Slide" r:id="rId6" imgW="378" imgH="379"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 name="Title 1"/>
          <p:cNvSpPr>
            <a:spLocks noGrp="1"/>
          </p:cNvSpPr>
          <p:nvPr>
            <p:ph type="title"/>
          </p:nvPr>
        </p:nvSpPr>
        <p:spPr/>
        <p:txBody>
          <a:bodyPr vert="horz">
            <a:noAutofit/>
          </a:bodyPr>
          <a:lstStyle/>
          <a:p>
            <a:r>
              <a:rPr lang="en-US" dirty="0" smtClean="0"/>
              <a:t>Hospitalizations continue their downward trend</a:t>
            </a:r>
            <a:endParaRPr lang="en-US" dirty="0"/>
          </a:p>
        </p:txBody>
      </p:sp>
      <p:sp>
        <p:nvSpPr>
          <p:cNvPr id="11" name="TextBox 10"/>
          <p:cNvSpPr txBox="1"/>
          <p:nvPr/>
        </p:nvSpPr>
        <p:spPr>
          <a:xfrm>
            <a:off x="594214" y="1024334"/>
            <a:ext cx="1104890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Verdana" panose="020B0604030504040204"/>
                <a:ea typeface="+mn-ea"/>
                <a:cs typeface="+mn-cs"/>
              </a:rPr>
              <a:t>Statewide suspected and confirmed COVID-19 hospitalizations, data through from Aug 1 through Feb 3</a:t>
            </a:r>
            <a:endParaRPr kumimoji="0" lang="en-US" sz="2000" b="0" i="0" u="none" strike="noStrike" kern="1200" cap="none" spc="0" normalizeH="0" baseline="0" noProof="0" dirty="0" smtClean="0">
              <a:ln>
                <a:noFill/>
              </a:ln>
              <a:solidFill>
                <a:srgbClr val="000000"/>
              </a:solidFill>
              <a:effectLst/>
              <a:uLnTx/>
              <a:uFillTx/>
              <a:latin typeface="Verdana" panose="020B0604030504040204"/>
              <a:ea typeface="+mn-ea"/>
              <a:cs typeface="+mn-cs"/>
            </a:endParaRPr>
          </a:p>
        </p:txBody>
      </p:sp>
      <p:sp>
        <p:nvSpPr>
          <p:cNvPr id="6" name="Content Placeholder 2"/>
          <p:cNvSpPr>
            <a:spLocks noGrp="1"/>
          </p:cNvSpPr>
          <p:nvPr>
            <p:ph sz="half" idx="1"/>
          </p:nvPr>
        </p:nvSpPr>
        <p:spPr>
          <a:xfrm>
            <a:off x="9490541" y="2356486"/>
            <a:ext cx="1789827" cy="870674"/>
          </a:xfrm>
        </p:spPr>
        <p:txBody>
          <a:bodyPr>
            <a:normAutofit/>
          </a:bodyPr>
          <a:lstStyle/>
          <a:p>
            <a:pPr marL="0" indent="0">
              <a:buNone/>
            </a:pPr>
            <a:r>
              <a:rPr lang="en-US" sz="1400" b="1" dirty="0" smtClean="0"/>
              <a:t>1,651 Missouri hospitalizations on 2/3</a:t>
            </a:r>
          </a:p>
        </p:txBody>
      </p:sp>
      <p:pic>
        <p:nvPicPr>
          <p:cNvPr id="5" name="Picture 4"/>
          <p:cNvPicPr>
            <a:picLocks noChangeAspect="1"/>
          </p:cNvPicPr>
          <p:nvPr/>
        </p:nvPicPr>
        <p:blipFill>
          <a:blip r:embed="rId8"/>
          <a:stretch>
            <a:fillRect/>
          </a:stretch>
        </p:blipFill>
        <p:spPr>
          <a:xfrm>
            <a:off x="9580684" y="3431379"/>
            <a:ext cx="1993007" cy="2180882"/>
          </a:xfrm>
          <a:prstGeom prst="rect">
            <a:avLst/>
          </a:prstGeom>
        </p:spPr>
      </p:pic>
      <p:sp>
        <p:nvSpPr>
          <p:cNvPr id="12" name="TextBox 11"/>
          <p:cNvSpPr txBox="1"/>
          <p:nvPr/>
        </p:nvSpPr>
        <p:spPr>
          <a:xfrm>
            <a:off x="594214" y="6504465"/>
            <a:ext cx="105563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Verdana" panose="020B0604030504040204"/>
                <a:ea typeface="+mn-ea"/>
                <a:cs typeface="+mn-cs"/>
              </a:rPr>
              <a:t>Source: Data are from HHS via </a:t>
            </a:r>
            <a:r>
              <a:rPr kumimoji="0" lang="en-US" sz="1000" b="0" i="0" u="none" strike="noStrike" kern="1200" cap="none" spc="0" normalizeH="0" baseline="0" noProof="0" dirty="0" err="1" smtClean="0">
                <a:ln>
                  <a:noFill/>
                </a:ln>
                <a:solidFill>
                  <a:srgbClr val="000000"/>
                </a:solidFill>
                <a:effectLst/>
                <a:uLnTx/>
                <a:uFillTx/>
                <a:latin typeface="Verdana" panose="020B0604030504040204"/>
                <a:ea typeface="+mn-ea"/>
                <a:cs typeface="+mn-cs"/>
              </a:rPr>
              <a:t>TeleTracking</a:t>
            </a:r>
            <a:endParaRPr kumimoji="0" lang="en-US" sz="10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14" name="Content Placeholder 2"/>
          <p:cNvSpPr>
            <a:spLocks noGrp="1"/>
          </p:cNvSpPr>
          <p:nvPr>
            <p:ph sz="half" idx="1"/>
          </p:nvPr>
        </p:nvSpPr>
        <p:spPr>
          <a:xfrm>
            <a:off x="7664505" y="1467641"/>
            <a:ext cx="1791266" cy="529300"/>
          </a:xfrm>
        </p:spPr>
        <p:txBody>
          <a:bodyPr>
            <a:normAutofit/>
          </a:bodyPr>
          <a:lstStyle/>
          <a:p>
            <a:pPr marL="0" indent="0">
              <a:buNone/>
            </a:pPr>
            <a:r>
              <a:rPr lang="en-US" sz="1400" b="1" dirty="0" smtClean="0"/>
              <a:t>Peak: 2,862 on 12/22</a:t>
            </a:r>
          </a:p>
        </p:txBody>
      </p:sp>
    </p:spTree>
    <p:extLst>
      <p:ext uri="{BB962C8B-B14F-4D97-AF65-F5344CB8AC3E}">
        <p14:creationId xmlns:p14="http://schemas.microsoft.com/office/powerpoint/2010/main" val="3710535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5"/>
          <a:stretch>
            <a:fillRect/>
          </a:stretch>
        </p:blipFill>
        <p:spPr>
          <a:xfrm>
            <a:off x="763015" y="1920238"/>
            <a:ext cx="10665970" cy="4314879"/>
          </a:xfrm>
          <a:prstGeom prst="rect">
            <a:avLst/>
          </a:prstGeom>
        </p:spPr>
      </p:pic>
      <p:graphicFrame>
        <p:nvGraphicFramePr>
          <p:cNvPr id="10" name="Object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6" imgW="378" imgH="379" progId="TCLayout.ActiveDocument.1">
                  <p:embed/>
                </p:oleObj>
              </mc:Choice>
              <mc:Fallback>
                <p:oleObj name="think-cell Slide" r:id="rId6" imgW="378" imgH="379" progId="TCLayout.ActiveDocument.1">
                  <p:embed/>
                  <p:pic>
                    <p:nvPicPr>
                      <p:cNvPr id="10" name="Object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 name="Title 1"/>
          <p:cNvSpPr>
            <a:spLocks noGrp="1"/>
          </p:cNvSpPr>
          <p:nvPr>
            <p:ph type="title"/>
          </p:nvPr>
        </p:nvSpPr>
        <p:spPr/>
        <p:txBody>
          <a:bodyPr vert="horz">
            <a:normAutofit/>
          </a:bodyPr>
          <a:lstStyle/>
          <a:p>
            <a:r>
              <a:rPr lang="en-US" dirty="0" smtClean="0"/>
              <a:t>New hospital admissions continue to decline</a:t>
            </a:r>
            <a:endParaRPr lang="en-US" dirty="0"/>
          </a:p>
        </p:txBody>
      </p:sp>
      <p:sp>
        <p:nvSpPr>
          <p:cNvPr id="14" name="TextBox 13"/>
          <p:cNvSpPr txBox="1"/>
          <p:nvPr/>
        </p:nvSpPr>
        <p:spPr>
          <a:xfrm>
            <a:off x="594214" y="6504465"/>
            <a:ext cx="105563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Verdana" panose="020B0604030504040204"/>
                <a:ea typeface="+mn-ea"/>
                <a:cs typeface="+mn-cs"/>
              </a:rPr>
              <a:t>Source: Data are from HHS via </a:t>
            </a:r>
            <a:r>
              <a:rPr kumimoji="0" lang="en-US" sz="1000" b="0" i="0" u="none" strike="noStrike" kern="1200" cap="none" spc="0" normalizeH="0" baseline="0" noProof="0" dirty="0" err="1" smtClean="0">
                <a:ln>
                  <a:noFill/>
                </a:ln>
                <a:solidFill>
                  <a:srgbClr val="000000"/>
                </a:solidFill>
                <a:effectLst/>
                <a:uLnTx/>
                <a:uFillTx/>
                <a:latin typeface="Verdana" panose="020B0604030504040204"/>
                <a:ea typeface="+mn-ea"/>
                <a:cs typeface="+mn-cs"/>
              </a:rPr>
              <a:t>TeleTracking</a:t>
            </a:r>
            <a:endParaRPr kumimoji="0" lang="en-US" sz="10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15" name="TextBox 14"/>
          <p:cNvSpPr txBox="1"/>
          <p:nvPr/>
        </p:nvSpPr>
        <p:spPr>
          <a:xfrm>
            <a:off x="594214" y="963828"/>
            <a:ext cx="1104890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Verdana" panose="020B0604030504040204"/>
                <a:ea typeface="+mn-ea"/>
                <a:cs typeface="+mn-cs"/>
              </a:rPr>
              <a:t>Statewide suspected and confirmed COVID-19 hospital admissions by week, Aug 1 through Feb 3</a:t>
            </a:r>
            <a:endParaRPr kumimoji="0" lang="en-US" sz="2000" b="0" i="0" u="none" strike="noStrike" kern="1200" cap="none" spc="0" normalizeH="0" baseline="0" noProof="0" dirty="0" smtClean="0">
              <a:ln>
                <a:noFill/>
              </a:ln>
              <a:solidFill>
                <a:srgbClr val="000000"/>
              </a:solidFill>
              <a:effectLst/>
              <a:uLnTx/>
              <a:uFillTx/>
              <a:latin typeface="Verdana" panose="020B0604030504040204"/>
              <a:ea typeface="+mn-ea"/>
              <a:cs typeface="+mn-cs"/>
            </a:endParaRPr>
          </a:p>
        </p:txBody>
      </p:sp>
      <p:sp>
        <p:nvSpPr>
          <p:cNvPr id="16" name="Content Placeholder 2"/>
          <p:cNvSpPr>
            <a:spLocks noGrp="1"/>
          </p:cNvSpPr>
          <p:nvPr>
            <p:ph sz="half" idx="1"/>
          </p:nvPr>
        </p:nvSpPr>
        <p:spPr>
          <a:xfrm>
            <a:off x="10135953" y="2021186"/>
            <a:ext cx="1789827" cy="870674"/>
          </a:xfrm>
        </p:spPr>
        <p:txBody>
          <a:bodyPr>
            <a:normAutofit/>
          </a:bodyPr>
          <a:lstStyle/>
          <a:p>
            <a:pPr marL="0" indent="0">
              <a:buNone/>
            </a:pPr>
            <a:r>
              <a:rPr lang="en-US" sz="1400" b="1" dirty="0" smtClean="0"/>
              <a:t>2,610 hospital admissions during week of January 24</a:t>
            </a:r>
            <a:r>
              <a:rPr lang="en-US" sz="1400" b="1" baseline="30000" dirty="0" smtClean="0"/>
              <a:t>th</a:t>
            </a:r>
            <a:endParaRPr lang="en-US" sz="1400" b="1" dirty="0" smtClean="0"/>
          </a:p>
        </p:txBody>
      </p:sp>
    </p:spTree>
    <p:extLst>
      <p:ext uri="{BB962C8B-B14F-4D97-AF65-F5344CB8AC3E}">
        <p14:creationId xmlns:p14="http://schemas.microsoft.com/office/powerpoint/2010/main" val="1197035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5"/>
          <a:stretch>
            <a:fillRect/>
          </a:stretch>
        </p:blipFill>
        <p:spPr>
          <a:xfrm>
            <a:off x="935877" y="1746511"/>
            <a:ext cx="9744075" cy="4543425"/>
          </a:xfrm>
          <a:prstGeom prst="rect">
            <a:avLst/>
          </a:prstGeom>
        </p:spPr>
      </p:pic>
      <p:graphicFrame>
        <p:nvGraphicFramePr>
          <p:cNvPr id="10" name="Object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6" imgW="378" imgH="379" progId="TCLayout.ActiveDocument.1">
                  <p:embed/>
                </p:oleObj>
              </mc:Choice>
              <mc:Fallback>
                <p:oleObj name="think-cell Slide" r:id="rId6" imgW="378" imgH="379" progId="TCLayout.ActiveDocument.1">
                  <p:embed/>
                  <p:pic>
                    <p:nvPicPr>
                      <p:cNvPr id="10" name="Object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Verdana" panose="020B0604030504040204" pitchFamily="34" charset="0"/>
            </a:endParaRPr>
          </a:p>
        </p:txBody>
      </p:sp>
      <p:sp>
        <p:nvSpPr>
          <p:cNvPr id="2" name="Title 1"/>
          <p:cNvSpPr>
            <a:spLocks noGrp="1"/>
          </p:cNvSpPr>
          <p:nvPr>
            <p:ph type="title"/>
          </p:nvPr>
        </p:nvSpPr>
        <p:spPr/>
        <p:txBody>
          <a:bodyPr vert="horz">
            <a:normAutofit/>
          </a:bodyPr>
          <a:lstStyle/>
          <a:p>
            <a:r>
              <a:rPr lang="en-US" dirty="0" smtClean="0"/>
              <a:t>Positivity rate has fallen sharply in the past three weeks</a:t>
            </a:r>
            <a:endParaRPr lang="en-US" dirty="0"/>
          </a:p>
        </p:txBody>
      </p:sp>
      <p:sp>
        <p:nvSpPr>
          <p:cNvPr id="11" name="TextBox 10"/>
          <p:cNvSpPr txBox="1"/>
          <p:nvPr/>
        </p:nvSpPr>
        <p:spPr>
          <a:xfrm>
            <a:off x="594214" y="1055672"/>
            <a:ext cx="11048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000000"/>
                </a:solidFill>
                <a:effectLst/>
                <a:uLnTx/>
                <a:uFillTx/>
                <a:latin typeface="Verdana" panose="020B0604030504040204"/>
                <a:ea typeface="+mn-ea"/>
                <a:cs typeface="+mn-cs"/>
              </a:rPr>
              <a:t>Moving 7-day positivity rate (CDC method) since March</a:t>
            </a:r>
          </a:p>
        </p:txBody>
      </p:sp>
      <p:sp>
        <p:nvSpPr>
          <p:cNvPr id="13" name="TextBox 12"/>
          <p:cNvSpPr txBox="1"/>
          <p:nvPr/>
        </p:nvSpPr>
        <p:spPr>
          <a:xfrm>
            <a:off x="594214" y="6504465"/>
            <a:ext cx="1055638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Verdana" panose="020B0604030504040204"/>
                <a:ea typeface="+mn-ea"/>
                <a:cs typeface="+mn-cs"/>
              </a:rPr>
              <a:t>Source: Data are from DHSS</a:t>
            </a:r>
            <a:endParaRPr kumimoji="0" lang="en-US" sz="1000" b="0"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cxnSp>
        <p:nvCxnSpPr>
          <p:cNvPr id="6" name="Straight Connector 5"/>
          <p:cNvCxnSpPr/>
          <p:nvPr/>
        </p:nvCxnSpPr>
        <p:spPr>
          <a:xfrm>
            <a:off x="8111345" y="2107201"/>
            <a:ext cx="261946" cy="8256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470355" y="1980407"/>
            <a:ext cx="174618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Verdana" panose="020B0604030504040204"/>
                <a:ea typeface="+mn-ea"/>
                <a:cs typeface="+mn-cs"/>
              </a:rPr>
              <a:t>Peak of 25.4% on 11/11</a:t>
            </a:r>
            <a:endParaRPr kumimoji="0" lang="en-US" sz="1400" b="1"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
        <p:nvSpPr>
          <p:cNvPr id="12" name="TextBox 11"/>
          <p:cNvSpPr txBox="1"/>
          <p:nvPr/>
        </p:nvSpPr>
        <p:spPr>
          <a:xfrm>
            <a:off x="10064816" y="4407708"/>
            <a:ext cx="1746183"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Verdana" panose="020B0604030504040204"/>
                <a:ea typeface="+mn-ea"/>
                <a:cs typeface="+mn-cs"/>
              </a:rPr>
              <a:t>9.3% today</a:t>
            </a:r>
            <a:endParaRPr kumimoji="0" lang="en-US" sz="1400" b="1" i="0" u="none" strike="noStrike" kern="1200" cap="none" spc="0" normalizeH="0" baseline="0" noProof="0" dirty="0">
              <a:ln>
                <a:noFill/>
              </a:ln>
              <a:solidFill>
                <a:srgbClr val="000000"/>
              </a:solidFill>
              <a:effectLst/>
              <a:uLnTx/>
              <a:uFillTx/>
              <a:latin typeface="Verdana" panose="020B0604030504040204"/>
              <a:ea typeface="+mn-ea"/>
              <a:cs typeface="+mn-cs"/>
            </a:endParaRPr>
          </a:p>
        </p:txBody>
      </p:sp>
    </p:spTree>
    <p:extLst>
      <p:ext uri="{BB962C8B-B14F-4D97-AF65-F5344CB8AC3E}">
        <p14:creationId xmlns:p14="http://schemas.microsoft.com/office/powerpoint/2010/main" val="41207444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SPoddjBkyUuyv0Gt9Dg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6LnXMwCZLe151hdZTP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6LnXMwCZLe151hdZTP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puhKHdhmx5mD7tn4CN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RfjsA_Nkejkgw3YFfFI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puhKHdhmx5mD7tn4CN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XOv9Mnhd3zyT6xWRZp3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P8Tul1gvz7QqsPpnEqK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6PQ9PWsUlKNJVY3kWXX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cquxqTPlLaDq1XOevp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XNY0N5IRF91n97P5w6p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Xqx341e4BVqQhOwAeSf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nUsBrv010LCNhipbX9Y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gQfD2Y2zP9UPZPbDUbo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MRMd3dZCZSZZE3DwQ2oe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zCsmQn0CwZaP83lWl3c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35g49jc.0kxQI12ABiX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f8bYr.ot4iOhhOlqjVd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5cLEQ1y.nBk9iZCVY3Mc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8h5q7ufnH8qKSc052Qx5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fxiHa8qUfLP3V4GqXog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2qH5yT1zJiHheTlnWFW86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09xfIMMCPVqaDj.chPTM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wQuH3EO50nkdZVc9eGDx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_xZTUBRff.QJ0LEsvST8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6217bboCnyKgfXUtb_v2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wbB3U1EBJuKXg1FPw4v8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E2QPg4amYgVMPydMIyq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LRMKFr3Avky_4Ctci3D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n.6_hK6kDaVVURFjf9q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qzDV2U7Akv1f_aFcQI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yzL4TO7PkHcP9Xi.hx9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oSGrU0DnCNAtfyRsj06z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5UMTl8t4HwK4rikKPJB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zMIwzvr_SehX9E9F1f9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sKYwRJHPXneQqMoqp42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0Fo8nNCWJukut8azWS1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dJ_rmVb44Al_Sjbo7GrI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wqYjqn8ot3vJfVurpc43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GQUWXpAQCpobBXJu95j9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KKw8c7SzLBY9DqLiHkr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vAHE6ydMV9TevrwGVdk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SPoddjBkyUuyv0Gt9Dg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wQuH3EO50nkdZVc9eGDxA"/>
</p:tagLst>
</file>

<file path=ppt/theme/theme1.xml><?xml version="1.0" encoding="utf-8"?>
<a:theme xmlns:a="http://schemas.openxmlformats.org/drawingml/2006/main" name="Urban Pop">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Executi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95000"/>
                <a:shade val="100000"/>
                <a:alpha val="100000"/>
                <a:satMod val="100000"/>
                <a:lumMod val="100000"/>
              </a:schemeClr>
            </a:gs>
            <a:gs pos="9000">
              <a:schemeClr val="phClr">
                <a:tint val="90000"/>
                <a:shade val="100000"/>
                <a:alpha val="100000"/>
                <a:satMod val="100000"/>
                <a:lumMod val="100000"/>
              </a:schemeClr>
            </a:gs>
            <a:gs pos="34000">
              <a:schemeClr val="phClr">
                <a:tint val="83000"/>
                <a:shade val="100000"/>
                <a:alpha val="100000"/>
                <a:satMod val="100000"/>
                <a:lumMod val="100000"/>
              </a:schemeClr>
            </a:gs>
            <a:gs pos="62000">
              <a:schemeClr val="phClr">
                <a:tint val="85000"/>
                <a:shade val="100000"/>
                <a:alpha val="100000"/>
                <a:satMod val="100000"/>
                <a:lumMod val="100000"/>
              </a:schemeClr>
            </a:gs>
            <a:gs pos="90000">
              <a:schemeClr val="phClr">
                <a:tint val="92000"/>
                <a:shade val="100000"/>
                <a:alpha val="100000"/>
                <a:satMod val="100000"/>
                <a:lumMod val="90000"/>
              </a:schemeClr>
            </a:gs>
            <a:gs pos="100000">
              <a:schemeClr val="phClr">
                <a:tint val="85000"/>
                <a:shade val="100000"/>
                <a:alpha val="100000"/>
                <a:satMod val="100000"/>
                <a:lumMod val="100000"/>
              </a:schemeClr>
            </a:gs>
          </a:gsLst>
          <a:lin ang="5400000" scaled="1"/>
        </a:gradFill>
        <a:gradFill rotWithShape="1">
          <a:gsLst>
            <a:gs pos="0">
              <a:schemeClr val="phClr">
                <a:tint val="78000"/>
              </a:schemeClr>
            </a:gs>
            <a:gs pos="100000">
              <a:schemeClr val="phClr">
                <a:tint val="95000"/>
                <a:shade val="98000"/>
                <a:lumMod val="80000"/>
              </a:schemeClr>
            </a:gs>
          </a:gsLst>
          <a:path path="circle">
            <a:fillToRect l="50000" t="100000" r="100000" b="50000"/>
          </a:path>
        </a:gradFill>
      </a:bgFillStyleLst>
    </a:fmtScheme>
  </a:themeElements>
  <a:objectDefaults/>
  <a:extraClrSchemeLst/>
</a:theme>
</file>

<file path=ppt/theme/theme2.xml><?xml version="1.0" encoding="utf-8"?>
<a:theme xmlns:a="http://schemas.openxmlformats.org/drawingml/2006/main" name="3_MGLF-theme">
  <a:themeElements>
    <a:clrScheme name="Custom 1">
      <a:dk1>
        <a:srgbClr val="000000"/>
      </a:dk1>
      <a:lt1>
        <a:srgbClr val="FFFFFF"/>
      </a:lt1>
      <a:dk2>
        <a:srgbClr val="345C87"/>
      </a:dk2>
      <a:lt2>
        <a:srgbClr val="E7E6E6"/>
      </a:lt2>
      <a:accent1>
        <a:srgbClr val="739DC9"/>
      </a:accent1>
      <a:accent2>
        <a:srgbClr val="EDB02E"/>
      </a:accent2>
      <a:accent3>
        <a:srgbClr val="A5A5A5"/>
      </a:accent3>
      <a:accent4>
        <a:srgbClr val="7CBBFF"/>
      </a:accent4>
      <a:accent5>
        <a:srgbClr val="B27C20"/>
      </a:accent5>
      <a:accent6>
        <a:srgbClr val="FFC562"/>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E516B36-0FD8-A04E-B1EC-863D8BFEB448}" vid="{379B0337-DF6E-9749-B090-F53EB6A0EE13}"/>
    </a:ext>
  </a:extLst>
</a:theme>
</file>

<file path=ppt/theme/theme3.xml><?xml version="1.0" encoding="utf-8"?>
<a:theme xmlns:a="http://schemas.openxmlformats.org/drawingml/2006/main" name="7_MGLF-theme">
  <a:themeElements>
    <a:clrScheme name="Custom 1">
      <a:dk1>
        <a:srgbClr val="000000"/>
      </a:dk1>
      <a:lt1>
        <a:srgbClr val="FFFFFF"/>
      </a:lt1>
      <a:dk2>
        <a:srgbClr val="345C87"/>
      </a:dk2>
      <a:lt2>
        <a:srgbClr val="E7E6E6"/>
      </a:lt2>
      <a:accent1>
        <a:srgbClr val="739DC9"/>
      </a:accent1>
      <a:accent2>
        <a:srgbClr val="EDB02E"/>
      </a:accent2>
      <a:accent3>
        <a:srgbClr val="A5A5A5"/>
      </a:accent3>
      <a:accent4>
        <a:srgbClr val="7CBBFF"/>
      </a:accent4>
      <a:accent5>
        <a:srgbClr val="B27C20"/>
      </a:accent5>
      <a:accent6>
        <a:srgbClr val="FFC562"/>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8" id="{5E516B36-0FD8-A04E-B1EC-863D8BFEB448}" vid="{379B0337-DF6E-9749-B090-F53EB6A0EE13}"/>
    </a:ext>
  </a:extLst>
</a:theme>
</file>

<file path=ppt/theme/theme4.xml><?xml version="1.0" encoding="utf-8"?>
<a:theme xmlns:a="http://schemas.openxmlformats.org/drawingml/2006/main" name="2_MGLF-theme">
  <a:themeElements>
    <a:clrScheme name="Custom 1">
      <a:dk1>
        <a:srgbClr val="000000"/>
      </a:dk1>
      <a:lt1>
        <a:srgbClr val="FFFFFF"/>
      </a:lt1>
      <a:dk2>
        <a:srgbClr val="345C87"/>
      </a:dk2>
      <a:lt2>
        <a:srgbClr val="E7E6E6"/>
      </a:lt2>
      <a:accent1>
        <a:srgbClr val="739DC9"/>
      </a:accent1>
      <a:accent2>
        <a:srgbClr val="EDB02E"/>
      </a:accent2>
      <a:accent3>
        <a:srgbClr val="A5A5A5"/>
      </a:accent3>
      <a:accent4>
        <a:srgbClr val="7CBBFF"/>
      </a:accent4>
      <a:accent5>
        <a:srgbClr val="B27C20"/>
      </a:accent5>
      <a:accent6>
        <a:srgbClr val="FFC562"/>
      </a:accent6>
      <a:hlink>
        <a:srgbClr val="0563C1"/>
      </a:hlink>
      <a:folHlink>
        <a:srgbClr val="954F72"/>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8" id="{5E516B36-0FD8-A04E-B1EC-863D8BFEB448}" vid="{379B0337-DF6E-9749-B090-F53EB6A0EE1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8207</TotalTime>
  <Words>3004</Words>
  <Application>Microsoft Office PowerPoint</Application>
  <PresentationFormat>Widescreen</PresentationFormat>
  <Paragraphs>799</Paragraphs>
  <Slides>61</Slides>
  <Notes>33</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61</vt:i4>
      </vt:variant>
    </vt:vector>
  </HeadingPairs>
  <TitlesOfParts>
    <vt:vector size="77" baseType="lpstr">
      <vt:lpstr>Arial</vt:lpstr>
      <vt:lpstr>Calibri</vt:lpstr>
      <vt:lpstr>Cambria</vt:lpstr>
      <vt:lpstr>Century Gothic</vt:lpstr>
      <vt:lpstr>Palatino Linotype</vt:lpstr>
      <vt:lpstr>Symbol</vt:lpstr>
      <vt:lpstr>Times New Roman</vt:lpstr>
      <vt:lpstr>Verdana</vt:lpstr>
      <vt:lpstr>Verdana Regular</vt:lpstr>
      <vt:lpstr>Wingdings</vt:lpstr>
      <vt:lpstr>Wingdings 3</vt:lpstr>
      <vt:lpstr>Urban Pop</vt:lpstr>
      <vt:lpstr>3_MGLF-theme</vt:lpstr>
      <vt:lpstr>7_MGLF-theme</vt:lpstr>
      <vt:lpstr>2_MGLF-theme</vt:lpstr>
      <vt:lpstr>think-cell Slide</vt:lpstr>
      <vt:lpstr>MO HealthNet Oversight Committee Meeting    February 4, 2021</vt:lpstr>
      <vt:lpstr>Agenda February 4, 2021</vt:lpstr>
      <vt:lpstr>Director’s UPDATE</vt:lpstr>
      <vt:lpstr>MEDICAID EXPANSION  PLANNING PROJECT</vt:lpstr>
      <vt:lpstr>COVID UPDATE</vt:lpstr>
      <vt:lpstr>Public dashboard – 2/4</vt:lpstr>
      <vt:lpstr>Hospitalizations continue their downward trend</vt:lpstr>
      <vt:lpstr>New hospital admissions continue to decline</vt:lpstr>
      <vt:lpstr>Positivity rate has fallen sharply in the past three weeks</vt:lpstr>
      <vt:lpstr>Transmission rates (“Re”) dropped below 1 statewide</vt:lpstr>
      <vt:lpstr>Missouri is currently #44 in new cases per capita</vt:lpstr>
      <vt:lpstr>Chief transformation officer update</vt:lpstr>
      <vt:lpstr>Missouri Benefits Enrollment Transformation     Project Update MOHealth Net Oversight Committee  February 4, 2021</vt:lpstr>
      <vt:lpstr>PowerPoint Presentation</vt:lpstr>
      <vt:lpstr>PowerPoint Presentation</vt:lpstr>
      <vt:lpstr>PowerPoint Presentation</vt:lpstr>
      <vt:lpstr>Chief operating officer update</vt:lpstr>
      <vt:lpstr>Long Acting Reversible Contraception</vt:lpstr>
      <vt:lpstr>IT update</vt:lpstr>
      <vt:lpstr>Business Intelligence Solution – Enterprise Data Warehouse (BIS-EDW) Update</vt:lpstr>
      <vt:lpstr>BIS-EDW Goals</vt:lpstr>
      <vt:lpstr>BIS-EDW Overview</vt:lpstr>
      <vt:lpstr>Implementation 1- Feb 2021</vt:lpstr>
      <vt:lpstr>Implementation 1- Status</vt:lpstr>
      <vt:lpstr>Implementation 2- TBD</vt:lpstr>
      <vt:lpstr>Implementation 3 – October 2021</vt:lpstr>
      <vt:lpstr>Pharmacy POS, CyberAccess and SmartPA Migration to Cloud</vt:lpstr>
      <vt:lpstr>Tools </vt:lpstr>
      <vt:lpstr>Issues</vt:lpstr>
      <vt:lpstr>Migration to Cloud</vt:lpstr>
      <vt:lpstr>Benefits</vt:lpstr>
      <vt:lpstr>PowerPoint Presentation</vt:lpstr>
      <vt:lpstr>Managed CARE update</vt:lpstr>
      <vt:lpstr>Managed Care Program Updates SFY22</vt:lpstr>
      <vt:lpstr>PowerPoint Presentation</vt:lpstr>
      <vt:lpstr>PHARMACY DIRECTOR update</vt:lpstr>
      <vt:lpstr>Specialty Drugs – High Cost Therapies in Medicaid  Joshua Moore, PharmD  MO HealthNet Director of Pharmacy February 4, 2021</vt:lpstr>
      <vt:lpstr>The Pipeline</vt:lpstr>
      <vt:lpstr>Utilization Management Strategies</vt:lpstr>
      <vt:lpstr>Predicting Future Utilization</vt:lpstr>
      <vt:lpstr>Predicting Future Utilization</vt:lpstr>
      <vt:lpstr>Predicting Future Utilization</vt:lpstr>
      <vt:lpstr>PowerPoint Presentation</vt:lpstr>
      <vt:lpstr>PowerPoint Presentation</vt:lpstr>
      <vt:lpstr>State Share of Medicaid Drug Expenditures</vt:lpstr>
      <vt:lpstr>State Share of Medicaid Drug Expenditures</vt:lpstr>
      <vt:lpstr>Legislative update</vt:lpstr>
      <vt:lpstr>budget update</vt:lpstr>
      <vt:lpstr>MO HealthNet Budget Request   State Fiscal Year (SFY) 2022  February 4, 2021</vt:lpstr>
      <vt:lpstr>PowerPoint Presentation</vt:lpstr>
      <vt:lpstr>PowerPoint Presentation</vt:lpstr>
      <vt:lpstr>PowerPoint Presentation</vt:lpstr>
      <vt:lpstr>PowerPoint Presentation</vt:lpstr>
      <vt:lpstr>PowerPoint Presentation</vt:lpstr>
      <vt:lpstr>Public comment</vt:lpstr>
      <vt:lpstr>Fsd update</vt:lpstr>
      <vt:lpstr> </vt:lpstr>
      <vt:lpstr> </vt:lpstr>
      <vt:lpstr> </vt:lpstr>
      <vt:lpstr> Charts Legend</vt:lpstr>
      <vt:lpstr>             Next meeting  May 25, 2021 </vt:lpstr>
    </vt:vector>
  </TitlesOfParts>
  <Company>Missouri Department of Social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ring Managed Care and Fee-For-Service</dc:title>
  <dc:creator>DSS</dc:creator>
  <cp:lastModifiedBy>Kemna, Luann</cp:lastModifiedBy>
  <cp:revision>279</cp:revision>
  <cp:lastPrinted>2021-02-03T17:13:47Z</cp:lastPrinted>
  <dcterms:created xsi:type="dcterms:W3CDTF">2014-11-30T21:45:23Z</dcterms:created>
  <dcterms:modified xsi:type="dcterms:W3CDTF">2023-10-16T18:00:05Z</dcterms:modified>
</cp:coreProperties>
</file>